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theme/theme2.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theme/theme3.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slideLayouts/slideLayout59.xml" ContentType="application/vnd.openxmlformats-officedocument.presentationml.slideLayout+xml"/>
  <Override PartName="/ppt/theme/theme4.xml" ContentType="application/vnd.openxmlformats-officedocument.theme+xml"/>
  <Override PartName="/ppt/tags/tag8.xml" ContentType="application/vnd.openxmlformats-officedocument.presentationml.tags+xml"/>
  <Override PartName="/ppt/tags/tag9.xml" ContentType="application/vnd.openxmlformats-officedocument.presentationml.tags+xml"/>
  <Override PartName="/ppt/theme/theme5.xml" ContentType="application/vnd.openxmlformats-officedocument.theme+xml"/>
  <Override PartName="/ppt/tags/tag10.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11.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aveSubsetFonts="1" bookmarkIdSeed="3">
  <p:sldMasterIdLst>
    <p:sldMasterId id="2147483771" r:id="rId4"/>
    <p:sldMasterId id="2147483791" r:id="rId5"/>
    <p:sldMasterId id="2147483814" r:id="rId6"/>
    <p:sldMasterId id="2147483662" r:id="rId7"/>
  </p:sldMasterIdLst>
  <p:notesMasterIdLst>
    <p:notesMasterId r:id="rId32"/>
  </p:notesMasterIdLst>
  <p:sldIdLst>
    <p:sldId id="2147479909" r:id="rId8"/>
    <p:sldId id="2147479915" r:id="rId9"/>
    <p:sldId id="2147479913" r:id="rId10"/>
    <p:sldId id="2147479934" r:id="rId11"/>
    <p:sldId id="2147479943" r:id="rId12"/>
    <p:sldId id="2147479938" r:id="rId13"/>
    <p:sldId id="2147479939" r:id="rId14"/>
    <p:sldId id="2147479940" r:id="rId15"/>
    <p:sldId id="2147479942" r:id="rId16"/>
    <p:sldId id="2147479944" r:id="rId17"/>
    <p:sldId id="2147479941" r:id="rId18"/>
    <p:sldId id="2147479914" r:id="rId19"/>
    <p:sldId id="2147479916" r:id="rId20"/>
    <p:sldId id="2147479910" r:id="rId21"/>
    <p:sldId id="2147479933" r:id="rId22"/>
    <p:sldId id="2147479921" r:id="rId23"/>
    <p:sldId id="2147479923" r:id="rId24"/>
    <p:sldId id="2147479922" r:id="rId25"/>
    <p:sldId id="2147479920" r:id="rId26"/>
    <p:sldId id="2147479924" r:id="rId27"/>
    <p:sldId id="2147479935" r:id="rId28"/>
    <p:sldId id="2147479932" r:id="rId29"/>
    <p:sldId id="2147479937" r:id="rId30"/>
    <p:sldId id="2147479917" r:id="rId31"/>
  </p:sldIdLst>
  <p:sldSz cx="12192000" cy="6858000"/>
  <p:notesSz cx="6805613" cy="9939338"/>
  <p:custDataLst>
    <p:tags r:id="rId33"/>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18B824FC-D546-4166-B8A2-15967BA907B0}">
          <p14:sldIdLst>
            <p14:sldId id="2147479909"/>
            <p14:sldId id="2147479915"/>
            <p14:sldId id="2147479913"/>
            <p14:sldId id="2147479934"/>
            <p14:sldId id="2147479943"/>
            <p14:sldId id="2147479938"/>
            <p14:sldId id="2147479939"/>
            <p14:sldId id="2147479940"/>
            <p14:sldId id="2147479942"/>
            <p14:sldId id="2147479944"/>
            <p14:sldId id="2147479941"/>
            <p14:sldId id="2147479914"/>
            <p14:sldId id="2147479916"/>
            <p14:sldId id="2147479910"/>
            <p14:sldId id="2147479933"/>
            <p14:sldId id="2147479921"/>
            <p14:sldId id="2147479923"/>
            <p14:sldId id="2147479922"/>
            <p14:sldId id="2147479920"/>
            <p14:sldId id="2147479924"/>
            <p14:sldId id="2147479935"/>
            <p14:sldId id="2147479932"/>
            <p14:sldId id="2147479937"/>
            <p14:sldId id="2147479917"/>
          </p14:sldIdLst>
        </p14:section>
      </p14:sectionLst>
    </p:ext>
    <p:ext uri="{EFAFB233-063F-42B5-8137-9DF3F51BA10A}">
      <p15:sldGuideLst xmlns:p15="http://schemas.microsoft.com/office/powerpoint/2012/main">
        <p15:guide id="1" orient="horz" pos="4032" userDrawn="1">
          <p15:clr>
            <a:srgbClr val="A4A3A4"/>
          </p15:clr>
        </p15:guide>
        <p15:guide id="2" pos="6720"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C1C0D825-FBD3-4AE5-D994-7F40AA187109}" name="Tohyama, Kimio" initials="TK" userId="S::kimio.tohyama@takeda.com::0d6bf9c1-b8aa-499d-9f61-8f0fe644c054" providerId="AD"/>
  <p188:author id="{13E4162A-72D3-D040-8BA0-11DB73BDD5BE}" name="Ogino, Himari" initials="OH" userId="S::himari.ogino@takeda.com::cdac4209-2bc7-447d-bb5f-5df0bfd059ed" providerId="AD"/>
  <p188:author id="{F1A2C257-2B4D-BAD3-8581-BA16236F4377}" name="Iwasaki, Shinji" initials="IS" userId="S::Shinji.Iwasaki@takeda.com::92c53c3b-0a57-49d7-9adb-321f33924cc5" providerId="AD"/>
  <p188:author id="{F665597F-8DB6-3E36-29A9-368884840EDF}" name="Kunugi, Akiyoshi" initials="AK" userId="S::akiyoshi.kunugi@takeda.com::052b6f5c-edde-4f2f-b393-36d77fead11c" providerId="AD"/>
  <p188:author id="{E5C50A84-5764-B1DF-884C-05BDD3BEFA21}" name="Ishii, Misawa" initials="IM" userId="Ishii, Misawa" providerId="None"/>
  <p188:author id="{98852A8E-1B55-20C1-A081-C233FC5F3BE0}" name="Miyata, Kenichi" initials="MK" userId="S::kenichi.miyata@takeda.com::61404ebb-7902-45da-a183-0425d1cf2c82" providerId="AD"/>
  <p188:author id="{B5D525B2-4D88-E267-51A6-F3FA98F04E5F}" name="Liu, Xin" initials="XL" userId="S::xin.liu@takeda.com::3c19a14d-d135-4f5c-85da-260050e3933e" providerId="AD"/>
  <p188:author id="{788E3EBD-4C4C-300B-B58D-DDC180BFC2B3}" name="Zach, Neta" initials="ZN" userId="S::neta.zach@takeda.com::010718e1-f264-4915-a915-e6039696ccad" providerId="AD"/>
  <p188:author id="{CD98F1D0-72E0-49F2-ECD4-1A87881ADA05}" name="Hayama, Tatsuya" initials="TH" userId="S::tatsuya.hayama@takeda.com::f4ac7515-958e-42df-bcc4-8a36c70f7fa7" providerId="AD"/>
  <p188:author id="{6C2253E4-EE10-9F0A-D53E-8B795F9A6F16}" name="Yoshikawa, Masato" initials="YM" userId="S::masato.yoshikawa@takeda.com::ccc1bef7-4e78-4244-85ce-60e7e68e1a59"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7" name="Jacobo, Sarah Melissa" initials="JM" lastIdx="2" clrIdx="6">
    <p:extLst>
      <p:ext uri="{19B8F6BF-5375-455C-9EA6-DF929625EA0E}">
        <p15:presenceInfo xmlns:p15="http://schemas.microsoft.com/office/powerpoint/2012/main" userId="S::sarah.jacobo@takeda.com::d4e612a5-bdcb-4fab-9c24-91f34275b977" providerId="AD"/>
      </p:ext>
    </p:extLst>
  </p:cmAuthor>
  <p:cmAuthor id="1" name="Proetzel, Gabriele" initials="GP" lastIdx="9" clrIdx="0">
    <p:extLst>
      <p:ext uri="{19B8F6BF-5375-455C-9EA6-DF929625EA0E}">
        <p15:presenceInfo xmlns:p15="http://schemas.microsoft.com/office/powerpoint/2012/main" userId="Proetzel, Gabriele" providerId="None"/>
      </p:ext>
    </p:extLst>
  </p:cmAuthor>
  <p:cmAuthor id="8" name="Tanaka, Maiko" initials="TM" lastIdx="1" clrIdx="7">
    <p:extLst>
      <p:ext uri="{19B8F6BF-5375-455C-9EA6-DF929625EA0E}">
        <p15:presenceInfo xmlns:p15="http://schemas.microsoft.com/office/powerpoint/2012/main" userId="S::maiko.tanaka@takeda.com::6a474765-10cf-4bcb-813a-2d3f155bbd68" providerId="AD"/>
      </p:ext>
    </p:extLst>
  </p:cmAuthor>
  <p:cmAuthor id="2" name="Okai, Takuro" initials="OT" lastIdx="9" clrIdx="1">
    <p:extLst>
      <p:ext uri="{19B8F6BF-5375-455C-9EA6-DF929625EA0E}">
        <p15:presenceInfo xmlns:p15="http://schemas.microsoft.com/office/powerpoint/2012/main" userId="S::takuro.okai@takeda.com::166410d8-6e11-452b-acb0-335501eb76c8" providerId="AD"/>
      </p:ext>
    </p:extLst>
  </p:cmAuthor>
  <p:cmAuthor id="3" name="Ootake, Kentarou" initials="OK" lastIdx="1" clrIdx="2">
    <p:extLst>
      <p:ext uri="{19B8F6BF-5375-455C-9EA6-DF929625EA0E}">
        <p15:presenceInfo xmlns:p15="http://schemas.microsoft.com/office/powerpoint/2012/main" userId="S::kentarou.ootake@takeda.com::8960c7f8-2b2f-4d54-95c9-5e0397d9c1ec" providerId="AD"/>
      </p:ext>
    </p:extLst>
  </p:cmAuthor>
  <p:cmAuthor id="4" name="Proetzel, Gabriele" initials="PG" lastIdx="2" clrIdx="3">
    <p:extLst>
      <p:ext uri="{19B8F6BF-5375-455C-9EA6-DF929625EA0E}">
        <p15:presenceInfo xmlns:p15="http://schemas.microsoft.com/office/powerpoint/2012/main" userId="S::gabriele.proetzel@takeda.com::1b545c6b-3508-4f9d-8dc9-e0da999b8ebd" providerId="AD"/>
      </p:ext>
    </p:extLst>
  </p:cmAuthor>
  <p:cmAuthor id="5" name="Lee, Jaewon" initials="LJ" lastIdx="1" clrIdx="4">
    <p:extLst>
      <p:ext uri="{19B8F6BF-5375-455C-9EA6-DF929625EA0E}">
        <p15:presenceInfo xmlns:p15="http://schemas.microsoft.com/office/powerpoint/2012/main" userId="S::jae-won.lee@takeda.com::9342341e-d259-45a8-ae86-c8e56f1f1995" providerId="AD"/>
      </p:ext>
    </p:extLst>
  </p:cmAuthor>
  <p:cmAuthor id="6" name="Hioki, Takeshi" initials="HT" lastIdx="3" clrIdx="5">
    <p:extLst>
      <p:ext uri="{19B8F6BF-5375-455C-9EA6-DF929625EA0E}">
        <p15:presenceInfo xmlns:p15="http://schemas.microsoft.com/office/powerpoint/2012/main" userId="S::takeshi.hioki@takeda.com::ca6ff7d1-de72-4403-a0e3-a9b645852dda"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CCECFF"/>
    <a:srgbClr val="0000FF"/>
    <a:srgbClr val="FBE5E5"/>
    <a:srgbClr val="33CC33"/>
    <a:srgbClr val="FFFFCC"/>
    <a:srgbClr val="00B050"/>
    <a:srgbClr val="96F2FC"/>
    <a:srgbClr val="FF7B71"/>
    <a:srgbClr val="FFFF99"/>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5F4D922-4E7D-438A-875F-464910A25F7D}" v="239" dt="2025-02-08T00:10:46.353"/>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E8B1032C-EA38-4F05-BA0D-38AFFFC7BED3}" styleName="Light Style 3 - Accent 6">
    <a:wholeTbl>
      <a:tcTxStyle>
        <a:fontRef idx="minor">
          <a:scrgbClr r="0" g="0" b="0"/>
        </a:fontRef>
        <a:schemeClr val="tx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noFill/>
        </a:fill>
      </a:tcStyle>
    </a:wholeTbl>
    <a:band1H>
      <a:tcStyle>
        <a:tcBdr/>
        <a:fill>
          <a:solidFill>
            <a:schemeClr val="accent6">
              <a:alpha val="20000"/>
            </a:schemeClr>
          </a:solidFill>
        </a:fill>
      </a:tcStyle>
    </a:band1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noFill/>
        </a:fill>
      </a:tcStyle>
    </a:lastRow>
    <a:firstRow>
      <a:tcTxStyle b="on"/>
      <a:tcStyle>
        <a:tcBdr>
          <a:bottom>
            <a:ln w="25400" cmpd="sng">
              <a:solidFill>
                <a:schemeClr val="accent6"/>
              </a:solidFill>
            </a:ln>
          </a:bottom>
        </a:tcBdr>
        <a:fill>
          <a:noFill/>
        </a:fill>
      </a:tcStyle>
    </a:firstRow>
  </a:tblStyle>
  <a:tblStyle styleId="{5DA37D80-6434-44D0-A028-1B22A696006F}" styleName="Light Style 3 - Accent 2">
    <a:wholeTbl>
      <a:tcTxStyle>
        <a:fontRef idx="minor">
          <a:scrgbClr r="0" g="0" b="0"/>
        </a:fontRef>
        <a:schemeClr val="tx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noFill/>
        </a:fill>
      </a:tcStyle>
    </a:wholeTbl>
    <a:band1H>
      <a:tcStyle>
        <a:tcBdr/>
        <a:fill>
          <a:solidFill>
            <a:schemeClr val="accent2">
              <a:alpha val="20000"/>
            </a:schemeClr>
          </a:solidFill>
        </a:fill>
      </a:tcStyle>
    </a:band1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noFill/>
        </a:fill>
      </a:tcStyle>
    </a:lastRow>
    <a:firstRow>
      <a:tcTxStyle b="on"/>
      <a:tcStyle>
        <a:tcBdr>
          <a:bottom>
            <a:ln w="25400" cmpd="sng">
              <a:solidFill>
                <a:schemeClr val="accent2"/>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102" d="100"/>
          <a:sy n="102" d="100"/>
        </p:scale>
        <p:origin x="834" y="102"/>
      </p:cViewPr>
      <p:guideLst>
        <p:guide orient="horz" pos="4032"/>
        <p:guide pos="672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9" Type="http://schemas.microsoft.com/office/2016/11/relationships/changesInfo" Target="changesInfos/changesInfo1.xml"/><Relationship Id="rId21" Type="http://schemas.openxmlformats.org/officeDocument/2006/relationships/slide" Target="slides/slide14.xml"/><Relationship Id="rId34" Type="http://schemas.openxmlformats.org/officeDocument/2006/relationships/commentAuthors" Target="commentAuthors.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9.xml"/><Relationship Id="rId20" Type="http://schemas.openxmlformats.org/officeDocument/2006/relationships/slide" Target="slides/slide13.xml"/><Relationship Id="rId29" Type="http://schemas.openxmlformats.org/officeDocument/2006/relationships/slide" Target="slides/slide22.xml"/><Relationship Id="rId41" Type="http://schemas.microsoft.com/office/2018/10/relationships/authors" Target="author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notesMaster" Target="notesMasters/notesMaster1.xml"/><Relationship Id="rId37" Type="http://schemas.openxmlformats.org/officeDocument/2006/relationships/theme" Target="theme/theme1.xml"/><Relationship Id="rId40" Type="http://schemas.microsoft.com/office/2015/10/relationships/revisionInfo" Target="revisionInfo.xml"/><Relationship Id="rId5" Type="http://schemas.openxmlformats.org/officeDocument/2006/relationships/slideMaster" Target="slideMasters/slideMaster2.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viewProps" Target="viewProps.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slide" Target="slides/slide24.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presProps" Target="presProps.xml"/><Relationship Id="rId8" Type="http://schemas.openxmlformats.org/officeDocument/2006/relationships/slide" Target="slides/slide1.xml"/><Relationship Id="rId3" Type="http://schemas.openxmlformats.org/officeDocument/2006/relationships/customXml" Target="../customXml/item3.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tags" Target="tags/tag1.xml"/><Relationship Id="rId38" Type="http://schemas.openxmlformats.org/officeDocument/2006/relationships/tableStyles" Target="tableStyle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Sharker, Yushuf" userId="S::yushuf.sharker@takeda.com::08d49b3d-62a8-4e68-b1eb-b540cbdabdda" providerId="AD" clId="Web-{BC07B8F8-553B-677A-E49C-792E97AF0200}"/>
    <pc:docChg chg="addSld delSld modSld sldOrd modSection">
      <pc:chgData name="Sharker, Yushuf" userId="S::yushuf.sharker@takeda.com::08d49b3d-62a8-4e68-b1eb-b540cbdabdda" providerId="AD" clId="Web-{BC07B8F8-553B-677A-E49C-792E97AF0200}" dt="2025-02-05T18:58:21.506" v="3016" actId="20577"/>
      <pc:docMkLst>
        <pc:docMk/>
      </pc:docMkLst>
      <pc:sldChg chg="addSp delSp modSp ord">
        <pc:chgData name="Sharker, Yushuf" userId="S::yushuf.sharker@takeda.com::08d49b3d-62a8-4e68-b1eb-b540cbdabdda" providerId="AD" clId="Web-{BC07B8F8-553B-677A-E49C-792E97AF0200}" dt="2025-02-05T18:41:05.049" v="2941" actId="20577"/>
        <pc:sldMkLst>
          <pc:docMk/>
          <pc:sldMk cId="370581261" sldId="2147479914"/>
        </pc:sldMkLst>
      </pc:sldChg>
      <pc:sldChg chg="del">
        <pc:chgData name="Sharker, Yushuf" userId="S::yushuf.sharker@takeda.com::08d49b3d-62a8-4e68-b1eb-b540cbdabdda" providerId="AD" clId="Web-{BC07B8F8-553B-677A-E49C-792E97AF0200}" dt="2025-02-05T18:46:49.435" v="2942"/>
        <pc:sldMkLst>
          <pc:docMk/>
          <pc:sldMk cId="1256419714" sldId="2147479936"/>
        </pc:sldMkLst>
      </pc:sldChg>
      <pc:sldChg chg="modSp">
        <pc:chgData name="Sharker, Yushuf" userId="S::yushuf.sharker@takeda.com::08d49b3d-62a8-4e68-b1eb-b540cbdabdda" providerId="AD" clId="Web-{BC07B8F8-553B-677A-E49C-792E97AF0200}" dt="2025-02-05T18:58:21.506" v="3016" actId="20577"/>
        <pc:sldMkLst>
          <pc:docMk/>
          <pc:sldMk cId="1295633666" sldId="2147479938"/>
        </pc:sldMkLst>
        <pc:spChg chg="mod">
          <ac:chgData name="Sharker, Yushuf" userId="S::yushuf.sharker@takeda.com::08d49b3d-62a8-4e68-b1eb-b540cbdabdda" providerId="AD" clId="Web-{BC07B8F8-553B-677A-E49C-792E97AF0200}" dt="2025-02-05T18:58:21.506" v="3016" actId="20577"/>
          <ac:spMkLst>
            <pc:docMk/>
            <pc:sldMk cId="1295633666" sldId="2147479938"/>
            <ac:spMk id="15" creationId="{B8EE3757-0335-A17F-C17D-2E6C80A1D61A}"/>
          </ac:spMkLst>
        </pc:spChg>
      </pc:sldChg>
      <pc:sldChg chg="addSp delSp modSp add replId">
        <pc:chgData name="Sharker, Yushuf" userId="S::yushuf.sharker@takeda.com::08d49b3d-62a8-4e68-b1eb-b540cbdabdda" providerId="AD" clId="Web-{BC07B8F8-553B-677A-E49C-792E97AF0200}" dt="2025-02-05T18:38:21.777" v="2833" actId="20577"/>
        <pc:sldMkLst>
          <pc:docMk/>
          <pc:sldMk cId="3487538365" sldId="2147479939"/>
        </pc:sldMkLst>
        <pc:spChg chg="mod">
          <ac:chgData name="Sharker, Yushuf" userId="S::yushuf.sharker@takeda.com::08d49b3d-62a8-4e68-b1eb-b540cbdabdda" providerId="AD" clId="Web-{BC07B8F8-553B-677A-E49C-792E97AF0200}" dt="2025-02-05T18:38:21.777" v="2833" actId="20577"/>
          <ac:spMkLst>
            <pc:docMk/>
            <pc:sldMk cId="3487538365" sldId="2147479939"/>
            <ac:spMk id="9" creationId="{EC31A9D9-BF15-2274-E852-962C7B1B21D8}"/>
          </ac:spMkLst>
        </pc:spChg>
        <pc:spChg chg="add mod">
          <ac:chgData name="Sharker, Yushuf" userId="S::yushuf.sharker@takeda.com::08d49b3d-62a8-4e68-b1eb-b540cbdabdda" providerId="AD" clId="Web-{BC07B8F8-553B-677A-E49C-792E97AF0200}" dt="2025-02-05T18:36:40.790" v="2809" actId="20577"/>
          <ac:spMkLst>
            <pc:docMk/>
            <pc:sldMk cId="3487538365" sldId="2147479939"/>
            <ac:spMk id="11" creationId="{E8727E45-BEE4-3245-8651-C3FCC3782BA8}"/>
          </ac:spMkLst>
        </pc:spChg>
      </pc:sldChg>
      <pc:sldChg chg="addSp delSp modSp add replId">
        <pc:chgData name="Sharker, Yushuf" userId="S::yushuf.sharker@takeda.com::08d49b3d-62a8-4e68-b1eb-b540cbdabdda" providerId="AD" clId="Web-{BC07B8F8-553B-677A-E49C-792E97AF0200}" dt="2025-02-05T18:40:36.079" v="2939" actId="14100"/>
        <pc:sldMkLst>
          <pc:docMk/>
          <pc:sldMk cId="1229009472" sldId="2147479940"/>
        </pc:sldMkLst>
        <pc:spChg chg="mod">
          <ac:chgData name="Sharker, Yushuf" userId="S::yushuf.sharker@takeda.com::08d49b3d-62a8-4e68-b1eb-b540cbdabdda" providerId="AD" clId="Web-{BC07B8F8-553B-677A-E49C-792E97AF0200}" dt="2025-02-05T18:38:08.683" v="2827" actId="20577"/>
          <ac:spMkLst>
            <pc:docMk/>
            <pc:sldMk cId="1229009472" sldId="2147479940"/>
            <ac:spMk id="7" creationId="{704D1759-5D6F-D468-6747-2F7DF9A1456F}"/>
          </ac:spMkLst>
        </pc:spChg>
        <pc:spChg chg="add mod">
          <ac:chgData name="Sharker, Yushuf" userId="S::yushuf.sharker@takeda.com::08d49b3d-62a8-4e68-b1eb-b540cbdabdda" providerId="AD" clId="Web-{BC07B8F8-553B-677A-E49C-792E97AF0200}" dt="2025-02-05T18:40:36.079" v="2939" actId="14100"/>
          <ac:spMkLst>
            <pc:docMk/>
            <pc:sldMk cId="1229009472" sldId="2147479940"/>
            <ac:spMk id="9" creationId="{1FFFECBB-6D4F-7E79-88C9-83E2330401D3}"/>
          </ac:spMkLst>
        </pc:spChg>
        <pc:graphicFrameChg chg="mod modGraphic">
          <ac:chgData name="Sharker, Yushuf" userId="S::yushuf.sharker@takeda.com::08d49b3d-62a8-4e68-b1eb-b540cbdabdda" providerId="AD" clId="Web-{BC07B8F8-553B-677A-E49C-792E97AF0200}" dt="2025-02-05T17:29:23.303" v="1838"/>
          <ac:graphicFrameMkLst>
            <pc:docMk/>
            <pc:sldMk cId="1229009472" sldId="2147479940"/>
            <ac:graphicFrameMk id="8" creationId="{35FA5CC7-657E-43D5-9145-BD31C6690CB6}"/>
          </ac:graphicFrameMkLst>
        </pc:graphicFrameChg>
      </pc:sldChg>
    </pc:docChg>
  </pc:docChgLst>
  <pc:docChgLst>
    <pc:chgData name="Sharker, Yushuf" userId="08d49b3d-62a8-4e68-b1eb-b540cbdabdda" providerId="ADAL" clId="{35F4D922-4E7D-438A-875F-464910A25F7D}"/>
    <pc:docChg chg="undo redo custSel addSld delSld modSld sldOrd addMainMaster modSection">
      <pc:chgData name="Sharker, Yushuf" userId="08d49b3d-62a8-4e68-b1eb-b540cbdabdda" providerId="ADAL" clId="{35F4D922-4E7D-438A-875F-464910A25F7D}" dt="2025-02-08T00:18:10.504" v="16113" actId="20577"/>
      <pc:docMkLst>
        <pc:docMk/>
      </pc:docMkLst>
      <pc:sldChg chg="del">
        <pc:chgData name="Sharker, Yushuf" userId="08d49b3d-62a8-4e68-b1eb-b540cbdabdda" providerId="ADAL" clId="{35F4D922-4E7D-438A-875F-464910A25F7D}" dt="2024-11-26T14:05:24.483" v="0" actId="47"/>
        <pc:sldMkLst>
          <pc:docMk/>
          <pc:sldMk cId="3193416170" sldId="1964"/>
        </pc:sldMkLst>
      </pc:sldChg>
      <pc:sldChg chg="del">
        <pc:chgData name="Sharker, Yushuf" userId="08d49b3d-62a8-4e68-b1eb-b540cbdabdda" providerId="ADAL" clId="{35F4D922-4E7D-438A-875F-464910A25F7D}" dt="2024-11-26T14:05:24.483" v="0" actId="47"/>
        <pc:sldMkLst>
          <pc:docMk/>
          <pc:sldMk cId="588249966" sldId="2147470463"/>
        </pc:sldMkLst>
      </pc:sldChg>
      <pc:sldChg chg="del">
        <pc:chgData name="Sharker, Yushuf" userId="08d49b3d-62a8-4e68-b1eb-b540cbdabdda" providerId="ADAL" clId="{35F4D922-4E7D-438A-875F-464910A25F7D}" dt="2024-11-26T14:05:24.483" v="0" actId="47"/>
        <pc:sldMkLst>
          <pc:docMk/>
          <pc:sldMk cId="1803531162" sldId="2147470488"/>
        </pc:sldMkLst>
      </pc:sldChg>
      <pc:sldChg chg="del">
        <pc:chgData name="Sharker, Yushuf" userId="08d49b3d-62a8-4e68-b1eb-b540cbdabdda" providerId="ADAL" clId="{35F4D922-4E7D-438A-875F-464910A25F7D}" dt="2024-11-26T14:05:24.483" v="0" actId="47"/>
        <pc:sldMkLst>
          <pc:docMk/>
          <pc:sldMk cId="1280133437" sldId="2147474074"/>
        </pc:sldMkLst>
      </pc:sldChg>
      <pc:sldChg chg="del">
        <pc:chgData name="Sharker, Yushuf" userId="08d49b3d-62a8-4e68-b1eb-b540cbdabdda" providerId="ADAL" clId="{35F4D922-4E7D-438A-875F-464910A25F7D}" dt="2024-11-26T14:05:24.483" v="0" actId="47"/>
        <pc:sldMkLst>
          <pc:docMk/>
          <pc:sldMk cId="2235629523" sldId="2147477554"/>
        </pc:sldMkLst>
      </pc:sldChg>
      <pc:sldChg chg="del">
        <pc:chgData name="Sharker, Yushuf" userId="08d49b3d-62a8-4e68-b1eb-b540cbdabdda" providerId="ADAL" clId="{35F4D922-4E7D-438A-875F-464910A25F7D}" dt="2024-11-26T14:05:24.483" v="0" actId="47"/>
        <pc:sldMkLst>
          <pc:docMk/>
          <pc:sldMk cId="1399650427" sldId="2147479883"/>
        </pc:sldMkLst>
      </pc:sldChg>
      <pc:sldChg chg="del">
        <pc:chgData name="Sharker, Yushuf" userId="08d49b3d-62a8-4e68-b1eb-b540cbdabdda" providerId="ADAL" clId="{35F4D922-4E7D-438A-875F-464910A25F7D}" dt="2024-11-26T14:05:24.483" v="0" actId="47"/>
        <pc:sldMkLst>
          <pc:docMk/>
          <pc:sldMk cId="143685193" sldId="2147479885"/>
        </pc:sldMkLst>
      </pc:sldChg>
      <pc:sldChg chg="del">
        <pc:chgData name="Sharker, Yushuf" userId="08d49b3d-62a8-4e68-b1eb-b540cbdabdda" providerId="ADAL" clId="{35F4D922-4E7D-438A-875F-464910A25F7D}" dt="2024-11-26T14:05:24.483" v="0" actId="47"/>
        <pc:sldMkLst>
          <pc:docMk/>
          <pc:sldMk cId="2846393703" sldId="2147479895"/>
        </pc:sldMkLst>
      </pc:sldChg>
      <pc:sldChg chg="del">
        <pc:chgData name="Sharker, Yushuf" userId="08d49b3d-62a8-4e68-b1eb-b540cbdabdda" providerId="ADAL" clId="{35F4D922-4E7D-438A-875F-464910A25F7D}" dt="2024-11-26T14:05:24.483" v="0" actId="47"/>
        <pc:sldMkLst>
          <pc:docMk/>
          <pc:sldMk cId="3542767204" sldId="2147479896"/>
        </pc:sldMkLst>
      </pc:sldChg>
      <pc:sldChg chg="addSp delSp modSp mod">
        <pc:chgData name="Sharker, Yushuf" userId="08d49b3d-62a8-4e68-b1eb-b540cbdabdda" providerId="ADAL" clId="{35F4D922-4E7D-438A-875F-464910A25F7D}" dt="2025-02-07T19:08:57.621" v="15942" actId="20577"/>
        <pc:sldMkLst>
          <pc:docMk/>
          <pc:sldMk cId="3984119003" sldId="2147479909"/>
        </pc:sldMkLst>
        <pc:spChg chg="mod">
          <ac:chgData name="Sharker, Yushuf" userId="08d49b3d-62a8-4e68-b1eb-b540cbdabdda" providerId="ADAL" clId="{35F4D922-4E7D-438A-875F-464910A25F7D}" dt="2025-02-05T21:30:35.024" v="11486" actId="20577"/>
          <ac:spMkLst>
            <pc:docMk/>
            <pc:sldMk cId="3984119003" sldId="2147479909"/>
            <ac:spMk id="17" creationId="{C4D46480-36D5-3759-446D-9D917F6B56FA}"/>
          </ac:spMkLst>
        </pc:spChg>
        <pc:spChg chg="mod">
          <ac:chgData name="Sharker, Yushuf" userId="08d49b3d-62a8-4e68-b1eb-b540cbdabdda" providerId="ADAL" clId="{35F4D922-4E7D-438A-875F-464910A25F7D}" dt="2025-02-07T19:08:57.621" v="15942" actId="20577"/>
          <ac:spMkLst>
            <pc:docMk/>
            <pc:sldMk cId="3984119003" sldId="2147479909"/>
            <ac:spMk id="18" creationId="{3ABD97AE-BB96-1269-BB02-A9293DFCC30C}"/>
          </ac:spMkLst>
        </pc:spChg>
        <pc:spChg chg="add del mod">
          <ac:chgData name="Sharker, Yushuf" userId="08d49b3d-62a8-4e68-b1eb-b540cbdabdda" providerId="ADAL" clId="{35F4D922-4E7D-438A-875F-464910A25F7D}" dt="2024-11-26T14:05:48.872" v="17" actId="6549"/>
          <ac:spMkLst>
            <pc:docMk/>
            <pc:sldMk cId="3984119003" sldId="2147479909"/>
            <ac:spMk id="19" creationId="{F05C73D8-E747-965C-D552-CB8F669CB15F}"/>
          </ac:spMkLst>
        </pc:spChg>
      </pc:sldChg>
      <pc:sldChg chg="modSp new del mod">
        <pc:chgData name="Sharker, Yushuf" userId="08d49b3d-62a8-4e68-b1eb-b540cbdabdda" providerId="ADAL" clId="{35F4D922-4E7D-438A-875F-464910A25F7D}" dt="2025-02-04T21:43:07.496" v="10533" actId="2696"/>
        <pc:sldMkLst>
          <pc:docMk/>
          <pc:sldMk cId="1037009471" sldId="2147479910"/>
        </pc:sldMkLst>
      </pc:sldChg>
      <pc:sldChg chg="modSp add">
        <pc:chgData name="Sharker, Yushuf" userId="08d49b3d-62a8-4e68-b1eb-b540cbdabdda" providerId="ADAL" clId="{35F4D922-4E7D-438A-875F-464910A25F7D}" dt="2025-02-06T20:55:16.446" v="12409"/>
        <pc:sldMkLst>
          <pc:docMk/>
          <pc:sldMk cId="1339083723" sldId="2147479910"/>
        </pc:sldMkLst>
        <pc:spChg chg="mod">
          <ac:chgData name="Sharker, Yushuf" userId="08d49b3d-62a8-4e68-b1eb-b540cbdabdda" providerId="ADAL" clId="{35F4D922-4E7D-438A-875F-464910A25F7D}" dt="2025-02-06T20:55:16.446" v="12409"/>
          <ac:spMkLst>
            <pc:docMk/>
            <pc:sldMk cId="1339083723" sldId="2147479910"/>
            <ac:spMk id="2" creationId="{A2E80044-382A-725C-EE62-13492D3E7AE9}"/>
          </ac:spMkLst>
        </pc:spChg>
      </pc:sldChg>
      <pc:sldChg chg="del">
        <pc:chgData name="Sharker, Yushuf" userId="08d49b3d-62a8-4e68-b1eb-b540cbdabdda" providerId="ADAL" clId="{35F4D922-4E7D-438A-875F-464910A25F7D}" dt="2024-11-26T14:05:24.483" v="0" actId="47"/>
        <pc:sldMkLst>
          <pc:docMk/>
          <pc:sldMk cId="1667553758" sldId="2147479910"/>
        </pc:sldMkLst>
      </pc:sldChg>
      <pc:sldChg chg="add del">
        <pc:chgData name="Sharker, Yushuf" userId="08d49b3d-62a8-4e68-b1eb-b540cbdabdda" providerId="ADAL" clId="{35F4D922-4E7D-438A-875F-464910A25F7D}" dt="2025-02-03T21:59:58.898" v="9416" actId="2696"/>
        <pc:sldMkLst>
          <pc:docMk/>
          <pc:sldMk cId="3382713375" sldId="2147479911"/>
        </pc:sldMkLst>
      </pc:sldChg>
      <pc:sldChg chg="modSp add del mod">
        <pc:chgData name="Sharker, Yushuf" userId="08d49b3d-62a8-4e68-b1eb-b540cbdabdda" providerId="ADAL" clId="{35F4D922-4E7D-438A-875F-464910A25F7D}" dt="2025-01-10T18:08:48.290" v="5566" actId="2696"/>
        <pc:sldMkLst>
          <pc:docMk/>
          <pc:sldMk cId="3606273253" sldId="2147479911"/>
        </pc:sldMkLst>
      </pc:sldChg>
      <pc:sldChg chg="del">
        <pc:chgData name="Sharker, Yushuf" userId="08d49b3d-62a8-4e68-b1eb-b540cbdabdda" providerId="ADAL" clId="{35F4D922-4E7D-438A-875F-464910A25F7D}" dt="2024-11-26T14:05:24.483" v="0" actId="47"/>
        <pc:sldMkLst>
          <pc:docMk/>
          <pc:sldMk cId="1836066971" sldId="2147479912"/>
        </pc:sldMkLst>
      </pc:sldChg>
      <pc:sldChg chg="modSp add del mod">
        <pc:chgData name="Sharker, Yushuf" userId="08d49b3d-62a8-4e68-b1eb-b540cbdabdda" providerId="ADAL" clId="{35F4D922-4E7D-438A-875F-464910A25F7D}" dt="2025-02-03T21:14:32.824" v="8735" actId="2696"/>
        <pc:sldMkLst>
          <pc:docMk/>
          <pc:sldMk cId="3506446276" sldId="2147479912"/>
        </pc:sldMkLst>
      </pc:sldChg>
      <pc:sldChg chg="del">
        <pc:chgData name="Sharker, Yushuf" userId="08d49b3d-62a8-4e68-b1eb-b540cbdabdda" providerId="ADAL" clId="{35F4D922-4E7D-438A-875F-464910A25F7D}" dt="2024-11-26T14:05:24.483" v="0" actId="47"/>
        <pc:sldMkLst>
          <pc:docMk/>
          <pc:sldMk cId="62907687" sldId="2147479913"/>
        </pc:sldMkLst>
      </pc:sldChg>
      <pc:sldChg chg="modSp add mod ord">
        <pc:chgData name="Sharker, Yushuf" userId="08d49b3d-62a8-4e68-b1eb-b540cbdabdda" providerId="ADAL" clId="{35F4D922-4E7D-438A-875F-464910A25F7D}" dt="2025-02-03T15:55:20.265" v="7923" actId="948"/>
        <pc:sldMkLst>
          <pc:docMk/>
          <pc:sldMk cId="2942217193" sldId="2147479913"/>
        </pc:sldMkLst>
        <pc:spChg chg="mod">
          <ac:chgData name="Sharker, Yushuf" userId="08d49b3d-62a8-4e68-b1eb-b540cbdabdda" providerId="ADAL" clId="{35F4D922-4E7D-438A-875F-464910A25F7D}" dt="2025-02-03T15:55:20.265" v="7923" actId="948"/>
          <ac:spMkLst>
            <pc:docMk/>
            <pc:sldMk cId="2942217193" sldId="2147479913"/>
            <ac:spMk id="2" creationId="{DE629E8C-C791-139E-D4A0-D96D82B85244}"/>
          </ac:spMkLst>
        </pc:spChg>
        <pc:spChg chg="mod">
          <ac:chgData name="Sharker, Yushuf" userId="08d49b3d-62a8-4e68-b1eb-b540cbdabdda" providerId="ADAL" clId="{35F4D922-4E7D-438A-875F-464910A25F7D}" dt="2025-02-03T15:50:27.483" v="7664" actId="20577"/>
          <ac:spMkLst>
            <pc:docMk/>
            <pc:sldMk cId="2942217193" sldId="2147479913"/>
            <ac:spMk id="4" creationId="{E36D604C-F15C-D547-74FB-A5B9A91B4797}"/>
          </ac:spMkLst>
        </pc:spChg>
      </pc:sldChg>
      <pc:sldChg chg="addSp delSp modSp add del mod">
        <pc:chgData name="Sharker, Yushuf" userId="08d49b3d-62a8-4e68-b1eb-b540cbdabdda" providerId="ADAL" clId="{35F4D922-4E7D-438A-875F-464910A25F7D}" dt="2025-02-06T19:53:09.137" v="12026" actId="2696"/>
        <pc:sldMkLst>
          <pc:docMk/>
          <pc:sldMk cId="370581261" sldId="2147479914"/>
        </pc:sldMkLst>
      </pc:sldChg>
      <pc:sldChg chg="add">
        <pc:chgData name="Sharker, Yushuf" userId="08d49b3d-62a8-4e68-b1eb-b540cbdabdda" providerId="ADAL" clId="{35F4D922-4E7D-438A-875F-464910A25F7D}" dt="2025-02-06T19:53:13.507" v="12027"/>
        <pc:sldMkLst>
          <pc:docMk/>
          <pc:sldMk cId="450724503" sldId="2147479914"/>
        </pc:sldMkLst>
      </pc:sldChg>
      <pc:sldChg chg="addSp delSp modSp add mod modClrScheme chgLayout">
        <pc:chgData name="Sharker, Yushuf" userId="08d49b3d-62a8-4e68-b1eb-b540cbdabdda" providerId="ADAL" clId="{35F4D922-4E7D-438A-875F-464910A25F7D}" dt="2025-02-05T21:36:35.878" v="11535" actId="20577"/>
        <pc:sldMkLst>
          <pc:docMk/>
          <pc:sldMk cId="367513924" sldId="2147479915"/>
        </pc:sldMkLst>
        <pc:spChg chg="mod ord">
          <ac:chgData name="Sharker, Yushuf" userId="08d49b3d-62a8-4e68-b1eb-b540cbdabdda" providerId="ADAL" clId="{35F4D922-4E7D-438A-875F-464910A25F7D}" dt="2025-01-16T15:51:23.198" v="5664" actId="26606"/>
          <ac:spMkLst>
            <pc:docMk/>
            <pc:sldMk cId="367513924" sldId="2147479915"/>
            <ac:spMk id="2" creationId="{358BC1C5-D063-1D1A-4160-A1559983B08B}"/>
          </ac:spMkLst>
        </pc:spChg>
        <pc:spChg chg="mod ord">
          <ac:chgData name="Sharker, Yushuf" userId="08d49b3d-62a8-4e68-b1eb-b540cbdabdda" providerId="ADAL" clId="{35F4D922-4E7D-438A-875F-464910A25F7D}" dt="2025-01-16T15:51:23.198" v="5664" actId="26606"/>
          <ac:spMkLst>
            <pc:docMk/>
            <pc:sldMk cId="367513924" sldId="2147479915"/>
            <ac:spMk id="3" creationId="{569C9A69-668F-788E-99B0-0CA5727ED999}"/>
          </ac:spMkLst>
        </pc:spChg>
        <pc:spChg chg="mod">
          <ac:chgData name="Sharker, Yushuf" userId="08d49b3d-62a8-4e68-b1eb-b540cbdabdda" providerId="ADAL" clId="{35F4D922-4E7D-438A-875F-464910A25F7D}" dt="2025-02-05T21:36:35.878" v="11535" actId="20577"/>
          <ac:spMkLst>
            <pc:docMk/>
            <pc:sldMk cId="367513924" sldId="2147479915"/>
            <ac:spMk id="4" creationId="{AB878AA9-ABF8-9742-4423-ABA2ECF8218A}"/>
          </ac:spMkLst>
        </pc:spChg>
        <pc:spChg chg="mod">
          <ac:chgData name="Sharker, Yushuf" userId="08d49b3d-62a8-4e68-b1eb-b540cbdabdda" providerId="ADAL" clId="{35F4D922-4E7D-438A-875F-464910A25F7D}" dt="2025-01-16T15:51:23.198" v="5664" actId="26606"/>
          <ac:spMkLst>
            <pc:docMk/>
            <pc:sldMk cId="367513924" sldId="2147479915"/>
            <ac:spMk id="5" creationId="{D811F871-DD59-C0C0-9874-6507C8DBA01B}"/>
          </ac:spMkLst>
        </pc:spChg>
        <pc:spChg chg="add del">
          <ac:chgData name="Sharker, Yushuf" userId="08d49b3d-62a8-4e68-b1eb-b540cbdabdda" providerId="ADAL" clId="{35F4D922-4E7D-438A-875F-464910A25F7D}" dt="2025-01-16T15:51:23.198" v="5664" actId="26606"/>
          <ac:spMkLst>
            <pc:docMk/>
            <pc:sldMk cId="367513924" sldId="2147479915"/>
            <ac:spMk id="6" creationId="{FFF0BF6A-FD53-A6C3-FFCD-0602DFDC5218}"/>
          </ac:spMkLst>
        </pc:spChg>
        <pc:spChg chg="mod">
          <ac:chgData name="Sharker, Yushuf" userId="08d49b3d-62a8-4e68-b1eb-b540cbdabdda" providerId="ADAL" clId="{35F4D922-4E7D-438A-875F-464910A25F7D}" dt="2025-02-05T21:36:16.471" v="11529" actId="20578"/>
          <ac:spMkLst>
            <pc:docMk/>
            <pc:sldMk cId="367513924" sldId="2147479915"/>
            <ac:spMk id="9" creationId="{F3349300-0F7C-A12F-B4FF-9FCBEAAD10FC}"/>
          </ac:spMkLst>
        </pc:spChg>
        <pc:picChg chg="add mod">
          <ac:chgData name="Sharker, Yushuf" userId="08d49b3d-62a8-4e68-b1eb-b540cbdabdda" providerId="ADAL" clId="{35F4D922-4E7D-438A-875F-464910A25F7D}" dt="2025-02-05T21:36:26.482" v="11533" actId="1038"/>
          <ac:picMkLst>
            <pc:docMk/>
            <pc:sldMk cId="367513924" sldId="2147479915"/>
            <ac:picMk id="7" creationId="{B894DF33-971C-7151-E172-EB251EBA629E}"/>
          </ac:picMkLst>
        </pc:picChg>
      </pc:sldChg>
      <pc:sldChg chg="addSp delSp modSp add del mod">
        <pc:chgData name="Sharker, Yushuf" userId="08d49b3d-62a8-4e68-b1eb-b540cbdabdda" providerId="ADAL" clId="{35F4D922-4E7D-438A-875F-464910A25F7D}" dt="2025-02-04T21:22:30.035" v="9836" actId="2696"/>
        <pc:sldMkLst>
          <pc:docMk/>
          <pc:sldMk cId="1135826402" sldId="2147479916"/>
        </pc:sldMkLst>
      </pc:sldChg>
      <pc:sldChg chg="add">
        <pc:chgData name="Sharker, Yushuf" userId="08d49b3d-62a8-4e68-b1eb-b540cbdabdda" providerId="ADAL" clId="{35F4D922-4E7D-438A-875F-464910A25F7D}" dt="2025-02-04T21:22:46.896" v="9837"/>
        <pc:sldMkLst>
          <pc:docMk/>
          <pc:sldMk cId="2291362861" sldId="2147479916"/>
        </pc:sldMkLst>
      </pc:sldChg>
      <pc:sldChg chg="modSp add mod">
        <pc:chgData name="Sharker, Yushuf" userId="08d49b3d-62a8-4e68-b1eb-b540cbdabdda" providerId="ADAL" clId="{35F4D922-4E7D-438A-875F-464910A25F7D}" dt="2025-02-04T21:42:35.643" v="10532" actId="20577"/>
        <pc:sldMkLst>
          <pc:docMk/>
          <pc:sldMk cId="1691793807" sldId="2147479917"/>
        </pc:sldMkLst>
        <pc:spChg chg="mod">
          <ac:chgData name="Sharker, Yushuf" userId="08d49b3d-62a8-4e68-b1eb-b540cbdabdda" providerId="ADAL" clId="{35F4D922-4E7D-438A-875F-464910A25F7D}" dt="2025-02-04T21:42:35.643" v="10532" actId="20577"/>
          <ac:spMkLst>
            <pc:docMk/>
            <pc:sldMk cId="1691793807" sldId="2147479917"/>
            <ac:spMk id="4" creationId="{906E05B1-ADD3-4911-B22B-36833B285F76}"/>
          </ac:spMkLst>
        </pc:spChg>
      </pc:sldChg>
      <pc:sldChg chg="addSp delSp modSp add del mod">
        <pc:chgData name="Sharker, Yushuf" userId="08d49b3d-62a8-4e68-b1eb-b540cbdabdda" providerId="ADAL" clId="{35F4D922-4E7D-438A-875F-464910A25F7D}" dt="2025-02-04T21:42:07.245" v="10494" actId="2696"/>
        <pc:sldMkLst>
          <pc:docMk/>
          <pc:sldMk cId="2166861468" sldId="2147479917"/>
        </pc:sldMkLst>
      </pc:sldChg>
      <pc:sldChg chg="addSp delSp modSp add del mod">
        <pc:chgData name="Sharker, Yushuf" userId="08d49b3d-62a8-4e68-b1eb-b540cbdabdda" providerId="ADAL" clId="{35F4D922-4E7D-438A-875F-464910A25F7D}" dt="2025-02-04T21:21:48" v="9835" actId="47"/>
        <pc:sldMkLst>
          <pc:docMk/>
          <pc:sldMk cId="2241045436" sldId="2147479918"/>
        </pc:sldMkLst>
      </pc:sldChg>
      <pc:sldChg chg="modSp add del mod">
        <pc:chgData name="Sharker, Yushuf" userId="08d49b3d-62a8-4e68-b1eb-b540cbdabdda" providerId="ADAL" clId="{35F4D922-4E7D-438A-875F-464910A25F7D}" dt="2024-12-12T17:43:52.933" v="2985" actId="2696"/>
        <pc:sldMkLst>
          <pc:docMk/>
          <pc:sldMk cId="2455998919" sldId="2147479919"/>
        </pc:sldMkLst>
      </pc:sldChg>
      <pc:sldChg chg="modSp add del mod">
        <pc:chgData name="Sharker, Yushuf" userId="08d49b3d-62a8-4e68-b1eb-b540cbdabdda" providerId="ADAL" clId="{35F4D922-4E7D-438A-875F-464910A25F7D}" dt="2025-02-04T21:18:01.620" v="9686" actId="2696"/>
        <pc:sldMkLst>
          <pc:docMk/>
          <pc:sldMk cId="3406512067" sldId="2147479919"/>
        </pc:sldMkLst>
      </pc:sldChg>
      <pc:sldChg chg="modSp add del mod">
        <pc:chgData name="Sharker, Yushuf" userId="08d49b3d-62a8-4e68-b1eb-b540cbdabdda" providerId="ADAL" clId="{35F4D922-4E7D-438A-875F-464910A25F7D}" dt="2025-02-04T21:23:19.525" v="9840" actId="2696"/>
        <pc:sldMkLst>
          <pc:docMk/>
          <pc:sldMk cId="1370846337" sldId="2147479920"/>
        </pc:sldMkLst>
      </pc:sldChg>
      <pc:sldChg chg="modSp add del mod">
        <pc:chgData name="Sharker, Yushuf" userId="08d49b3d-62a8-4e68-b1eb-b540cbdabdda" providerId="ADAL" clId="{35F4D922-4E7D-438A-875F-464910A25F7D}" dt="2024-12-12T17:43:52.933" v="2985" actId="2696"/>
        <pc:sldMkLst>
          <pc:docMk/>
          <pc:sldMk cId="3232387722" sldId="2147479920"/>
        </pc:sldMkLst>
      </pc:sldChg>
      <pc:sldChg chg="modSp add">
        <pc:chgData name="Sharker, Yushuf" userId="08d49b3d-62a8-4e68-b1eb-b540cbdabdda" providerId="ADAL" clId="{35F4D922-4E7D-438A-875F-464910A25F7D}" dt="2025-02-06T20:55:16.446" v="12409"/>
        <pc:sldMkLst>
          <pc:docMk/>
          <pc:sldMk cId="3887536290" sldId="2147479920"/>
        </pc:sldMkLst>
        <pc:spChg chg="mod">
          <ac:chgData name="Sharker, Yushuf" userId="08d49b3d-62a8-4e68-b1eb-b540cbdabdda" providerId="ADAL" clId="{35F4D922-4E7D-438A-875F-464910A25F7D}" dt="2025-02-06T20:55:16.446" v="12409"/>
          <ac:spMkLst>
            <pc:docMk/>
            <pc:sldMk cId="3887536290" sldId="2147479920"/>
            <ac:spMk id="7" creationId="{26C506F0-5C10-A008-4BA6-38979BC07894}"/>
          </ac:spMkLst>
        </pc:spChg>
      </pc:sldChg>
      <pc:sldChg chg="add del">
        <pc:chgData name="Sharker, Yushuf" userId="08d49b3d-62a8-4e68-b1eb-b540cbdabdda" providerId="ADAL" clId="{35F4D922-4E7D-438A-875F-464910A25F7D}" dt="2025-02-04T21:20:25.428" v="9827" actId="2696"/>
        <pc:sldMkLst>
          <pc:docMk/>
          <pc:sldMk cId="633218016" sldId="2147479921"/>
        </pc:sldMkLst>
      </pc:sldChg>
      <pc:sldChg chg="add">
        <pc:chgData name="Sharker, Yushuf" userId="08d49b3d-62a8-4e68-b1eb-b540cbdabdda" providerId="ADAL" clId="{35F4D922-4E7D-438A-875F-464910A25F7D}" dt="2025-02-04T21:20:41.030" v="9828"/>
        <pc:sldMkLst>
          <pc:docMk/>
          <pc:sldMk cId="651234619" sldId="2147479921"/>
        </pc:sldMkLst>
      </pc:sldChg>
      <pc:sldChg chg="modSp add del mod">
        <pc:chgData name="Sharker, Yushuf" userId="08d49b3d-62a8-4e68-b1eb-b540cbdabdda" providerId="ADAL" clId="{35F4D922-4E7D-438A-875F-464910A25F7D}" dt="2024-12-12T17:43:52.933" v="2985" actId="2696"/>
        <pc:sldMkLst>
          <pc:docMk/>
          <pc:sldMk cId="3253865528" sldId="2147479921"/>
        </pc:sldMkLst>
      </pc:sldChg>
      <pc:sldChg chg="addSp delSp modSp add del mod">
        <pc:chgData name="Sharker, Yushuf" userId="08d49b3d-62a8-4e68-b1eb-b540cbdabdda" providerId="ADAL" clId="{35F4D922-4E7D-438A-875F-464910A25F7D}" dt="2024-12-12T17:43:52.933" v="2985" actId="2696"/>
        <pc:sldMkLst>
          <pc:docMk/>
          <pc:sldMk cId="2043050822" sldId="2147479922"/>
        </pc:sldMkLst>
      </pc:sldChg>
      <pc:sldChg chg="addSp modSp add mod ord">
        <pc:chgData name="Sharker, Yushuf" userId="08d49b3d-62a8-4e68-b1eb-b540cbdabdda" providerId="ADAL" clId="{35F4D922-4E7D-438A-875F-464910A25F7D}" dt="2025-02-06T20:55:16.446" v="12409"/>
        <pc:sldMkLst>
          <pc:docMk/>
          <pc:sldMk cId="4225755233" sldId="2147479922"/>
        </pc:sldMkLst>
        <pc:spChg chg="add mod">
          <ac:chgData name="Sharker, Yushuf" userId="08d49b3d-62a8-4e68-b1eb-b540cbdabdda" providerId="ADAL" clId="{35F4D922-4E7D-438A-875F-464910A25F7D}" dt="2025-02-06T20:55:16.446" v="12409"/>
          <ac:spMkLst>
            <pc:docMk/>
            <pc:sldMk cId="4225755233" sldId="2147479922"/>
            <ac:spMk id="8" creationId="{683D2DE0-E2A8-3AAF-96FC-5CAD93175929}"/>
          </ac:spMkLst>
        </pc:spChg>
        <pc:picChg chg="mod">
          <ac:chgData name="Sharker, Yushuf" userId="08d49b3d-62a8-4e68-b1eb-b540cbdabdda" providerId="ADAL" clId="{35F4D922-4E7D-438A-875F-464910A25F7D}" dt="2024-12-12T21:20:22.654" v="3159" actId="1076"/>
          <ac:picMkLst>
            <pc:docMk/>
            <pc:sldMk cId="4225755233" sldId="2147479922"/>
            <ac:picMk id="9" creationId="{2B2CDE5A-33D6-15F7-EAA0-B8819B23191A}"/>
          </ac:picMkLst>
        </pc:picChg>
      </pc:sldChg>
      <pc:sldChg chg="modSp add del mod">
        <pc:chgData name="Sharker, Yushuf" userId="08d49b3d-62a8-4e68-b1eb-b540cbdabdda" providerId="ADAL" clId="{35F4D922-4E7D-438A-875F-464910A25F7D}" dt="2024-12-12T17:43:52.933" v="2985" actId="2696"/>
        <pc:sldMkLst>
          <pc:docMk/>
          <pc:sldMk cId="3531082062" sldId="2147479923"/>
        </pc:sldMkLst>
      </pc:sldChg>
      <pc:sldChg chg="modSp add ord">
        <pc:chgData name="Sharker, Yushuf" userId="08d49b3d-62a8-4e68-b1eb-b540cbdabdda" providerId="ADAL" clId="{35F4D922-4E7D-438A-875F-464910A25F7D}" dt="2025-02-06T20:55:16.446" v="12409"/>
        <pc:sldMkLst>
          <pc:docMk/>
          <pc:sldMk cId="4172076643" sldId="2147479923"/>
        </pc:sldMkLst>
        <pc:spChg chg="mod">
          <ac:chgData name="Sharker, Yushuf" userId="08d49b3d-62a8-4e68-b1eb-b540cbdabdda" providerId="ADAL" clId="{35F4D922-4E7D-438A-875F-464910A25F7D}" dt="2025-02-06T20:55:16.446" v="12409"/>
          <ac:spMkLst>
            <pc:docMk/>
            <pc:sldMk cId="4172076643" sldId="2147479923"/>
            <ac:spMk id="7" creationId="{4C9FB969-4A77-A20C-1B08-9A4C5F582C72}"/>
          </ac:spMkLst>
        </pc:spChg>
      </pc:sldChg>
      <pc:sldChg chg="add ord">
        <pc:chgData name="Sharker, Yushuf" userId="08d49b3d-62a8-4e68-b1eb-b540cbdabdda" providerId="ADAL" clId="{35F4D922-4E7D-438A-875F-464910A25F7D}" dt="2025-02-03T21:43:14.239" v="9219"/>
        <pc:sldMkLst>
          <pc:docMk/>
          <pc:sldMk cId="3225158885" sldId="2147479924"/>
        </pc:sldMkLst>
      </pc:sldChg>
      <pc:sldChg chg="modSp new del mod">
        <pc:chgData name="Sharker, Yushuf" userId="08d49b3d-62a8-4e68-b1eb-b540cbdabdda" providerId="ADAL" clId="{35F4D922-4E7D-438A-875F-464910A25F7D}" dt="2025-02-03T21:58:29.168" v="9413" actId="2696"/>
        <pc:sldMkLst>
          <pc:docMk/>
          <pc:sldMk cId="1309407943" sldId="2147479925"/>
        </pc:sldMkLst>
      </pc:sldChg>
      <pc:sldChg chg="modSp add del mod">
        <pc:chgData name="Sharker, Yushuf" userId="08d49b3d-62a8-4e68-b1eb-b540cbdabdda" providerId="ADAL" clId="{35F4D922-4E7D-438A-875F-464910A25F7D}" dt="2025-02-03T21:14:45.441" v="8736" actId="2696"/>
        <pc:sldMkLst>
          <pc:docMk/>
          <pc:sldMk cId="1786473667" sldId="2147479926"/>
        </pc:sldMkLst>
      </pc:sldChg>
      <pc:sldChg chg="modSp add del mod">
        <pc:chgData name="Sharker, Yushuf" userId="08d49b3d-62a8-4e68-b1eb-b540cbdabdda" providerId="ADAL" clId="{35F4D922-4E7D-438A-875F-464910A25F7D}" dt="2025-02-03T21:54:22.365" v="9410" actId="2696"/>
        <pc:sldMkLst>
          <pc:docMk/>
          <pc:sldMk cId="4284262660" sldId="2147479927"/>
        </pc:sldMkLst>
      </pc:sldChg>
      <pc:sldChg chg="addSp delSp modSp add del mod">
        <pc:chgData name="Sharker, Yushuf" userId="08d49b3d-62a8-4e68-b1eb-b540cbdabdda" providerId="ADAL" clId="{35F4D922-4E7D-438A-875F-464910A25F7D}" dt="2025-02-04T21:21:39.420" v="9834" actId="47"/>
        <pc:sldMkLst>
          <pc:docMk/>
          <pc:sldMk cId="3691009178" sldId="2147479928"/>
        </pc:sldMkLst>
      </pc:sldChg>
      <pc:sldChg chg="addSp delSp modSp add del mod ord">
        <pc:chgData name="Sharker, Yushuf" userId="08d49b3d-62a8-4e68-b1eb-b540cbdabdda" providerId="ADAL" clId="{35F4D922-4E7D-438A-875F-464910A25F7D}" dt="2025-02-04T21:21:31.747" v="9833" actId="47"/>
        <pc:sldMkLst>
          <pc:docMk/>
          <pc:sldMk cId="4283562623" sldId="2147479929"/>
        </pc:sldMkLst>
      </pc:sldChg>
      <pc:sldChg chg="modSp add del mod">
        <pc:chgData name="Sharker, Yushuf" userId="08d49b3d-62a8-4e68-b1eb-b540cbdabdda" providerId="ADAL" clId="{35F4D922-4E7D-438A-875F-464910A25F7D}" dt="2025-02-04T21:20:56.272" v="9830" actId="2696"/>
        <pc:sldMkLst>
          <pc:docMk/>
          <pc:sldMk cId="2843166512" sldId="2147479930"/>
        </pc:sldMkLst>
      </pc:sldChg>
      <pc:sldChg chg="addSp delSp modSp add del mod">
        <pc:chgData name="Sharker, Yushuf" userId="08d49b3d-62a8-4e68-b1eb-b540cbdabdda" providerId="ADAL" clId="{35F4D922-4E7D-438A-875F-464910A25F7D}" dt="2025-02-04T21:20:45.577" v="9829" actId="2696"/>
        <pc:sldMkLst>
          <pc:docMk/>
          <pc:sldMk cId="4047518762" sldId="2147479931"/>
        </pc:sldMkLst>
      </pc:sldChg>
      <pc:sldChg chg="addSp delSp modSp add mod ord">
        <pc:chgData name="Sharker, Yushuf" userId="08d49b3d-62a8-4e68-b1eb-b540cbdabdda" providerId="ADAL" clId="{35F4D922-4E7D-438A-875F-464910A25F7D}" dt="2025-02-03T22:00:38.451" v="9420"/>
        <pc:sldMkLst>
          <pc:docMk/>
          <pc:sldMk cId="2407777282" sldId="2147479932"/>
        </pc:sldMkLst>
        <pc:spChg chg="mod">
          <ac:chgData name="Sharker, Yushuf" userId="08d49b3d-62a8-4e68-b1eb-b540cbdabdda" providerId="ADAL" clId="{35F4D922-4E7D-438A-875F-464910A25F7D}" dt="2025-01-28T18:19:53.903" v="6837" actId="20577"/>
          <ac:spMkLst>
            <pc:docMk/>
            <pc:sldMk cId="2407777282" sldId="2147479932"/>
            <ac:spMk id="4" creationId="{A4A7AAA4-8F52-CE42-6505-B7990BD2731A}"/>
          </ac:spMkLst>
        </pc:spChg>
        <pc:spChg chg="mod">
          <ac:chgData name="Sharker, Yushuf" userId="08d49b3d-62a8-4e68-b1eb-b540cbdabdda" providerId="ADAL" clId="{35F4D922-4E7D-438A-875F-464910A25F7D}" dt="2025-01-28T18:21:17.644" v="6842" actId="179"/>
          <ac:spMkLst>
            <pc:docMk/>
            <pc:sldMk cId="2407777282" sldId="2147479932"/>
            <ac:spMk id="7" creationId="{1C5554F0-D42F-1C12-8358-8E6B7BF078C9}"/>
          </ac:spMkLst>
        </pc:spChg>
        <pc:spChg chg="add mod">
          <ac:chgData name="Sharker, Yushuf" userId="08d49b3d-62a8-4e68-b1eb-b540cbdabdda" providerId="ADAL" clId="{35F4D922-4E7D-438A-875F-464910A25F7D}" dt="2025-01-28T18:20:09.093" v="6840" actId="1076"/>
          <ac:spMkLst>
            <pc:docMk/>
            <pc:sldMk cId="2407777282" sldId="2147479932"/>
            <ac:spMk id="8" creationId="{B15B46F4-31CF-2F02-EA30-43D45DFDD1CC}"/>
          </ac:spMkLst>
        </pc:spChg>
      </pc:sldChg>
      <pc:sldChg chg="addSp delSp modSp add mod">
        <pc:chgData name="Sharker, Yushuf" userId="08d49b3d-62a8-4e68-b1eb-b540cbdabdda" providerId="ADAL" clId="{35F4D922-4E7D-438A-875F-464910A25F7D}" dt="2025-02-06T20:55:16.446" v="12409"/>
        <pc:sldMkLst>
          <pc:docMk/>
          <pc:sldMk cId="9571524" sldId="2147479933"/>
        </pc:sldMkLst>
        <pc:spChg chg="mod">
          <ac:chgData name="Sharker, Yushuf" userId="08d49b3d-62a8-4e68-b1eb-b540cbdabdda" providerId="ADAL" clId="{35F4D922-4E7D-438A-875F-464910A25F7D}" dt="2025-01-10T18:10:38.029" v="5587" actId="20577"/>
          <ac:spMkLst>
            <pc:docMk/>
            <pc:sldMk cId="9571524" sldId="2147479933"/>
            <ac:spMk id="4" creationId="{DFAB4AC7-ED65-5090-3D6B-9C16F1AA6B78}"/>
          </ac:spMkLst>
        </pc:spChg>
        <pc:spChg chg="mod">
          <ac:chgData name="Sharker, Yushuf" userId="08d49b3d-62a8-4e68-b1eb-b540cbdabdda" providerId="ADAL" clId="{35F4D922-4E7D-438A-875F-464910A25F7D}" dt="2025-02-06T20:55:16.446" v="12409"/>
          <ac:spMkLst>
            <pc:docMk/>
            <pc:sldMk cId="9571524" sldId="2147479933"/>
            <ac:spMk id="7" creationId="{936212CA-0CE1-E096-53D6-8D009D2A2A1E}"/>
          </ac:spMkLst>
        </pc:spChg>
        <pc:graphicFrameChg chg="add mod modGraphic">
          <ac:chgData name="Sharker, Yushuf" userId="08d49b3d-62a8-4e68-b1eb-b540cbdabdda" providerId="ADAL" clId="{35F4D922-4E7D-438A-875F-464910A25F7D}" dt="2025-02-04T21:43:39.714" v="10538" actId="113"/>
          <ac:graphicFrameMkLst>
            <pc:docMk/>
            <pc:sldMk cId="9571524" sldId="2147479933"/>
            <ac:graphicFrameMk id="9" creationId="{AEB0FE85-80C4-05A6-88DF-D6B509BF526C}"/>
          </ac:graphicFrameMkLst>
        </pc:graphicFrameChg>
      </pc:sldChg>
      <pc:sldChg chg="addSp delSp modSp add del mod">
        <pc:chgData name="Sharker, Yushuf" userId="08d49b3d-62a8-4e68-b1eb-b540cbdabdda" providerId="ADAL" clId="{35F4D922-4E7D-438A-875F-464910A25F7D}" dt="2025-02-04T21:18:27.170" v="9687" actId="2696"/>
        <pc:sldMkLst>
          <pc:docMk/>
          <pc:sldMk cId="318428122" sldId="2147479934"/>
        </pc:sldMkLst>
      </pc:sldChg>
      <pc:sldChg chg="del">
        <pc:chgData name="Sharker, Yushuf" userId="08d49b3d-62a8-4e68-b1eb-b540cbdabdda" providerId="ADAL" clId="{35F4D922-4E7D-438A-875F-464910A25F7D}" dt="2024-11-26T14:05:24.483" v="0" actId="47"/>
        <pc:sldMkLst>
          <pc:docMk/>
          <pc:sldMk cId="911338013" sldId="2147479934"/>
        </pc:sldMkLst>
      </pc:sldChg>
      <pc:sldChg chg="addSp modSp add mod ord">
        <pc:chgData name="Sharker, Yushuf" userId="08d49b3d-62a8-4e68-b1eb-b540cbdabdda" providerId="ADAL" clId="{35F4D922-4E7D-438A-875F-464910A25F7D}" dt="2025-02-08T00:18:10.504" v="16113" actId="20577"/>
        <pc:sldMkLst>
          <pc:docMk/>
          <pc:sldMk cId="2032632129" sldId="2147479934"/>
        </pc:sldMkLst>
        <pc:spChg chg="mod">
          <ac:chgData name="Sharker, Yushuf" userId="08d49b3d-62a8-4e68-b1eb-b540cbdabdda" providerId="ADAL" clId="{35F4D922-4E7D-438A-875F-464910A25F7D}" dt="2025-02-04T21:39:45.829" v="10389" actId="20577"/>
          <ac:spMkLst>
            <pc:docMk/>
            <pc:sldMk cId="2032632129" sldId="2147479934"/>
            <ac:spMk id="4" creationId="{2622647A-C779-4291-0EA1-B5E680D137E9}"/>
          </ac:spMkLst>
        </pc:spChg>
        <pc:spChg chg="mod">
          <ac:chgData name="Sharker, Yushuf" userId="08d49b3d-62a8-4e68-b1eb-b540cbdabdda" providerId="ADAL" clId="{35F4D922-4E7D-438A-875F-464910A25F7D}" dt="2025-02-06T20:55:16.446" v="12409"/>
          <ac:spMkLst>
            <pc:docMk/>
            <pc:sldMk cId="2032632129" sldId="2147479934"/>
            <ac:spMk id="7" creationId="{3A78CF70-2D86-32A1-1DF7-276DD516345E}"/>
          </ac:spMkLst>
        </pc:spChg>
        <pc:spChg chg="add mod">
          <ac:chgData name="Sharker, Yushuf" userId="08d49b3d-62a8-4e68-b1eb-b540cbdabdda" providerId="ADAL" clId="{35F4D922-4E7D-438A-875F-464910A25F7D}" dt="2025-02-08T00:16:50.498" v="16091" actId="1037"/>
          <ac:spMkLst>
            <pc:docMk/>
            <pc:sldMk cId="2032632129" sldId="2147479934"/>
            <ac:spMk id="9" creationId="{408B236E-71AE-D21C-22B4-E308607B301A}"/>
          </ac:spMkLst>
        </pc:spChg>
        <pc:spChg chg="add mod">
          <ac:chgData name="Sharker, Yushuf" userId="08d49b3d-62a8-4e68-b1eb-b540cbdabdda" providerId="ADAL" clId="{35F4D922-4E7D-438A-875F-464910A25F7D}" dt="2025-02-04T21:40:41.412" v="10435" actId="1036"/>
          <ac:spMkLst>
            <pc:docMk/>
            <pc:sldMk cId="2032632129" sldId="2147479934"/>
            <ac:spMk id="11" creationId="{79A9411A-13B9-3A59-F581-32989ACE2B5B}"/>
          </ac:spMkLst>
        </pc:spChg>
        <pc:spChg chg="add mod">
          <ac:chgData name="Sharker, Yushuf" userId="08d49b3d-62a8-4e68-b1eb-b540cbdabdda" providerId="ADAL" clId="{35F4D922-4E7D-438A-875F-464910A25F7D}" dt="2025-02-08T00:18:10.504" v="16113" actId="20577"/>
          <ac:spMkLst>
            <pc:docMk/>
            <pc:sldMk cId="2032632129" sldId="2147479934"/>
            <ac:spMk id="12" creationId="{AEC4F652-5199-A819-4ECD-CCD713E322F4}"/>
          </ac:spMkLst>
        </pc:spChg>
        <pc:graphicFrameChg chg="add mod modGraphic">
          <ac:chgData name="Sharker, Yushuf" userId="08d49b3d-62a8-4e68-b1eb-b540cbdabdda" providerId="ADAL" clId="{35F4D922-4E7D-438A-875F-464910A25F7D}" dt="2025-02-08T00:17:43.662" v="16101" actId="1037"/>
          <ac:graphicFrameMkLst>
            <pc:docMk/>
            <pc:sldMk cId="2032632129" sldId="2147479934"/>
            <ac:graphicFrameMk id="8" creationId="{B1768FA6-77C8-E801-3C46-328635E2D800}"/>
          </ac:graphicFrameMkLst>
        </pc:graphicFrameChg>
        <pc:picChg chg="add mod">
          <ac:chgData name="Sharker, Yushuf" userId="08d49b3d-62a8-4e68-b1eb-b540cbdabdda" providerId="ADAL" clId="{35F4D922-4E7D-438A-875F-464910A25F7D}" dt="2025-02-04T21:40:34.627" v="10424" actId="1036"/>
          <ac:picMkLst>
            <pc:docMk/>
            <pc:sldMk cId="2032632129" sldId="2147479934"/>
            <ac:picMk id="10" creationId="{2C92D3EB-C7A1-95F6-B2CE-ACAA76AC007D}"/>
          </ac:picMkLst>
        </pc:picChg>
      </pc:sldChg>
      <pc:sldChg chg="del">
        <pc:chgData name="Sharker, Yushuf" userId="08d49b3d-62a8-4e68-b1eb-b540cbdabdda" providerId="ADAL" clId="{35F4D922-4E7D-438A-875F-464910A25F7D}" dt="2024-11-26T14:05:24.483" v="0" actId="47"/>
        <pc:sldMkLst>
          <pc:docMk/>
          <pc:sldMk cId="602542924" sldId="2147479935"/>
        </pc:sldMkLst>
      </pc:sldChg>
      <pc:sldChg chg="addSp delSp modSp add mod ord">
        <pc:chgData name="Sharker, Yushuf" userId="08d49b3d-62a8-4e68-b1eb-b540cbdabdda" providerId="ADAL" clId="{35F4D922-4E7D-438A-875F-464910A25F7D}" dt="2025-02-06T20:55:16.446" v="12409"/>
        <pc:sldMkLst>
          <pc:docMk/>
          <pc:sldMk cId="1640238445" sldId="2147479935"/>
        </pc:sldMkLst>
        <pc:spChg chg="add mod">
          <ac:chgData name="Sharker, Yushuf" userId="08d49b3d-62a8-4e68-b1eb-b540cbdabdda" providerId="ADAL" clId="{35F4D922-4E7D-438A-875F-464910A25F7D}" dt="2025-02-06T20:55:16.446" v="12409"/>
          <ac:spMkLst>
            <pc:docMk/>
            <pc:sldMk cId="1640238445" sldId="2147479935"/>
            <ac:spMk id="13" creationId="{F43F62A5-D9A3-A47D-9C0A-94FC235F0763}"/>
          </ac:spMkLst>
        </pc:spChg>
        <pc:spChg chg="add mod">
          <ac:chgData name="Sharker, Yushuf" userId="08d49b3d-62a8-4e68-b1eb-b540cbdabdda" providerId="ADAL" clId="{35F4D922-4E7D-438A-875F-464910A25F7D}" dt="2025-02-06T20:55:16.446" v="12409"/>
          <ac:spMkLst>
            <pc:docMk/>
            <pc:sldMk cId="1640238445" sldId="2147479935"/>
            <ac:spMk id="14" creationId="{375AD8A7-FF53-5856-46D7-F08D8D4116A2}"/>
          </ac:spMkLst>
        </pc:spChg>
      </pc:sldChg>
      <pc:sldChg chg="add del">
        <pc:chgData name="Sharker, Yushuf" userId="08d49b3d-62a8-4e68-b1eb-b540cbdabdda" providerId="ADAL" clId="{35F4D922-4E7D-438A-875F-464910A25F7D}" dt="2025-01-28T17:59:52.692" v="6358"/>
        <pc:sldMkLst>
          <pc:docMk/>
          <pc:sldMk cId="402584095" sldId="2147479936"/>
        </pc:sldMkLst>
      </pc:sldChg>
      <pc:sldChg chg="modSp new mod">
        <pc:chgData name="Sharker, Yushuf" userId="08d49b3d-62a8-4e68-b1eb-b540cbdabdda" providerId="ADAL" clId="{35F4D922-4E7D-438A-875F-464910A25F7D}" dt="2025-01-31T18:59:22.890" v="7094" actId="20577"/>
        <pc:sldMkLst>
          <pc:docMk/>
          <pc:sldMk cId="1256419714" sldId="2147479936"/>
        </pc:sldMkLst>
      </pc:sldChg>
      <pc:sldChg chg="modSp new mod ord">
        <pc:chgData name="Sharker, Yushuf" userId="08d49b3d-62a8-4e68-b1eb-b540cbdabdda" providerId="ADAL" clId="{35F4D922-4E7D-438A-875F-464910A25F7D}" dt="2025-02-06T20:55:16.446" v="12409"/>
        <pc:sldMkLst>
          <pc:docMk/>
          <pc:sldMk cId="2165791290" sldId="2147479937"/>
        </pc:sldMkLst>
        <pc:spChg chg="mod">
          <ac:chgData name="Sharker, Yushuf" userId="08d49b3d-62a8-4e68-b1eb-b540cbdabdda" providerId="ADAL" clId="{35F4D922-4E7D-438A-875F-464910A25F7D}" dt="2025-02-06T20:55:16.446" v="12409"/>
          <ac:spMkLst>
            <pc:docMk/>
            <pc:sldMk cId="2165791290" sldId="2147479937"/>
            <ac:spMk id="2" creationId="{0D9DF302-36A2-8A94-2E60-A836B1B5991C}"/>
          </ac:spMkLst>
        </pc:spChg>
        <pc:spChg chg="mod">
          <ac:chgData name="Sharker, Yushuf" userId="08d49b3d-62a8-4e68-b1eb-b540cbdabdda" providerId="ADAL" clId="{35F4D922-4E7D-438A-875F-464910A25F7D}" dt="2025-02-03T15:24:17.143" v="7623" actId="20577"/>
          <ac:spMkLst>
            <pc:docMk/>
            <pc:sldMk cId="2165791290" sldId="2147479937"/>
            <ac:spMk id="4" creationId="{BCB34139-D3AE-3ACA-C2C4-7B739D855B0D}"/>
          </ac:spMkLst>
        </pc:spChg>
      </pc:sldChg>
      <pc:sldChg chg="new del">
        <pc:chgData name="Sharker, Yushuf" userId="08d49b3d-62a8-4e68-b1eb-b540cbdabdda" providerId="ADAL" clId="{35F4D922-4E7D-438A-875F-464910A25F7D}" dt="2025-02-03T14:33:09.434" v="7334" actId="2696"/>
        <pc:sldMkLst>
          <pc:docMk/>
          <pc:sldMk cId="3603567836" sldId="2147479937"/>
        </pc:sldMkLst>
      </pc:sldChg>
      <pc:sldChg chg="new del">
        <pc:chgData name="Sharker, Yushuf" userId="08d49b3d-62a8-4e68-b1eb-b540cbdabdda" providerId="ADAL" clId="{35F4D922-4E7D-438A-875F-464910A25F7D}" dt="2025-01-31T19:11:01.623" v="7098" actId="680"/>
        <pc:sldMkLst>
          <pc:docMk/>
          <pc:sldMk cId="3924817391" sldId="2147479937"/>
        </pc:sldMkLst>
      </pc:sldChg>
      <pc:sldChg chg="addSp delSp modSp add mod modClrScheme chgLayout">
        <pc:chgData name="Sharker, Yushuf" userId="08d49b3d-62a8-4e68-b1eb-b540cbdabdda" providerId="ADAL" clId="{35F4D922-4E7D-438A-875F-464910A25F7D}" dt="2025-02-07T14:31:39.437" v="15467" actId="20577"/>
        <pc:sldMkLst>
          <pc:docMk/>
          <pc:sldMk cId="1295633666" sldId="2147479938"/>
        </pc:sldMkLst>
        <pc:spChg chg="mod ord">
          <ac:chgData name="Sharker, Yushuf" userId="08d49b3d-62a8-4e68-b1eb-b540cbdabdda" providerId="ADAL" clId="{35F4D922-4E7D-438A-875F-464910A25F7D}" dt="2025-02-03T17:09:19.106" v="8019" actId="26606"/>
          <ac:spMkLst>
            <pc:docMk/>
            <pc:sldMk cId="1295633666" sldId="2147479938"/>
            <ac:spMk id="2" creationId="{AF431071-4505-1482-39B3-5905562FE993}"/>
          </ac:spMkLst>
        </pc:spChg>
        <pc:spChg chg="mod ord">
          <ac:chgData name="Sharker, Yushuf" userId="08d49b3d-62a8-4e68-b1eb-b540cbdabdda" providerId="ADAL" clId="{35F4D922-4E7D-438A-875F-464910A25F7D}" dt="2025-02-03T17:09:19.106" v="8019" actId="26606"/>
          <ac:spMkLst>
            <pc:docMk/>
            <pc:sldMk cId="1295633666" sldId="2147479938"/>
            <ac:spMk id="3" creationId="{CBB623CF-4995-43B7-E6E3-B53BD929CB32}"/>
          </ac:spMkLst>
        </pc:spChg>
        <pc:spChg chg="mod">
          <ac:chgData name="Sharker, Yushuf" userId="08d49b3d-62a8-4e68-b1eb-b540cbdabdda" providerId="ADAL" clId="{35F4D922-4E7D-438A-875F-464910A25F7D}" dt="2025-02-03T17:09:19.106" v="8019" actId="26606"/>
          <ac:spMkLst>
            <pc:docMk/>
            <pc:sldMk cId="1295633666" sldId="2147479938"/>
            <ac:spMk id="4" creationId="{F5283C00-3420-013E-BD4F-7D367D9D5264}"/>
          </ac:spMkLst>
        </pc:spChg>
        <pc:spChg chg="mod">
          <ac:chgData name="Sharker, Yushuf" userId="08d49b3d-62a8-4e68-b1eb-b540cbdabdda" providerId="ADAL" clId="{35F4D922-4E7D-438A-875F-464910A25F7D}" dt="2025-02-03T17:09:19.106" v="8019" actId="26606"/>
          <ac:spMkLst>
            <pc:docMk/>
            <pc:sldMk cId="1295633666" sldId="2147479938"/>
            <ac:spMk id="5" creationId="{7AF18A07-C61B-5D3B-9492-9015ECE4B0E8}"/>
          </ac:spMkLst>
        </pc:spChg>
        <pc:spChg chg="add mod">
          <ac:chgData name="Sharker, Yushuf" userId="08d49b3d-62a8-4e68-b1eb-b540cbdabdda" providerId="ADAL" clId="{35F4D922-4E7D-438A-875F-464910A25F7D}" dt="2025-02-07T14:25:52.719" v="15282" actId="14100"/>
          <ac:spMkLst>
            <pc:docMk/>
            <pc:sldMk cId="1295633666" sldId="2147479938"/>
            <ac:spMk id="7" creationId="{E37702C3-2261-DF90-40F7-3F400BA3A271}"/>
          </ac:spMkLst>
        </pc:spChg>
        <pc:spChg chg="add mod">
          <ac:chgData name="Sharker, Yushuf" userId="08d49b3d-62a8-4e68-b1eb-b540cbdabdda" providerId="ADAL" clId="{35F4D922-4E7D-438A-875F-464910A25F7D}" dt="2025-02-07T14:31:39.437" v="15467" actId="20577"/>
          <ac:spMkLst>
            <pc:docMk/>
            <pc:sldMk cId="1295633666" sldId="2147479938"/>
            <ac:spMk id="15" creationId="{B8EE3757-0335-A17F-C17D-2E6C80A1D61A}"/>
          </ac:spMkLst>
        </pc:spChg>
        <pc:spChg chg="add mod">
          <ac:chgData name="Sharker, Yushuf" userId="08d49b3d-62a8-4e68-b1eb-b540cbdabdda" providerId="ADAL" clId="{35F4D922-4E7D-438A-875F-464910A25F7D}" dt="2025-02-07T14:25:43.858" v="15280" actId="255"/>
          <ac:spMkLst>
            <pc:docMk/>
            <pc:sldMk cId="1295633666" sldId="2147479938"/>
            <ac:spMk id="17" creationId="{9C1E5D5B-10D4-920A-680C-F254797A3E4E}"/>
          </ac:spMkLst>
        </pc:spChg>
        <pc:spChg chg="add mod">
          <ac:chgData name="Sharker, Yushuf" userId="08d49b3d-62a8-4e68-b1eb-b540cbdabdda" providerId="ADAL" clId="{35F4D922-4E7D-438A-875F-464910A25F7D}" dt="2025-02-03T17:09:19.106" v="8019" actId="26606"/>
          <ac:spMkLst>
            <pc:docMk/>
            <pc:sldMk cId="1295633666" sldId="2147479938"/>
            <ac:spMk id="20" creationId="{F14D631E-A3D3-5C9A-5C55-DDAB88AAD0DB}"/>
          </ac:spMkLst>
        </pc:spChg>
        <pc:graphicFrameChg chg="add mod modGraphic">
          <ac:chgData name="Sharker, Yushuf" userId="08d49b3d-62a8-4e68-b1eb-b540cbdabdda" providerId="ADAL" clId="{35F4D922-4E7D-438A-875F-464910A25F7D}" dt="2025-02-07T14:28:52.466" v="15359" actId="1076"/>
          <ac:graphicFrameMkLst>
            <pc:docMk/>
            <pc:sldMk cId="1295633666" sldId="2147479938"/>
            <ac:graphicFrameMk id="6" creationId="{7539B0EF-D5D7-6B0B-B48A-1712440A2017}"/>
          </ac:graphicFrameMkLst>
        </pc:graphicFrameChg>
        <pc:graphicFrameChg chg="add mod modGraphic">
          <ac:chgData name="Sharker, Yushuf" userId="08d49b3d-62a8-4e68-b1eb-b540cbdabdda" providerId="ADAL" clId="{35F4D922-4E7D-438A-875F-464910A25F7D}" dt="2025-02-07T14:28:46.223" v="15358" actId="1038"/>
          <ac:graphicFrameMkLst>
            <pc:docMk/>
            <pc:sldMk cId="1295633666" sldId="2147479938"/>
            <ac:graphicFrameMk id="8" creationId="{61EA1AD8-0C42-08A7-41B9-913BF321BE20}"/>
          </ac:graphicFrameMkLst>
        </pc:graphicFrameChg>
        <pc:graphicFrameChg chg="add del mod modGraphic">
          <ac:chgData name="Sharker, Yushuf" userId="08d49b3d-62a8-4e68-b1eb-b540cbdabdda" providerId="ADAL" clId="{35F4D922-4E7D-438A-875F-464910A25F7D}" dt="2025-02-07T14:22:36.836" v="15159" actId="478"/>
          <ac:graphicFrameMkLst>
            <pc:docMk/>
            <pc:sldMk cId="1295633666" sldId="2147479938"/>
            <ac:graphicFrameMk id="13" creationId="{BD586F42-9C6C-6D61-3827-96A58790A5B8}"/>
          </ac:graphicFrameMkLst>
        </pc:graphicFrameChg>
      </pc:sldChg>
      <pc:sldChg chg="addSp delSp modSp add del mod">
        <pc:chgData name="Sharker, Yushuf" userId="08d49b3d-62a8-4e68-b1eb-b540cbdabdda" providerId="ADAL" clId="{35F4D922-4E7D-438A-875F-464910A25F7D}" dt="2025-02-03T21:10:00.658" v="8734" actId="2696"/>
        <pc:sldMkLst>
          <pc:docMk/>
          <pc:sldMk cId="1864305015" sldId="2147479939"/>
        </pc:sldMkLst>
      </pc:sldChg>
      <pc:sldChg chg="modSp mod">
        <pc:chgData name="Sharker, Yushuf" userId="08d49b3d-62a8-4e68-b1eb-b540cbdabdda" providerId="ADAL" clId="{35F4D922-4E7D-438A-875F-464910A25F7D}" dt="2025-02-07T14:39:48.609" v="15516" actId="20577"/>
        <pc:sldMkLst>
          <pc:docMk/>
          <pc:sldMk cId="3487538365" sldId="2147479939"/>
        </pc:sldMkLst>
        <pc:spChg chg="mod">
          <ac:chgData name="Sharker, Yushuf" userId="08d49b3d-62a8-4e68-b1eb-b540cbdabdda" providerId="ADAL" clId="{35F4D922-4E7D-438A-875F-464910A25F7D}" dt="2025-02-06T20:55:16.446" v="12409"/>
          <ac:spMkLst>
            <pc:docMk/>
            <pc:sldMk cId="3487538365" sldId="2147479939"/>
            <ac:spMk id="9" creationId="{EC31A9D9-BF15-2274-E852-962C7B1B21D8}"/>
          </ac:spMkLst>
        </pc:spChg>
        <pc:spChg chg="mod">
          <ac:chgData name="Sharker, Yushuf" userId="08d49b3d-62a8-4e68-b1eb-b540cbdabdda" providerId="ADAL" clId="{35F4D922-4E7D-438A-875F-464910A25F7D}" dt="2025-02-07T14:39:48.609" v="15516" actId="20577"/>
          <ac:spMkLst>
            <pc:docMk/>
            <pc:sldMk cId="3487538365" sldId="2147479939"/>
            <ac:spMk id="11" creationId="{E8727E45-BEE4-3245-8651-C3FCC3782BA8}"/>
          </ac:spMkLst>
        </pc:spChg>
      </pc:sldChg>
      <pc:sldChg chg="modSp mod">
        <pc:chgData name="Sharker, Yushuf" userId="08d49b3d-62a8-4e68-b1eb-b540cbdabdda" providerId="ADAL" clId="{35F4D922-4E7D-438A-875F-464910A25F7D}" dt="2025-02-06T21:02:27.736" v="12547" actId="1076"/>
        <pc:sldMkLst>
          <pc:docMk/>
          <pc:sldMk cId="1229009472" sldId="2147479940"/>
        </pc:sldMkLst>
        <pc:spChg chg="mod">
          <ac:chgData name="Sharker, Yushuf" userId="08d49b3d-62a8-4e68-b1eb-b540cbdabdda" providerId="ADAL" clId="{35F4D922-4E7D-438A-875F-464910A25F7D}" dt="2025-02-06T21:02:15.449" v="12545" actId="6549"/>
          <ac:spMkLst>
            <pc:docMk/>
            <pc:sldMk cId="1229009472" sldId="2147479940"/>
            <ac:spMk id="7" creationId="{704D1759-5D6F-D468-6747-2F7DF9A1456F}"/>
          </ac:spMkLst>
        </pc:spChg>
        <pc:spChg chg="mod">
          <ac:chgData name="Sharker, Yushuf" userId="08d49b3d-62a8-4e68-b1eb-b540cbdabdda" providerId="ADAL" clId="{35F4D922-4E7D-438A-875F-464910A25F7D}" dt="2025-02-06T21:02:27.736" v="12547" actId="1076"/>
          <ac:spMkLst>
            <pc:docMk/>
            <pc:sldMk cId="1229009472" sldId="2147479940"/>
            <ac:spMk id="9" creationId="{1FFFECBB-6D4F-7E79-88C9-83E2330401D3}"/>
          </ac:spMkLst>
        </pc:spChg>
        <pc:graphicFrameChg chg="mod modGraphic">
          <ac:chgData name="Sharker, Yushuf" userId="08d49b3d-62a8-4e68-b1eb-b540cbdabdda" providerId="ADAL" clId="{35F4D922-4E7D-438A-875F-464910A25F7D}" dt="2025-02-06T21:00:31.562" v="12522" actId="1076"/>
          <ac:graphicFrameMkLst>
            <pc:docMk/>
            <pc:sldMk cId="1229009472" sldId="2147479940"/>
            <ac:graphicFrameMk id="8" creationId="{35FA5CC7-657E-43D5-9145-BD31C6690CB6}"/>
          </ac:graphicFrameMkLst>
        </pc:graphicFrameChg>
      </pc:sldChg>
      <pc:sldChg chg="del">
        <pc:chgData name="Sharker, Yushuf" userId="08d49b3d-62a8-4e68-b1eb-b540cbdabdda" providerId="ADAL" clId="{35F4D922-4E7D-438A-875F-464910A25F7D}" dt="2024-11-26T14:05:24.483" v="0" actId="47"/>
        <pc:sldMkLst>
          <pc:docMk/>
          <pc:sldMk cId="447747161" sldId="2147479941"/>
        </pc:sldMkLst>
      </pc:sldChg>
      <pc:sldChg chg="delSp modSp add mod">
        <pc:chgData name="Sharker, Yushuf" userId="08d49b3d-62a8-4e68-b1eb-b540cbdabdda" providerId="ADAL" clId="{35F4D922-4E7D-438A-875F-464910A25F7D}" dt="2025-02-06T20:55:16.446" v="12409"/>
        <pc:sldMkLst>
          <pc:docMk/>
          <pc:sldMk cId="3479156781" sldId="2147479941"/>
        </pc:sldMkLst>
        <pc:spChg chg="mod">
          <ac:chgData name="Sharker, Yushuf" userId="08d49b3d-62a8-4e68-b1eb-b540cbdabdda" providerId="ADAL" clId="{35F4D922-4E7D-438A-875F-464910A25F7D}" dt="2025-02-05T20:24:19.543" v="10796" actId="20577"/>
          <ac:spMkLst>
            <pc:docMk/>
            <pc:sldMk cId="3479156781" sldId="2147479941"/>
            <ac:spMk id="4" creationId="{601FBFAB-0D45-F3AF-CA64-D60196948A23}"/>
          </ac:spMkLst>
        </pc:spChg>
        <pc:spChg chg="mod">
          <ac:chgData name="Sharker, Yushuf" userId="08d49b3d-62a8-4e68-b1eb-b540cbdabdda" providerId="ADAL" clId="{35F4D922-4E7D-438A-875F-464910A25F7D}" dt="2025-02-06T20:55:16.446" v="12409"/>
          <ac:spMkLst>
            <pc:docMk/>
            <pc:sldMk cId="3479156781" sldId="2147479941"/>
            <ac:spMk id="15" creationId="{97E91ECC-F4E4-FC89-1FDD-21E64FFBC761}"/>
          </ac:spMkLst>
        </pc:spChg>
      </pc:sldChg>
      <pc:sldChg chg="addSp delSp modSp add mod">
        <pc:chgData name="Sharker, Yushuf" userId="08d49b3d-62a8-4e68-b1eb-b540cbdabdda" providerId="ADAL" clId="{35F4D922-4E7D-438A-875F-464910A25F7D}" dt="2025-02-07T14:37:56" v="15490" actId="1076"/>
        <pc:sldMkLst>
          <pc:docMk/>
          <pc:sldMk cId="2279204376" sldId="2147479942"/>
        </pc:sldMkLst>
        <pc:spChg chg="mod">
          <ac:chgData name="Sharker, Yushuf" userId="08d49b3d-62a8-4e68-b1eb-b540cbdabdda" providerId="ADAL" clId="{35F4D922-4E7D-438A-875F-464910A25F7D}" dt="2025-02-06T20:55:16.446" v="12409"/>
          <ac:spMkLst>
            <pc:docMk/>
            <pc:sldMk cId="2279204376" sldId="2147479942"/>
            <ac:spMk id="16" creationId="{9FD112B4-3902-F03F-C42D-76C755750A80}"/>
          </ac:spMkLst>
        </pc:spChg>
        <pc:graphicFrameChg chg="add del mod">
          <ac:chgData name="Sharker, Yushuf" userId="08d49b3d-62a8-4e68-b1eb-b540cbdabdda" providerId="ADAL" clId="{35F4D922-4E7D-438A-875F-464910A25F7D}" dt="2025-02-07T14:37:35.443" v="15488" actId="478"/>
          <ac:graphicFrameMkLst>
            <pc:docMk/>
            <pc:sldMk cId="2279204376" sldId="2147479942"/>
            <ac:graphicFrameMk id="8" creationId="{0C9BEC37-E4CA-B8DE-06D6-775F9318543A}"/>
          </ac:graphicFrameMkLst>
        </pc:graphicFrameChg>
        <pc:graphicFrameChg chg="add del mod">
          <ac:chgData name="Sharker, Yushuf" userId="08d49b3d-62a8-4e68-b1eb-b540cbdabdda" providerId="ADAL" clId="{35F4D922-4E7D-438A-875F-464910A25F7D}" dt="2025-02-07T14:37:17.030" v="15485" actId="478"/>
          <ac:graphicFrameMkLst>
            <pc:docMk/>
            <pc:sldMk cId="2279204376" sldId="2147479942"/>
            <ac:graphicFrameMk id="9" creationId="{0C9BEC37-E4CA-B8DE-06D6-775F9318543A}"/>
          </ac:graphicFrameMkLst>
        </pc:graphicFrameChg>
        <pc:picChg chg="add mod">
          <ac:chgData name="Sharker, Yushuf" userId="08d49b3d-62a8-4e68-b1eb-b540cbdabdda" providerId="ADAL" clId="{35F4D922-4E7D-438A-875F-464910A25F7D}" dt="2025-02-07T14:37:31.720" v="15487" actId="1076"/>
          <ac:picMkLst>
            <pc:docMk/>
            <pc:sldMk cId="2279204376" sldId="2147479942"/>
            <ac:picMk id="10" creationId="{10517888-6F4A-6E68-9E10-834F01341A45}"/>
          </ac:picMkLst>
        </pc:picChg>
        <pc:picChg chg="add del mod">
          <ac:chgData name="Sharker, Yushuf" userId="08d49b3d-62a8-4e68-b1eb-b540cbdabdda" providerId="ADAL" clId="{35F4D922-4E7D-438A-875F-464910A25F7D}" dt="2025-02-07T14:36:22.481" v="15479" actId="478"/>
          <ac:picMkLst>
            <pc:docMk/>
            <pc:sldMk cId="2279204376" sldId="2147479942"/>
            <ac:picMk id="11" creationId="{2EE5F8CF-FCF5-7757-362A-094DEB7FD80D}"/>
          </ac:picMkLst>
        </pc:picChg>
        <pc:picChg chg="add mod">
          <ac:chgData name="Sharker, Yushuf" userId="08d49b3d-62a8-4e68-b1eb-b540cbdabdda" providerId="ADAL" clId="{35F4D922-4E7D-438A-875F-464910A25F7D}" dt="2025-02-07T14:37:56" v="15490" actId="1076"/>
          <ac:picMkLst>
            <pc:docMk/>
            <pc:sldMk cId="2279204376" sldId="2147479942"/>
            <ac:picMk id="12" creationId="{56CF4E58-CCB1-B89C-A923-AFE84E1FB8C4}"/>
          </ac:picMkLst>
        </pc:picChg>
        <pc:picChg chg="add del mod">
          <ac:chgData name="Sharker, Yushuf" userId="08d49b3d-62a8-4e68-b1eb-b540cbdabdda" providerId="ADAL" clId="{35F4D922-4E7D-438A-875F-464910A25F7D}" dt="2025-02-07T14:35:42.636" v="15470" actId="478"/>
          <ac:picMkLst>
            <pc:docMk/>
            <pc:sldMk cId="2279204376" sldId="2147479942"/>
            <ac:picMk id="17" creationId="{28A0B742-DB14-1813-B15F-64251ACE2DF0}"/>
          </ac:picMkLst>
        </pc:picChg>
      </pc:sldChg>
      <pc:sldChg chg="delSp modSp add mod ord">
        <pc:chgData name="Sharker, Yushuf" userId="08d49b3d-62a8-4e68-b1eb-b540cbdabdda" providerId="ADAL" clId="{35F4D922-4E7D-438A-875F-464910A25F7D}" dt="2025-02-07T23:23:28.282" v="16019" actId="20577"/>
        <pc:sldMkLst>
          <pc:docMk/>
          <pc:sldMk cId="4050036800" sldId="2147479943"/>
        </pc:sldMkLst>
        <pc:spChg chg="mod">
          <ac:chgData name="Sharker, Yushuf" userId="08d49b3d-62a8-4e68-b1eb-b540cbdabdda" providerId="ADAL" clId="{35F4D922-4E7D-438A-875F-464910A25F7D}" dt="2025-02-07T23:23:28.282" v="16019" actId="20577"/>
          <ac:spMkLst>
            <pc:docMk/>
            <pc:sldMk cId="4050036800" sldId="2147479943"/>
            <ac:spMk id="15" creationId="{99AB1942-0CC9-7452-8901-9CDB58CC3A1B}"/>
          </ac:spMkLst>
        </pc:spChg>
        <pc:spChg chg="del">
          <ac:chgData name="Sharker, Yushuf" userId="08d49b3d-62a8-4e68-b1eb-b540cbdabdda" providerId="ADAL" clId="{35F4D922-4E7D-438A-875F-464910A25F7D}" dt="2025-02-07T14:26:49.295" v="15296" actId="478"/>
          <ac:spMkLst>
            <pc:docMk/>
            <pc:sldMk cId="4050036800" sldId="2147479943"/>
            <ac:spMk id="17" creationId="{5F35A202-5B82-9858-26A7-E9D4FE5C947F}"/>
          </ac:spMkLst>
        </pc:spChg>
        <pc:graphicFrameChg chg="del mod modGraphic">
          <ac:chgData name="Sharker, Yushuf" userId="08d49b3d-62a8-4e68-b1eb-b540cbdabdda" providerId="ADAL" clId="{35F4D922-4E7D-438A-875F-464910A25F7D}" dt="2025-02-07T14:26:49.295" v="15296" actId="478"/>
          <ac:graphicFrameMkLst>
            <pc:docMk/>
            <pc:sldMk cId="4050036800" sldId="2147479943"/>
            <ac:graphicFrameMk id="6" creationId="{35B74784-2CC3-5C0A-34A8-BF8896ABECC7}"/>
          </ac:graphicFrameMkLst>
        </pc:graphicFrameChg>
      </pc:sldChg>
      <pc:sldChg chg="addSp delSp modSp add mod">
        <pc:chgData name="Sharker, Yushuf" userId="08d49b3d-62a8-4e68-b1eb-b540cbdabdda" providerId="ADAL" clId="{35F4D922-4E7D-438A-875F-464910A25F7D}" dt="2025-02-07T16:29:28.234" v="15939" actId="1076"/>
        <pc:sldMkLst>
          <pc:docMk/>
          <pc:sldMk cId="1542475369" sldId="2147479944"/>
        </pc:sldMkLst>
        <pc:spChg chg="mod">
          <ac:chgData name="Sharker, Yushuf" userId="08d49b3d-62a8-4e68-b1eb-b540cbdabdda" providerId="ADAL" clId="{35F4D922-4E7D-438A-875F-464910A25F7D}" dt="2025-02-07T15:21:58.500" v="15539" actId="6549"/>
          <ac:spMkLst>
            <pc:docMk/>
            <pc:sldMk cId="1542475369" sldId="2147479944"/>
            <ac:spMk id="7" creationId="{EAD49737-27DC-66FB-B44A-9492CC00F066}"/>
          </ac:spMkLst>
        </pc:spChg>
        <pc:spChg chg="mod">
          <ac:chgData name="Sharker, Yushuf" userId="08d49b3d-62a8-4e68-b1eb-b540cbdabdda" providerId="ADAL" clId="{35F4D922-4E7D-438A-875F-464910A25F7D}" dt="2025-02-07T15:41:53.958" v="15884" actId="20577"/>
          <ac:spMkLst>
            <pc:docMk/>
            <pc:sldMk cId="1542475369" sldId="2147479944"/>
            <ac:spMk id="16" creationId="{B05920EF-EB81-04FD-35F8-E73325E828B6}"/>
          </ac:spMkLst>
        </pc:spChg>
        <pc:graphicFrameChg chg="add del mod">
          <ac:chgData name="Sharker, Yushuf" userId="08d49b3d-62a8-4e68-b1eb-b540cbdabdda" providerId="ADAL" clId="{35F4D922-4E7D-438A-875F-464910A25F7D}" dt="2025-02-07T15:33:30.475" v="15563" actId="478"/>
          <ac:graphicFrameMkLst>
            <pc:docMk/>
            <pc:sldMk cId="1542475369" sldId="2147479944"/>
            <ac:graphicFrameMk id="9" creationId="{905FA5F3-F639-0EB8-58D1-091A77CAC4EE}"/>
          </ac:graphicFrameMkLst>
        </pc:graphicFrameChg>
        <pc:graphicFrameChg chg="add del mod">
          <ac:chgData name="Sharker, Yushuf" userId="08d49b3d-62a8-4e68-b1eb-b540cbdabdda" providerId="ADAL" clId="{35F4D922-4E7D-438A-875F-464910A25F7D}" dt="2025-02-07T15:33:30.475" v="15563" actId="478"/>
          <ac:graphicFrameMkLst>
            <pc:docMk/>
            <pc:sldMk cId="1542475369" sldId="2147479944"/>
            <ac:graphicFrameMk id="11" creationId="{6900C6FD-304E-0F7C-E856-C508AC5E792B}"/>
          </ac:graphicFrameMkLst>
        </pc:graphicFrameChg>
        <pc:graphicFrameChg chg="add del mod">
          <ac:chgData name="Sharker, Yushuf" userId="08d49b3d-62a8-4e68-b1eb-b540cbdabdda" providerId="ADAL" clId="{35F4D922-4E7D-438A-875F-464910A25F7D}" dt="2025-02-07T15:37:06.823" v="15569" actId="478"/>
          <ac:graphicFrameMkLst>
            <pc:docMk/>
            <pc:sldMk cId="1542475369" sldId="2147479944"/>
            <ac:graphicFrameMk id="13" creationId="{905FA5F3-F639-0EB8-58D1-091A77CAC4EE}"/>
          </ac:graphicFrameMkLst>
        </pc:graphicFrameChg>
        <pc:graphicFrameChg chg="add del mod">
          <ac:chgData name="Sharker, Yushuf" userId="08d49b3d-62a8-4e68-b1eb-b540cbdabdda" providerId="ADAL" clId="{35F4D922-4E7D-438A-875F-464910A25F7D}" dt="2025-02-07T15:42:01.083" v="15885" actId="478"/>
          <ac:graphicFrameMkLst>
            <pc:docMk/>
            <pc:sldMk cId="1542475369" sldId="2147479944"/>
            <ac:graphicFrameMk id="15" creationId="{905FA5F3-F639-0EB8-58D1-091A77CAC4EE}"/>
          </ac:graphicFrameMkLst>
        </pc:graphicFrameChg>
        <pc:graphicFrameChg chg="add del mod">
          <ac:chgData name="Sharker, Yushuf" userId="08d49b3d-62a8-4e68-b1eb-b540cbdabdda" providerId="ADAL" clId="{35F4D922-4E7D-438A-875F-464910A25F7D}" dt="2025-02-07T16:29:17.835" v="15935" actId="478"/>
          <ac:graphicFrameMkLst>
            <pc:docMk/>
            <pc:sldMk cId="1542475369" sldId="2147479944"/>
            <ac:graphicFrameMk id="19" creationId="{130BC9D1-42E5-BC25-C593-24752EF1DD77}"/>
          </ac:graphicFrameMkLst>
        </pc:graphicFrameChg>
        <pc:picChg chg="add del mod">
          <ac:chgData name="Sharker, Yushuf" userId="08d49b3d-62a8-4e68-b1eb-b540cbdabdda" providerId="ADAL" clId="{35F4D922-4E7D-438A-875F-464910A25F7D}" dt="2025-02-07T15:32:47.663" v="15556" actId="478"/>
          <ac:picMkLst>
            <pc:docMk/>
            <pc:sldMk cId="1542475369" sldId="2147479944"/>
            <ac:picMk id="8" creationId="{DBBB7B15-385E-6C46-9998-5927025F8390}"/>
          </ac:picMkLst>
        </pc:picChg>
        <pc:picChg chg="del">
          <ac:chgData name="Sharker, Yushuf" userId="08d49b3d-62a8-4e68-b1eb-b540cbdabdda" providerId="ADAL" clId="{35F4D922-4E7D-438A-875F-464910A25F7D}" dt="2025-02-07T15:05:42.768" v="15518" actId="478"/>
          <ac:picMkLst>
            <pc:docMk/>
            <pc:sldMk cId="1542475369" sldId="2147479944"/>
            <ac:picMk id="10" creationId="{FED751E0-3E38-2FB1-9EF4-AC69B8FE6D0F}"/>
          </ac:picMkLst>
        </pc:picChg>
        <pc:picChg chg="del">
          <ac:chgData name="Sharker, Yushuf" userId="08d49b3d-62a8-4e68-b1eb-b540cbdabdda" providerId="ADAL" clId="{35F4D922-4E7D-438A-875F-464910A25F7D}" dt="2025-02-07T15:05:42.768" v="15518" actId="478"/>
          <ac:picMkLst>
            <pc:docMk/>
            <pc:sldMk cId="1542475369" sldId="2147479944"/>
            <ac:picMk id="12" creationId="{4659E6B4-7F5B-C8E6-4D21-90E50CE171BD}"/>
          </ac:picMkLst>
        </pc:picChg>
        <pc:picChg chg="add mod">
          <ac:chgData name="Sharker, Yushuf" userId="08d49b3d-62a8-4e68-b1eb-b540cbdabdda" providerId="ADAL" clId="{35F4D922-4E7D-438A-875F-464910A25F7D}" dt="2025-02-07T16:29:05.132" v="15929" actId="1035"/>
          <ac:picMkLst>
            <pc:docMk/>
            <pc:sldMk cId="1542475369" sldId="2147479944"/>
            <ac:picMk id="14" creationId="{8B614057-0560-30BE-1076-47ACADE96795}"/>
          </ac:picMkLst>
        </pc:picChg>
        <pc:picChg chg="add del">
          <ac:chgData name="Sharker, Yushuf" userId="08d49b3d-62a8-4e68-b1eb-b540cbdabdda" providerId="ADAL" clId="{35F4D922-4E7D-438A-875F-464910A25F7D}" dt="2025-02-07T15:42:36.658" v="15887" actId="478"/>
          <ac:picMkLst>
            <pc:docMk/>
            <pc:sldMk cId="1542475369" sldId="2147479944"/>
            <ac:picMk id="17" creationId="{29A36B09-7C48-046B-ED5D-1F803924558D}"/>
          </ac:picMkLst>
        </pc:picChg>
        <pc:picChg chg="add mod">
          <ac:chgData name="Sharker, Yushuf" userId="08d49b3d-62a8-4e68-b1eb-b540cbdabdda" providerId="ADAL" clId="{35F4D922-4E7D-438A-875F-464910A25F7D}" dt="2025-02-07T16:29:12.922" v="15933" actId="1076"/>
          <ac:picMkLst>
            <pc:docMk/>
            <pc:sldMk cId="1542475369" sldId="2147479944"/>
            <ac:picMk id="18" creationId="{0CBFFFD7-F2E2-C317-66EF-446EFB6D1A94}"/>
          </ac:picMkLst>
        </pc:picChg>
        <pc:picChg chg="add mod">
          <ac:chgData name="Sharker, Yushuf" userId="08d49b3d-62a8-4e68-b1eb-b540cbdabdda" providerId="ADAL" clId="{35F4D922-4E7D-438A-875F-464910A25F7D}" dt="2025-02-07T16:29:28.234" v="15939" actId="1076"/>
          <ac:picMkLst>
            <pc:docMk/>
            <pc:sldMk cId="1542475369" sldId="2147479944"/>
            <ac:picMk id="20" creationId="{CCD706F2-A0E4-2242-6F17-CF40FD9C4FB7}"/>
          </ac:picMkLst>
        </pc:picChg>
      </pc:sldChg>
      <pc:sldMasterChg chg="add addSldLayout">
        <pc:chgData name="Sharker, Yushuf" userId="08d49b3d-62a8-4e68-b1eb-b540cbdabdda" providerId="ADAL" clId="{35F4D922-4E7D-438A-875F-464910A25F7D}" dt="2024-12-24T13:48:56.362" v="3607" actId="27028"/>
        <pc:sldMasterMkLst>
          <pc:docMk/>
          <pc:sldMasterMk cId="822207073" sldId="2147483662"/>
        </pc:sldMasterMkLst>
        <pc:sldLayoutChg chg="add">
          <pc:chgData name="Sharker, Yushuf" userId="08d49b3d-62a8-4e68-b1eb-b540cbdabdda" providerId="ADAL" clId="{35F4D922-4E7D-438A-875F-464910A25F7D}" dt="2024-12-24T13:48:56.362" v="3607" actId="27028"/>
          <pc:sldLayoutMkLst>
            <pc:docMk/>
            <pc:sldMasterMk cId="822207073" sldId="2147483662"/>
            <pc:sldLayoutMk cId="2436503540" sldId="2147483667"/>
          </pc:sldLayoutMkLst>
        </pc:sldLayoutChg>
      </pc:sldMasterChg>
      <pc:sldMasterChg chg="delSldLayout">
        <pc:chgData name="Sharker, Yushuf" userId="08d49b3d-62a8-4e68-b1eb-b540cbdabdda" providerId="ADAL" clId="{35F4D922-4E7D-438A-875F-464910A25F7D}" dt="2024-11-26T14:05:24.483" v="0" actId="47"/>
        <pc:sldMasterMkLst>
          <pc:docMk/>
          <pc:sldMasterMk cId="3808317105" sldId="2147483771"/>
        </pc:sldMasterMkLst>
        <pc:sldLayoutChg chg="del">
          <pc:chgData name="Sharker, Yushuf" userId="08d49b3d-62a8-4e68-b1eb-b540cbdabdda" providerId="ADAL" clId="{35F4D922-4E7D-438A-875F-464910A25F7D}" dt="2024-11-26T14:05:24.483" v="0" actId="47"/>
          <pc:sldLayoutMkLst>
            <pc:docMk/>
            <pc:sldMasterMk cId="3808317105" sldId="2147483771"/>
            <pc:sldLayoutMk cId="1797055809" sldId="2147483812"/>
          </pc:sldLayoutMkLst>
        </pc:sldLayoutChg>
      </pc:sldMaster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2949099" cy="498692"/>
          </a:xfrm>
          <a:prstGeom prst="rect">
            <a:avLst/>
          </a:prstGeom>
        </p:spPr>
        <p:txBody>
          <a:bodyPr vert="horz" lIns="93317" tIns="46659" rIns="93317" bIns="46659" rtlCol="0"/>
          <a:lstStyle>
            <a:lvl1pPr algn="l">
              <a:defRPr sz="1200"/>
            </a:lvl1pPr>
          </a:lstStyle>
          <a:p>
            <a:endParaRPr lang="en-US"/>
          </a:p>
        </p:txBody>
      </p:sp>
      <p:sp>
        <p:nvSpPr>
          <p:cNvPr id="3" name="Date Placeholder 2"/>
          <p:cNvSpPr>
            <a:spLocks noGrp="1"/>
          </p:cNvSpPr>
          <p:nvPr>
            <p:ph type="dt" idx="1"/>
          </p:nvPr>
        </p:nvSpPr>
        <p:spPr>
          <a:xfrm>
            <a:off x="3854940" y="1"/>
            <a:ext cx="2949099" cy="498692"/>
          </a:xfrm>
          <a:prstGeom prst="rect">
            <a:avLst/>
          </a:prstGeom>
        </p:spPr>
        <p:txBody>
          <a:bodyPr vert="horz" lIns="93317" tIns="46659" rIns="93317" bIns="46659" rtlCol="0"/>
          <a:lstStyle>
            <a:lvl1pPr algn="r">
              <a:defRPr sz="1200"/>
            </a:lvl1pPr>
          </a:lstStyle>
          <a:p>
            <a:fld id="{5BB1C221-A899-45E2-8ABE-FBA221E16726}" type="datetimeFigureOut">
              <a:rPr lang="en-US" smtClean="0"/>
              <a:t>2/7/2025</a:t>
            </a:fld>
            <a:endParaRPr lang="en-US"/>
          </a:p>
        </p:txBody>
      </p:sp>
      <p:sp>
        <p:nvSpPr>
          <p:cNvPr id="4" name="Slide Image Placeholder 3"/>
          <p:cNvSpPr>
            <a:spLocks noGrp="1" noRot="1" noChangeAspect="1"/>
          </p:cNvSpPr>
          <p:nvPr>
            <p:ph type="sldImg" idx="2"/>
          </p:nvPr>
        </p:nvSpPr>
        <p:spPr>
          <a:xfrm>
            <a:off x="422275" y="1243013"/>
            <a:ext cx="5961063" cy="3354387"/>
          </a:xfrm>
          <a:prstGeom prst="rect">
            <a:avLst/>
          </a:prstGeom>
          <a:noFill/>
          <a:ln w="12700">
            <a:solidFill>
              <a:prstClr val="black"/>
            </a:solidFill>
          </a:ln>
        </p:spPr>
        <p:txBody>
          <a:bodyPr vert="horz" lIns="93317" tIns="46659" rIns="93317" bIns="46659" rtlCol="0" anchor="ctr"/>
          <a:lstStyle/>
          <a:p>
            <a:endParaRPr lang="en-US"/>
          </a:p>
        </p:txBody>
      </p:sp>
      <p:sp>
        <p:nvSpPr>
          <p:cNvPr id="5" name="Notes Placeholder 4"/>
          <p:cNvSpPr>
            <a:spLocks noGrp="1"/>
          </p:cNvSpPr>
          <p:nvPr>
            <p:ph type="body" sz="quarter" idx="3"/>
          </p:nvPr>
        </p:nvSpPr>
        <p:spPr>
          <a:xfrm>
            <a:off x="680562" y="4783307"/>
            <a:ext cx="5444490" cy="3913615"/>
          </a:xfrm>
          <a:prstGeom prst="rect">
            <a:avLst/>
          </a:prstGeom>
        </p:spPr>
        <p:txBody>
          <a:bodyPr vert="horz" lIns="93317" tIns="46659" rIns="93317" bIns="46659"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9440647"/>
            <a:ext cx="2949099" cy="498691"/>
          </a:xfrm>
          <a:prstGeom prst="rect">
            <a:avLst/>
          </a:prstGeom>
        </p:spPr>
        <p:txBody>
          <a:bodyPr vert="horz" lIns="93317" tIns="46659" rIns="93317" bIns="46659" rtlCol="0" anchor="b"/>
          <a:lstStyle>
            <a:lvl1pPr algn="l">
              <a:defRPr sz="1200"/>
            </a:lvl1pPr>
          </a:lstStyle>
          <a:p>
            <a:endParaRPr lang="en-US"/>
          </a:p>
        </p:txBody>
      </p:sp>
      <p:sp>
        <p:nvSpPr>
          <p:cNvPr id="7" name="Slide Number Placeholder 6"/>
          <p:cNvSpPr>
            <a:spLocks noGrp="1"/>
          </p:cNvSpPr>
          <p:nvPr>
            <p:ph type="sldNum" sz="quarter" idx="5"/>
          </p:nvPr>
        </p:nvSpPr>
        <p:spPr>
          <a:xfrm>
            <a:off x="3854940" y="9440647"/>
            <a:ext cx="2949099" cy="498691"/>
          </a:xfrm>
          <a:prstGeom prst="rect">
            <a:avLst/>
          </a:prstGeom>
        </p:spPr>
        <p:txBody>
          <a:bodyPr vert="horz" lIns="93317" tIns="46659" rIns="93317" bIns="46659" rtlCol="0" anchor="b"/>
          <a:lstStyle>
            <a:lvl1pPr algn="r">
              <a:defRPr sz="1200"/>
            </a:lvl1pPr>
          </a:lstStyle>
          <a:p>
            <a:fld id="{47B708DB-DC12-4F30-A7D8-C4B891E081BD}" type="slidenum">
              <a:rPr lang="en-US" smtClean="0"/>
              <a:t>‹#›</a:t>
            </a:fld>
            <a:endParaRPr lang="en-US"/>
          </a:p>
        </p:txBody>
      </p:sp>
    </p:spTree>
    <p:extLst>
      <p:ext uri="{BB962C8B-B14F-4D97-AF65-F5344CB8AC3E}">
        <p14:creationId xmlns:p14="http://schemas.microsoft.com/office/powerpoint/2010/main" val="212310306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9E0EA7B-6822-4EC8-8C65-EACC542A139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530616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err="1">
                <a:solidFill>
                  <a:srgbClr val="000000"/>
                </a:solidFill>
              </a:rPr>
              <a:t>Tofersen</a:t>
            </a:r>
            <a:r>
              <a:rPr lang="en-US" b="1">
                <a:solidFill>
                  <a:srgbClr val="000000"/>
                </a:solidFill>
              </a:rPr>
              <a:t> target population:  </a:t>
            </a:r>
            <a:r>
              <a:rPr lang="en-US">
                <a:solidFill>
                  <a:srgbClr val="000000"/>
                </a:solidFill>
              </a:rPr>
              <a:t>Amyotrophic lateral sclerosis (ALS) in adults who have a mutation in the superoxide dismutase 1 (SOD1) gene. </a:t>
            </a:r>
          </a:p>
          <a:p>
            <a:r>
              <a:rPr lang="en-US">
                <a:solidFill>
                  <a:srgbClr val="000000"/>
                </a:solidFill>
              </a:rPr>
              <a:t>All ALS except  SOD1</a:t>
            </a:r>
          </a:p>
          <a:p>
            <a:endParaRPr lang="en-US"/>
          </a:p>
          <a:p>
            <a:r>
              <a:rPr lang="en-US" err="1"/>
              <a:t>Tofersen</a:t>
            </a:r>
            <a:r>
              <a:rPr lang="en-US"/>
              <a:t> as well as the other drugs are in the marker, in this situation, does the </a:t>
            </a:r>
            <a:r>
              <a:rPr lang="en-US" err="1"/>
              <a:t>palcebol</a:t>
            </a:r>
            <a:r>
              <a:rPr lang="en-US"/>
              <a:t> controlled trial ethical?</a:t>
            </a:r>
          </a:p>
          <a:p>
            <a:r>
              <a:rPr lang="en-US"/>
              <a:t>Data monitoring plan is still absent</a:t>
            </a:r>
          </a:p>
        </p:txBody>
      </p:sp>
      <p:sp>
        <p:nvSpPr>
          <p:cNvPr id="4" name="Slide Number Placeholder 3"/>
          <p:cNvSpPr>
            <a:spLocks noGrp="1"/>
          </p:cNvSpPr>
          <p:nvPr>
            <p:ph type="sldNum" sz="quarter" idx="5"/>
          </p:nvPr>
        </p:nvSpPr>
        <p:spPr/>
        <p:txBody>
          <a:bodyPr/>
          <a:lstStyle/>
          <a:p>
            <a:fld id="{47B708DB-DC12-4F30-A7D8-C4B891E081BD}" type="slidenum">
              <a:rPr lang="en-US" smtClean="0"/>
              <a:t>1</a:t>
            </a:fld>
            <a:endParaRPr lang="en-US"/>
          </a:p>
        </p:txBody>
      </p:sp>
    </p:spTree>
    <p:extLst>
      <p:ext uri="{BB962C8B-B14F-4D97-AF65-F5344CB8AC3E}">
        <p14:creationId xmlns:p14="http://schemas.microsoft.com/office/powerpoint/2010/main" val="232748656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Page 1">
    <p:spTree>
      <p:nvGrpSpPr>
        <p:cNvPr id="1" name=""/>
        <p:cNvGrpSpPr/>
        <p:nvPr/>
      </p:nvGrpSpPr>
      <p:grpSpPr>
        <a:xfrm>
          <a:off x="0" y="0"/>
          <a:ext cx="0" cy="0"/>
          <a:chOff x="0" y="0"/>
          <a:chExt cx="0" cy="0"/>
        </a:xfrm>
      </p:grpSpPr>
      <p:sp>
        <p:nvSpPr>
          <p:cNvPr id="6" name="Rectangle 6">
            <a:extLst>
              <a:ext uri="{FF2B5EF4-FFF2-40B4-BE49-F238E27FC236}">
                <a16:creationId xmlns:a16="http://schemas.microsoft.com/office/drawing/2014/main" id="{82B9CECE-7D8F-8C4A-AFC6-A963B1F05594}"/>
              </a:ext>
            </a:extLst>
          </p:cNvPr>
          <p:cNvSpPr/>
          <p:nvPr userDrawn="1"/>
        </p:nvSpPr>
        <p:spPr>
          <a:xfrm>
            <a:off x="0" y="61263"/>
            <a:ext cx="255181" cy="84902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kumimoji="0" lang="en-US" altLang="en-US" sz="1800">
              <a:solidFill>
                <a:schemeClr val="accent1"/>
              </a:solidFill>
            </a:endParaRPr>
          </a:p>
        </p:txBody>
      </p:sp>
      <p:sp>
        <p:nvSpPr>
          <p:cNvPr id="10" name="Picture Placeholder 9">
            <a:extLst>
              <a:ext uri="{FF2B5EF4-FFF2-40B4-BE49-F238E27FC236}">
                <a16:creationId xmlns:a16="http://schemas.microsoft.com/office/drawing/2014/main" id="{91E79114-5B74-9547-8292-DAB8965D43FD}"/>
              </a:ext>
            </a:extLst>
          </p:cNvPr>
          <p:cNvSpPr>
            <a:spLocks noGrp="1"/>
          </p:cNvSpPr>
          <p:nvPr>
            <p:ph type="pic" sz="quarter" idx="10"/>
          </p:nvPr>
        </p:nvSpPr>
        <p:spPr>
          <a:xfrm>
            <a:off x="749005" y="506"/>
            <a:ext cx="11459359" cy="3428494"/>
          </a:xfrm>
          <a:custGeom>
            <a:avLst/>
            <a:gdLst>
              <a:gd name="connsiteX0" fmla="*/ 0 w 10888662"/>
              <a:gd name="connsiteY0" fmla="*/ 579722 h 6442075"/>
              <a:gd name="connsiteX1" fmla="*/ 579722 w 10888662"/>
              <a:gd name="connsiteY1" fmla="*/ 0 h 6442075"/>
              <a:gd name="connsiteX2" fmla="*/ 10308940 w 10888662"/>
              <a:gd name="connsiteY2" fmla="*/ 0 h 6442075"/>
              <a:gd name="connsiteX3" fmla="*/ 10888662 w 10888662"/>
              <a:gd name="connsiteY3" fmla="*/ 579722 h 6442075"/>
              <a:gd name="connsiteX4" fmla="*/ 10888662 w 10888662"/>
              <a:gd name="connsiteY4" fmla="*/ 5862353 h 6442075"/>
              <a:gd name="connsiteX5" fmla="*/ 10308940 w 10888662"/>
              <a:gd name="connsiteY5" fmla="*/ 6442075 h 6442075"/>
              <a:gd name="connsiteX6" fmla="*/ 579722 w 10888662"/>
              <a:gd name="connsiteY6" fmla="*/ 6442075 h 6442075"/>
              <a:gd name="connsiteX7" fmla="*/ 0 w 10888662"/>
              <a:gd name="connsiteY7" fmla="*/ 5862353 h 6442075"/>
              <a:gd name="connsiteX8" fmla="*/ 0 w 10888662"/>
              <a:gd name="connsiteY8" fmla="*/ 579722 h 6442075"/>
              <a:gd name="connsiteX0" fmla="*/ 0 w 10888662"/>
              <a:gd name="connsiteY0" fmla="*/ 659657 h 6522010"/>
              <a:gd name="connsiteX1" fmla="*/ 10308940 w 10888662"/>
              <a:gd name="connsiteY1" fmla="*/ 79935 h 6522010"/>
              <a:gd name="connsiteX2" fmla="*/ 10888662 w 10888662"/>
              <a:gd name="connsiteY2" fmla="*/ 659657 h 6522010"/>
              <a:gd name="connsiteX3" fmla="*/ 10888662 w 10888662"/>
              <a:gd name="connsiteY3" fmla="*/ 5942288 h 6522010"/>
              <a:gd name="connsiteX4" fmla="*/ 10308940 w 10888662"/>
              <a:gd name="connsiteY4" fmla="*/ 6522010 h 6522010"/>
              <a:gd name="connsiteX5" fmla="*/ 579722 w 10888662"/>
              <a:gd name="connsiteY5" fmla="*/ 6522010 h 6522010"/>
              <a:gd name="connsiteX6" fmla="*/ 0 w 10888662"/>
              <a:gd name="connsiteY6" fmla="*/ 5942288 h 6522010"/>
              <a:gd name="connsiteX7" fmla="*/ 0 w 10888662"/>
              <a:gd name="connsiteY7" fmla="*/ 659657 h 6522010"/>
              <a:gd name="connsiteX0" fmla="*/ 0 w 10888662"/>
              <a:gd name="connsiteY0" fmla="*/ 579722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579722 h 6442075"/>
              <a:gd name="connsiteX0" fmla="*/ 0 w 10888662"/>
              <a:gd name="connsiteY0" fmla="*/ 129257 h 6569679"/>
              <a:gd name="connsiteX1" fmla="*/ 10308940 w 10888662"/>
              <a:gd name="connsiteY1" fmla="*/ 127604 h 6569679"/>
              <a:gd name="connsiteX2" fmla="*/ 10888662 w 10888662"/>
              <a:gd name="connsiteY2" fmla="*/ 707326 h 6569679"/>
              <a:gd name="connsiteX3" fmla="*/ 10888662 w 10888662"/>
              <a:gd name="connsiteY3" fmla="*/ 5989957 h 6569679"/>
              <a:gd name="connsiteX4" fmla="*/ 10308940 w 10888662"/>
              <a:gd name="connsiteY4" fmla="*/ 6569679 h 6569679"/>
              <a:gd name="connsiteX5" fmla="*/ 579722 w 10888662"/>
              <a:gd name="connsiteY5" fmla="*/ 6569679 h 6569679"/>
              <a:gd name="connsiteX6" fmla="*/ 0 w 10888662"/>
              <a:gd name="connsiteY6" fmla="*/ 5989957 h 6569679"/>
              <a:gd name="connsiteX7" fmla="*/ 0 w 10888662"/>
              <a:gd name="connsiteY7" fmla="*/ 129257 h 6569679"/>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9657299 w 10888662"/>
              <a:gd name="connsiteY4" fmla="*/ 55276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522010"/>
              <a:gd name="connsiteX1" fmla="*/ 10308940 w 10888662"/>
              <a:gd name="connsiteY1" fmla="*/ 0 h 6522010"/>
              <a:gd name="connsiteX2" fmla="*/ 10888662 w 10888662"/>
              <a:gd name="connsiteY2" fmla="*/ 579722 h 6522010"/>
              <a:gd name="connsiteX3" fmla="*/ 10888662 w 10888662"/>
              <a:gd name="connsiteY3" fmla="*/ 5862353 h 6522010"/>
              <a:gd name="connsiteX4" fmla="*/ 579722 w 10888662"/>
              <a:gd name="connsiteY4" fmla="*/ 6442075 h 6522010"/>
              <a:gd name="connsiteX5" fmla="*/ 0 w 10888662"/>
              <a:gd name="connsiteY5" fmla="*/ 5862353 h 6522010"/>
              <a:gd name="connsiteX6" fmla="*/ 0 w 10888662"/>
              <a:gd name="connsiteY6" fmla="*/ 1653 h 6522010"/>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579722 w 10888662"/>
              <a:gd name="connsiteY4" fmla="*/ 6442075 h 6442075"/>
              <a:gd name="connsiteX5" fmla="*/ 0 w 10888662"/>
              <a:gd name="connsiteY5" fmla="*/ 5862353 h 6442075"/>
              <a:gd name="connsiteX6" fmla="*/ 0 w 10888662"/>
              <a:gd name="connsiteY6" fmla="*/ 1653 h 6442075"/>
              <a:gd name="connsiteX0" fmla="*/ 0 w 10888662"/>
              <a:gd name="connsiteY0" fmla="*/ 1653 h 6585432"/>
              <a:gd name="connsiteX1" fmla="*/ 10308940 w 10888662"/>
              <a:gd name="connsiteY1" fmla="*/ 0 h 6585432"/>
              <a:gd name="connsiteX2" fmla="*/ 10888662 w 10888662"/>
              <a:gd name="connsiteY2" fmla="*/ 579722 h 6585432"/>
              <a:gd name="connsiteX3" fmla="*/ 10878151 w 10888662"/>
              <a:gd name="connsiteY3" fmla="*/ 6461442 h 6585432"/>
              <a:gd name="connsiteX4" fmla="*/ 579722 w 10888662"/>
              <a:gd name="connsiteY4" fmla="*/ 6442075 h 6585432"/>
              <a:gd name="connsiteX5" fmla="*/ 0 w 10888662"/>
              <a:gd name="connsiteY5" fmla="*/ 5862353 h 6585432"/>
              <a:gd name="connsiteX6" fmla="*/ 0 w 10888662"/>
              <a:gd name="connsiteY6" fmla="*/ 1653 h 6585432"/>
              <a:gd name="connsiteX0" fmla="*/ 0 w 10888662"/>
              <a:gd name="connsiteY0" fmla="*/ 1653 h 6577502"/>
              <a:gd name="connsiteX1" fmla="*/ 10308940 w 10888662"/>
              <a:gd name="connsiteY1" fmla="*/ 0 h 6577502"/>
              <a:gd name="connsiteX2" fmla="*/ 10888662 w 10888662"/>
              <a:gd name="connsiteY2" fmla="*/ 579722 h 6577502"/>
              <a:gd name="connsiteX3" fmla="*/ 10878151 w 10888662"/>
              <a:gd name="connsiteY3" fmla="*/ 6450932 h 6577502"/>
              <a:gd name="connsiteX4" fmla="*/ 579722 w 10888662"/>
              <a:gd name="connsiteY4" fmla="*/ 6442075 h 6577502"/>
              <a:gd name="connsiteX5" fmla="*/ 0 w 10888662"/>
              <a:gd name="connsiteY5" fmla="*/ 5862353 h 6577502"/>
              <a:gd name="connsiteX6" fmla="*/ 0 w 10888662"/>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0888662"/>
              <a:gd name="connsiteY0" fmla="*/ 1653 h 6450932"/>
              <a:gd name="connsiteX1" fmla="*/ 10308940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0999550"/>
              <a:gd name="connsiteY0" fmla="*/ 1653 h 6450932"/>
              <a:gd name="connsiteX1" fmla="*/ 10844968 w 10999550"/>
              <a:gd name="connsiteY1" fmla="*/ 0 h 6450932"/>
              <a:gd name="connsiteX2" fmla="*/ 10888662 w 10999550"/>
              <a:gd name="connsiteY2" fmla="*/ 579722 h 6450932"/>
              <a:gd name="connsiteX3" fmla="*/ 10878151 w 10999550"/>
              <a:gd name="connsiteY3" fmla="*/ 6450932 h 6450932"/>
              <a:gd name="connsiteX4" fmla="*/ 579722 w 10999550"/>
              <a:gd name="connsiteY4" fmla="*/ 6442075 h 6450932"/>
              <a:gd name="connsiteX5" fmla="*/ 0 w 10999550"/>
              <a:gd name="connsiteY5" fmla="*/ 5862353 h 6450932"/>
              <a:gd name="connsiteX6" fmla="*/ 0 w 10999550"/>
              <a:gd name="connsiteY6" fmla="*/ 1653 h 6450932"/>
              <a:gd name="connsiteX0" fmla="*/ 0 w 11022020"/>
              <a:gd name="connsiteY0" fmla="*/ 1653 h 6450932"/>
              <a:gd name="connsiteX1" fmla="*/ 10876499 w 11022020"/>
              <a:gd name="connsiteY1" fmla="*/ 0 h 6450932"/>
              <a:gd name="connsiteX2" fmla="*/ 10888662 w 11022020"/>
              <a:gd name="connsiteY2" fmla="*/ 579722 h 6450932"/>
              <a:gd name="connsiteX3" fmla="*/ 10878151 w 11022020"/>
              <a:gd name="connsiteY3" fmla="*/ 6450932 h 6450932"/>
              <a:gd name="connsiteX4" fmla="*/ 579722 w 11022020"/>
              <a:gd name="connsiteY4" fmla="*/ 6442075 h 6450932"/>
              <a:gd name="connsiteX5" fmla="*/ 0 w 11022020"/>
              <a:gd name="connsiteY5" fmla="*/ 5862353 h 6450932"/>
              <a:gd name="connsiteX6" fmla="*/ 0 w 11022020"/>
              <a:gd name="connsiteY6" fmla="*/ 1653 h 6450932"/>
              <a:gd name="connsiteX0" fmla="*/ 0 w 10888662"/>
              <a:gd name="connsiteY0" fmla="*/ 1653 h 6450932"/>
              <a:gd name="connsiteX1" fmla="*/ 10876499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2200990"/>
              <a:gd name="connsiteY0" fmla="*/ 1653 h 6450932"/>
              <a:gd name="connsiteX1" fmla="*/ 10876499 w 12200990"/>
              <a:gd name="connsiteY1" fmla="*/ 0 h 6450932"/>
              <a:gd name="connsiteX2" fmla="*/ 10878151 w 12200990"/>
              <a:gd name="connsiteY2" fmla="*/ 6450932 h 6450932"/>
              <a:gd name="connsiteX3" fmla="*/ 579722 w 12200990"/>
              <a:gd name="connsiteY3" fmla="*/ 6442075 h 6450932"/>
              <a:gd name="connsiteX4" fmla="*/ 0 w 12200990"/>
              <a:gd name="connsiteY4" fmla="*/ 5862353 h 6450932"/>
              <a:gd name="connsiteX5" fmla="*/ 0 w 12200990"/>
              <a:gd name="connsiteY5" fmla="*/ 1653 h 6450932"/>
              <a:gd name="connsiteX0" fmla="*/ 0 w 11640630"/>
              <a:gd name="connsiteY0" fmla="*/ 1653 h 6450932"/>
              <a:gd name="connsiteX1" fmla="*/ 10876499 w 11640630"/>
              <a:gd name="connsiteY1" fmla="*/ 0 h 6450932"/>
              <a:gd name="connsiteX2" fmla="*/ 10878151 w 11640630"/>
              <a:gd name="connsiteY2" fmla="*/ 6450932 h 6450932"/>
              <a:gd name="connsiteX3" fmla="*/ 579722 w 11640630"/>
              <a:gd name="connsiteY3" fmla="*/ 6442075 h 6450932"/>
              <a:gd name="connsiteX4" fmla="*/ 0 w 11640630"/>
              <a:gd name="connsiteY4" fmla="*/ 5862353 h 6450932"/>
              <a:gd name="connsiteX5" fmla="*/ 0 w 11640630"/>
              <a:gd name="connsiteY5" fmla="*/ 1653 h 6450932"/>
              <a:gd name="connsiteX0" fmla="*/ 0 w 10878151"/>
              <a:gd name="connsiteY0" fmla="*/ 1653 h 6450932"/>
              <a:gd name="connsiteX1" fmla="*/ 10876499 w 10878151"/>
              <a:gd name="connsiteY1" fmla="*/ 0 h 6450932"/>
              <a:gd name="connsiteX2" fmla="*/ 10878151 w 10878151"/>
              <a:gd name="connsiteY2" fmla="*/ 6450932 h 6450932"/>
              <a:gd name="connsiteX3" fmla="*/ 579722 w 10878151"/>
              <a:gd name="connsiteY3" fmla="*/ 6442075 h 6450932"/>
              <a:gd name="connsiteX4" fmla="*/ 0 w 10878151"/>
              <a:gd name="connsiteY4" fmla="*/ 5862353 h 6450932"/>
              <a:gd name="connsiteX5" fmla="*/ 0 w 10878151"/>
              <a:gd name="connsiteY5" fmla="*/ 1653 h 6450932"/>
              <a:gd name="connsiteX0" fmla="*/ 0 w 11843451"/>
              <a:gd name="connsiteY0" fmla="*/ 1653 h 6450932"/>
              <a:gd name="connsiteX1" fmla="*/ 11843451 w 11843451"/>
              <a:gd name="connsiteY1" fmla="*/ 0 h 6450932"/>
              <a:gd name="connsiteX2" fmla="*/ 10878151 w 11843451"/>
              <a:gd name="connsiteY2" fmla="*/ 6450932 h 6450932"/>
              <a:gd name="connsiteX3" fmla="*/ 579722 w 11843451"/>
              <a:gd name="connsiteY3" fmla="*/ 6442075 h 6450932"/>
              <a:gd name="connsiteX4" fmla="*/ 0 w 11843451"/>
              <a:gd name="connsiteY4" fmla="*/ 5862353 h 6450932"/>
              <a:gd name="connsiteX5" fmla="*/ 0 w 11843451"/>
              <a:gd name="connsiteY5" fmla="*/ 1653 h 6450932"/>
              <a:gd name="connsiteX0" fmla="*/ 0 w 11855613"/>
              <a:gd name="connsiteY0" fmla="*/ 1653 h 6450932"/>
              <a:gd name="connsiteX1" fmla="*/ 11843451 w 11855613"/>
              <a:gd name="connsiteY1" fmla="*/ 0 h 6450932"/>
              <a:gd name="connsiteX2" fmla="*/ 11855613 w 11855613"/>
              <a:gd name="connsiteY2" fmla="*/ 6450932 h 6450932"/>
              <a:gd name="connsiteX3" fmla="*/ 579722 w 11855613"/>
              <a:gd name="connsiteY3" fmla="*/ 6442075 h 6450932"/>
              <a:gd name="connsiteX4" fmla="*/ 0 w 11855613"/>
              <a:gd name="connsiteY4" fmla="*/ 5862353 h 6450932"/>
              <a:gd name="connsiteX5" fmla="*/ 0 w 11855613"/>
              <a:gd name="connsiteY5" fmla="*/ 1653 h 6450932"/>
              <a:gd name="connsiteX0" fmla="*/ 0 w 11864472"/>
              <a:gd name="connsiteY0" fmla="*/ 1653 h 6450932"/>
              <a:gd name="connsiteX1" fmla="*/ 11864472 w 11864472"/>
              <a:gd name="connsiteY1" fmla="*/ 0 h 6450932"/>
              <a:gd name="connsiteX2" fmla="*/ 11855613 w 11864472"/>
              <a:gd name="connsiteY2" fmla="*/ 6450932 h 6450932"/>
              <a:gd name="connsiteX3" fmla="*/ 579722 w 11864472"/>
              <a:gd name="connsiteY3" fmla="*/ 6442075 h 6450932"/>
              <a:gd name="connsiteX4" fmla="*/ 0 w 11864472"/>
              <a:gd name="connsiteY4" fmla="*/ 5862353 h 6450932"/>
              <a:gd name="connsiteX5" fmla="*/ 0 w 11864472"/>
              <a:gd name="connsiteY5" fmla="*/ 1653 h 6450932"/>
              <a:gd name="connsiteX0" fmla="*/ 0 w 11864472"/>
              <a:gd name="connsiteY0" fmla="*/ 1653 h 6442075"/>
              <a:gd name="connsiteX1" fmla="*/ 11864472 w 11864472"/>
              <a:gd name="connsiteY1" fmla="*/ 0 h 6442075"/>
              <a:gd name="connsiteX2" fmla="*/ 11855613 w 11864472"/>
              <a:gd name="connsiteY2" fmla="*/ 6440421 h 6442075"/>
              <a:gd name="connsiteX3" fmla="*/ 579722 w 11864472"/>
              <a:gd name="connsiteY3" fmla="*/ 6442075 h 6442075"/>
              <a:gd name="connsiteX4" fmla="*/ 0 w 11864472"/>
              <a:gd name="connsiteY4" fmla="*/ 5862353 h 6442075"/>
              <a:gd name="connsiteX5" fmla="*/ 0 w 11864472"/>
              <a:gd name="connsiteY5" fmla="*/ 1653 h 6442075"/>
              <a:gd name="connsiteX0" fmla="*/ 0 w 11864472"/>
              <a:gd name="connsiteY0" fmla="*/ 0 h 6630428"/>
              <a:gd name="connsiteX1" fmla="*/ 11864472 w 11864472"/>
              <a:gd name="connsiteY1" fmla="*/ 188353 h 6630428"/>
              <a:gd name="connsiteX2" fmla="*/ 11855613 w 11864472"/>
              <a:gd name="connsiteY2" fmla="*/ 6628774 h 6630428"/>
              <a:gd name="connsiteX3" fmla="*/ 579722 w 11864472"/>
              <a:gd name="connsiteY3" fmla="*/ 6630428 h 6630428"/>
              <a:gd name="connsiteX4" fmla="*/ 0 w 11864472"/>
              <a:gd name="connsiteY4" fmla="*/ 6050706 h 6630428"/>
              <a:gd name="connsiteX5" fmla="*/ 0 w 11864472"/>
              <a:gd name="connsiteY5" fmla="*/ 0 h 6630428"/>
              <a:gd name="connsiteX0" fmla="*/ 0 w 11864472"/>
              <a:gd name="connsiteY0" fmla="*/ 13527 h 6643955"/>
              <a:gd name="connsiteX1" fmla="*/ 11864472 w 11864472"/>
              <a:gd name="connsiteY1" fmla="*/ 0 h 6643955"/>
              <a:gd name="connsiteX2" fmla="*/ 11855613 w 11864472"/>
              <a:gd name="connsiteY2" fmla="*/ 6642301 h 6643955"/>
              <a:gd name="connsiteX3" fmla="*/ 579722 w 11864472"/>
              <a:gd name="connsiteY3" fmla="*/ 6643955 h 6643955"/>
              <a:gd name="connsiteX4" fmla="*/ 0 w 11864472"/>
              <a:gd name="connsiteY4" fmla="*/ 6064233 h 6643955"/>
              <a:gd name="connsiteX5" fmla="*/ 0 w 11864472"/>
              <a:gd name="connsiteY5" fmla="*/ 13527 h 6643955"/>
              <a:gd name="connsiteX0" fmla="*/ 0 w 11864472"/>
              <a:gd name="connsiteY0" fmla="*/ 1319813 h 6643955"/>
              <a:gd name="connsiteX1" fmla="*/ 11864472 w 11864472"/>
              <a:gd name="connsiteY1" fmla="*/ 0 h 6643955"/>
              <a:gd name="connsiteX2" fmla="*/ 11855613 w 11864472"/>
              <a:gd name="connsiteY2" fmla="*/ 6642301 h 6643955"/>
              <a:gd name="connsiteX3" fmla="*/ 579722 w 11864472"/>
              <a:gd name="connsiteY3" fmla="*/ 6643955 h 6643955"/>
              <a:gd name="connsiteX4" fmla="*/ 0 w 11864472"/>
              <a:gd name="connsiteY4" fmla="*/ 6064233 h 6643955"/>
              <a:gd name="connsiteX5" fmla="*/ 0 w 11864472"/>
              <a:gd name="connsiteY5" fmla="*/ 1319813 h 6643955"/>
              <a:gd name="connsiteX0" fmla="*/ 0 w 11864472"/>
              <a:gd name="connsiteY0" fmla="*/ 13527 h 5337669"/>
              <a:gd name="connsiteX1" fmla="*/ 11864472 w 11864472"/>
              <a:gd name="connsiteY1" fmla="*/ 0 h 5337669"/>
              <a:gd name="connsiteX2" fmla="*/ 11855613 w 11864472"/>
              <a:gd name="connsiteY2" fmla="*/ 5336015 h 5337669"/>
              <a:gd name="connsiteX3" fmla="*/ 579722 w 11864472"/>
              <a:gd name="connsiteY3" fmla="*/ 5337669 h 5337669"/>
              <a:gd name="connsiteX4" fmla="*/ 0 w 11864472"/>
              <a:gd name="connsiteY4" fmla="*/ 4757947 h 5337669"/>
              <a:gd name="connsiteX5" fmla="*/ 0 w 11864472"/>
              <a:gd name="connsiteY5" fmla="*/ 13527 h 5337669"/>
              <a:gd name="connsiteX0" fmla="*/ 0 w 11864472"/>
              <a:gd name="connsiteY0" fmla="*/ 1652 h 5337669"/>
              <a:gd name="connsiteX1" fmla="*/ 11864472 w 11864472"/>
              <a:gd name="connsiteY1" fmla="*/ 0 h 5337669"/>
              <a:gd name="connsiteX2" fmla="*/ 11855613 w 11864472"/>
              <a:gd name="connsiteY2" fmla="*/ 5336015 h 5337669"/>
              <a:gd name="connsiteX3" fmla="*/ 579722 w 11864472"/>
              <a:gd name="connsiteY3" fmla="*/ 5337669 h 5337669"/>
              <a:gd name="connsiteX4" fmla="*/ 0 w 11864472"/>
              <a:gd name="connsiteY4" fmla="*/ 4757947 h 5337669"/>
              <a:gd name="connsiteX5" fmla="*/ 0 w 11864472"/>
              <a:gd name="connsiteY5" fmla="*/ 1652 h 5337669"/>
              <a:gd name="connsiteX0" fmla="*/ 0 w 11864472"/>
              <a:gd name="connsiteY0" fmla="*/ 2201927 h 5337669"/>
              <a:gd name="connsiteX1" fmla="*/ 11864472 w 11864472"/>
              <a:gd name="connsiteY1" fmla="*/ 0 h 5337669"/>
              <a:gd name="connsiteX2" fmla="*/ 11855613 w 11864472"/>
              <a:gd name="connsiteY2" fmla="*/ 5336015 h 5337669"/>
              <a:gd name="connsiteX3" fmla="*/ 579722 w 11864472"/>
              <a:gd name="connsiteY3" fmla="*/ 5337669 h 5337669"/>
              <a:gd name="connsiteX4" fmla="*/ 0 w 11864472"/>
              <a:gd name="connsiteY4" fmla="*/ 4757947 h 5337669"/>
              <a:gd name="connsiteX5" fmla="*/ 0 w 11864472"/>
              <a:gd name="connsiteY5" fmla="*/ 2201927 h 5337669"/>
              <a:gd name="connsiteX0" fmla="*/ 0 w 11864472"/>
              <a:gd name="connsiteY0" fmla="*/ 1652 h 3137394"/>
              <a:gd name="connsiteX1" fmla="*/ 11864472 w 11864472"/>
              <a:gd name="connsiteY1" fmla="*/ 0 h 3137394"/>
              <a:gd name="connsiteX2" fmla="*/ 11855613 w 11864472"/>
              <a:gd name="connsiteY2" fmla="*/ 3135740 h 3137394"/>
              <a:gd name="connsiteX3" fmla="*/ 579722 w 11864472"/>
              <a:gd name="connsiteY3" fmla="*/ 3137394 h 3137394"/>
              <a:gd name="connsiteX4" fmla="*/ 0 w 11864472"/>
              <a:gd name="connsiteY4" fmla="*/ 2557672 h 3137394"/>
              <a:gd name="connsiteX5" fmla="*/ 0 w 11864472"/>
              <a:gd name="connsiteY5" fmla="*/ 1652 h 3137394"/>
              <a:gd name="connsiteX0" fmla="*/ 0 w 11864472"/>
              <a:gd name="connsiteY0" fmla="*/ 0 h 3420555"/>
              <a:gd name="connsiteX1" fmla="*/ 11864472 w 11864472"/>
              <a:gd name="connsiteY1" fmla="*/ 283161 h 3420555"/>
              <a:gd name="connsiteX2" fmla="*/ 11855613 w 11864472"/>
              <a:gd name="connsiteY2" fmla="*/ 3418901 h 3420555"/>
              <a:gd name="connsiteX3" fmla="*/ 579722 w 11864472"/>
              <a:gd name="connsiteY3" fmla="*/ 3420555 h 3420555"/>
              <a:gd name="connsiteX4" fmla="*/ 0 w 11864472"/>
              <a:gd name="connsiteY4" fmla="*/ 2840833 h 3420555"/>
              <a:gd name="connsiteX5" fmla="*/ 0 w 11864472"/>
              <a:gd name="connsiteY5" fmla="*/ 0 h 3420555"/>
              <a:gd name="connsiteX0" fmla="*/ 0 w 11864472"/>
              <a:gd name="connsiteY0" fmla="*/ 1652 h 3422207"/>
              <a:gd name="connsiteX1" fmla="*/ 11864472 w 11864472"/>
              <a:gd name="connsiteY1" fmla="*/ 0 h 3422207"/>
              <a:gd name="connsiteX2" fmla="*/ 11855613 w 11864472"/>
              <a:gd name="connsiteY2" fmla="*/ 3420553 h 3422207"/>
              <a:gd name="connsiteX3" fmla="*/ 579722 w 11864472"/>
              <a:gd name="connsiteY3" fmla="*/ 3422207 h 3422207"/>
              <a:gd name="connsiteX4" fmla="*/ 0 w 11864472"/>
              <a:gd name="connsiteY4" fmla="*/ 2842485 h 3422207"/>
              <a:gd name="connsiteX5" fmla="*/ 0 w 11864472"/>
              <a:gd name="connsiteY5" fmla="*/ 1652 h 3422207"/>
              <a:gd name="connsiteX0" fmla="*/ 0 w 11855613"/>
              <a:gd name="connsiteY0" fmla="*/ 0 h 3420555"/>
              <a:gd name="connsiteX1" fmla="*/ 11834492 w 11855613"/>
              <a:gd name="connsiteY1" fmla="*/ 58309 h 3420555"/>
              <a:gd name="connsiteX2" fmla="*/ 11855613 w 11855613"/>
              <a:gd name="connsiteY2" fmla="*/ 3418901 h 3420555"/>
              <a:gd name="connsiteX3" fmla="*/ 579722 w 11855613"/>
              <a:gd name="connsiteY3" fmla="*/ 3420555 h 3420555"/>
              <a:gd name="connsiteX4" fmla="*/ 0 w 11855613"/>
              <a:gd name="connsiteY4" fmla="*/ 2840833 h 3420555"/>
              <a:gd name="connsiteX5" fmla="*/ 0 w 11855613"/>
              <a:gd name="connsiteY5" fmla="*/ 0 h 3420555"/>
              <a:gd name="connsiteX0" fmla="*/ 0 w 11855613"/>
              <a:gd name="connsiteY0" fmla="*/ 1652 h 3362246"/>
              <a:gd name="connsiteX1" fmla="*/ 11834492 w 11855613"/>
              <a:gd name="connsiteY1" fmla="*/ 0 h 3362246"/>
              <a:gd name="connsiteX2" fmla="*/ 11855613 w 11855613"/>
              <a:gd name="connsiteY2" fmla="*/ 3360592 h 3362246"/>
              <a:gd name="connsiteX3" fmla="*/ 579722 w 11855613"/>
              <a:gd name="connsiteY3" fmla="*/ 3362246 h 3362246"/>
              <a:gd name="connsiteX4" fmla="*/ 0 w 11855613"/>
              <a:gd name="connsiteY4" fmla="*/ 2782524 h 3362246"/>
              <a:gd name="connsiteX5" fmla="*/ 0 w 11855613"/>
              <a:gd name="connsiteY5" fmla="*/ 1652 h 3362246"/>
              <a:gd name="connsiteX0" fmla="*/ 0 w 11864473"/>
              <a:gd name="connsiteY0" fmla="*/ 0 h 3360594"/>
              <a:gd name="connsiteX1" fmla="*/ 11864473 w 11864473"/>
              <a:gd name="connsiteY1" fmla="*/ 13338 h 3360594"/>
              <a:gd name="connsiteX2" fmla="*/ 11855613 w 11864473"/>
              <a:gd name="connsiteY2" fmla="*/ 3358940 h 3360594"/>
              <a:gd name="connsiteX3" fmla="*/ 579722 w 11864473"/>
              <a:gd name="connsiteY3" fmla="*/ 3360594 h 3360594"/>
              <a:gd name="connsiteX4" fmla="*/ 0 w 11864473"/>
              <a:gd name="connsiteY4" fmla="*/ 2780872 h 3360594"/>
              <a:gd name="connsiteX5" fmla="*/ 0 w 11864473"/>
              <a:gd name="connsiteY5" fmla="*/ 0 h 3360594"/>
              <a:gd name="connsiteX0" fmla="*/ 0 w 11864473"/>
              <a:gd name="connsiteY0" fmla="*/ 1652 h 3362246"/>
              <a:gd name="connsiteX1" fmla="*/ 11864473 w 11864473"/>
              <a:gd name="connsiteY1" fmla="*/ 0 h 3362246"/>
              <a:gd name="connsiteX2" fmla="*/ 11855613 w 11864473"/>
              <a:gd name="connsiteY2" fmla="*/ 3360592 h 3362246"/>
              <a:gd name="connsiteX3" fmla="*/ 579722 w 11864473"/>
              <a:gd name="connsiteY3" fmla="*/ 3362246 h 3362246"/>
              <a:gd name="connsiteX4" fmla="*/ 0 w 11864473"/>
              <a:gd name="connsiteY4" fmla="*/ 2782524 h 3362246"/>
              <a:gd name="connsiteX5" fmla="*/ 0 w 11864473"/>
              <a:gd name="connsiteY5" fmla="*/ 1652 h 3362246"/>
              <a:gd name="connsiteX0" fmla="*/ 0 w 11855629"/>
              <a:gd name="connsiteY0" fmla="*/ 1652 h 3362246"/>
              <a:gd name="connsiteX1" fmla="*/ 11459359 w 11855629"/>
              <a:gd name="connsiteY1" fmla="*/ 0 h 3362246"/>
              <a:gd name="connsiteX2" fmla="*/ 11855613 w 11855629"/>
              <a:gd name="connsiteY2" fmla="*/ 3360592 h 3362246"/>
              <a:gd name="connsiteX3" fmla="*/ 579722 w 11855629"/>
              <a:gd name="connsiteY3" fmla="*/ 3362246 h 3362246"/>
              <a:gd name="connsiteX4" fmla="*/ 0 w 11855629"/>
              <a:gd name="connsiteY4" fmla="*/ 2782524 h 3362246"/>
              <a:gd name="connsiteX5" fmla="*/ 0 w 11855629"/>
              <a:gd name="connsiteY5" fmla="*/ 1652 h 3362246"/>
              <a:gd name="connsiteX0" fmla="*/ 0 w 11459359"/>
              <a:gd name="connsiteY0" fmla="*/ 1652 h 3362246"/>
              <a:gd name="connsiteX1" fmla="*/ 11459359 w 11459359"/>
              <a:gd name="connsiteY1" fmla="*/ 0 h 3362246"/>
              <a:gd name="connsiteX2" fmla="*/ 11438924 w 11459359"/>
              <a:gd name="connsiteY2" fmla="*/ 3360592 h 3362246"/>
              <a:gd name="connsiteX3" fmla="*/ 579722 w 11459359"/>
              <a:gd name="connsiteY3" fmla="*/ 3362246 h 3362246"/>
              <a:gd name="connsiteX4" fmla="*/ 0 w 11459359"/>
              <a:gd name="connsiteY4" fmla="*/ 2782524 h 3362246"/>
              <a:gd name="connsiteX5" fmla="*/ 0 w 11459359"/>
              <a:gd name="connsiteY5" fmla="*/ 1652 h 3362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459359" h="3362246">
                <a:moveTo>
                  <a:pt x="0" y="1652"/>
                </a:moveTo>
                <a:lnTo>
                  <a:pt x="11459359" y="0"/>
                </a:lnTo>
                <a:cubicBezTo>
                  <a:pt x="11456406" y="1115201"/>
                  <a:pt x="11441877" y="2245391"/>
                  <a:pt x="11438924" y="3360592"/>
                </a:cubicBezTo>
                <a:lnTo>
                  <a:pt x="579722" y="3362246"/>
                </a:lnTo>
                <a:cubicBezTo>
                  <a:pt x="259550" y="3362246"/>
                  <a:pt x="0" y="3102696"/>
                  <a:pt x="0" y="2782524"/>
                </a:cubicBezTo>
                <a:lnTo>
                  <a:pt x="0" y="1652"/>
                </a:lnTo>
                <a:close/>
              </a:path>
            </a:pathLst>
          </a:custGeom>
          <a:noFill/>
        </p:spPr>
        <p:txBody>
          <a:bodyPr/>
          <a:lstStyle>
            <a:lvl1pPr marL="0" indent="0">
              <a:buNone/>
              <a:defRPr sz="2400">
                <a:solidFill>
                  <a:schemeClr val="bg1"/>
                </a:solidFill>
              </a:defRPr>
            </a:lvl1pPr>
          </a:lstStyle>
          <a:p>
            <a:r>
              <a:rPr lang="en-US"/>
              <a:t>Click icon to add picture</a:t>
            </a:r>
            <a:endParaRPr lang="en-JP"/>
          </a:p>
        </p:txBody>
      </p:sp>
      <p:pic>
        <p:nvPicPr>
          <p:cNvPr id="18" name="Picture 17" descr="Takeda">
            <a:extLst>
              <a:ext uri="{FF2B5EF4-FFF2-40B4-BE49-F238E27FC236}">
                <a16:creationId xmlns:a16="http://schemas.microsoft.com/office/drawing/2014/main" id="{5F9376FC-2A9F-C644-AD88-C6E1B65B4D9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790516" y="3362752"/>
            <a:ext cx="2251710" cy="1248865"/>
          </a:xfrm>
          <a:prstGeom prst="rect">
            <a:avLst/>
          </a:prstGeom>
        </p:spPr>
      </p:pic>
      <p:sp>
        <p:nvSpPr>
          <p:cNvPr id="15" name="Title 1">
            <a:extLst>
              <a:ext uri="{FF2B5EF4-FFF2-40B4-BE49-F238E27FC236}">
                <a16:creationId xmlns:a16="http://schemas.microsoft.com/office/drawing/2014/main" id="{9F5E8E0A-41D4-8346-9248-0B9AAC71238D}"/>
              </a:ext>
            </a:extLst>
          </p:cNvPr>
          <p:cNvSpPr>
            <a:spLocks noGrp="1"/>
          </p:cNvSpPr>
          <p:nvPr>
            <p:ph type="ctrTitle" hasCustomPrompt="1"/>
          </p:nvPr>
        </p:nvSpPr>
        <p:spPr>
          <a:xfrm>
            <a:off x="1194730" y="3956816"/>
            <a:ext cx="7699670" cy="1015681"/>
          </a:xfrm>
          <a:prstGeom prst="rect">
            <a:avLst/>
          </a:prstGeom>
        </p:spPr>
        <p:txBody>
          <a:bodyPr wrap="square" lIns="0" tIns="0" rIns="0" bIns="0" anchor="t" anchorCtr="0">
            <a:normAutofit/>
          </a:bodyPr>
          <a:lstStyle>
            <a:lvl1pPr>
              <a:lnSpc>
                <a:spcPts val="3800"/>
              </a:lnSpc>
              <a:defRPr sz="3600" b="1" i="0" baseline="0">
                <a:solidFill>
                  <a:schemeClr val="tx1"/>
                </a:solidFill>
                <a:latin typeface="Calibri" panose="020F0502020204030204" pitchFamily="34" charset="0"/>
                <a:ea typeface="メイリオ" pitchFamily="50" charset="-128"/>
                <a:cs typeface="Calibri" pitchFamily="34" charset="0"/>
              </a:defRPr>
            </a:lvl1pPr>
          </a:lstStyle>
          <a:p>
            <a:r>
              <a:rPr lang="en-GB"/>
              <a:t>Click to Add </a:t>
            </a:r>
            <a:br>
              <a:rPr lang="en-GB"/>
            </a:br>
            <a:r>
              <a:rPr lang="en-GB"/>
              <a:t>Title</a:t>
            </a:r>
          </a:p>
        </p:txBody>
      </p:sp>
      <p:sp>
        <p:nvSpPr>
          <p:cNvPr id="17" name="Rectangle 16">
            <a:extLst>
              <a:ext uri="{FF2B5EF4-FFF2-40B4-BE49-F238E27FC236}">
                <a16:creationId xmlns:a16="http://schemas.microsoft.com/office/drawing/2014/main" id="{F5A63B8E-5554-A04E-B4C5-97ECEE58B6CC}"/>
              </a:ext>
            </a:extLst>
          </p:cNvPr>
          <p:cNvSpPr/>
          <p:nvPr userDrawn="1"/>
        </p:nvSpPr>
        <p:spPr>
          <a:xfrm>
            <a:off x="749005" y="3764031"/>
            <a:ext cx="97200" cy="270718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kumimoji="0" lang="en-US" altLang="en-US" sz="1800">
              <a:solidFill>
                <a:srgbClr val="FFFFFF"/>
              </a:solidFill>
            </a:endParaRPr>
          </a:p>
        </p:txBody>
      </p:sp>
      <p:pic>
        <p:nvPicPr>
          <p:cNvPr id="21" name="Picture 20">
            <a:extLst>
              <a:ext uri="{FF2B5EF4-FFF2-40B4-BE49-F238E27FC236}">
                <a16:creationId xmlns:a16="http://schemas.microsoft.com/office/drawing/2014/main" id="{C2637423-F180-3943-B758-C8CCFA816E04}"/>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9571921" y="6357944"/>
            <a:ext cx="1958578" cy="117462"/>
          </a:xfrm>
          <a:prstGeom prst="rect">
            <a:avLst/>
          </a:prstGeom>
        </p:spPr>
      </p:pic>
      <p:sp>
        <p:nvSpPr>
          <p:cNvPr id="23" name="Text Placeholder 2">
            <a:extLst>
              <a:ext uri="{FF2B5EF4-FFF2-40B4-BE49-F238E27FC236}">
                <a16:creationId xmlns:a16="http://schemas.microsoft.com/office/drawing/2014/main" id="{F7327E43-4F43-914D-BE65-DB0ADB5A5E11}"/>
              </a:ext>
            </a:extLst>
          </p:cNvPr>
          <p:cNvSpPr>
            <a:spLocks noGrp="1"/>
          </p:cNvSpPr>
          <p:nvPr>
            <p:ph type="body" sz="quarter" idx="23" hasCustomPrompt="1"/>
          </p:nvPr>
        </p:nvSpPr>
        <p:spPr>
          <a:xfrm>
            <a:off x="1194728" y="5256031"/>
            <a:ext cx="7699670" cy="234001"/>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068" indent="0">
              <a:buNone/>
              <a:defRPr sz="1400">
                <a:solidFill>
                  <a:schemeClr val="tx1"/>
                </a:solidFill>
              </a:defRPr>
            </a:lvl2pPr>
            <a:lvl3pPr marL="914149" indent="0">
              <a:buNone/>
              <a:defRPr sz="1400">
                <a:solidFill>
                  <a:schemeClr val="tx1"/>
                </a:solidFill>
              </a:defRPr>
            </a:lvl3pPr>
            <a:lvl4pPr marL="1371219" indent="0">
              <a:buNone/>
              <a:defRPr sz="1400">
                <a:solidFill>
                  <a:schemeClr val="tx1"/>
                </a:solidFill>
              </a:defRPr>
            </a:lvl4pPr>
            <a:lvl5pPr marL="1828290" indent="0">
              <a:buNone/>
              <a:defRPr sz="1400">
                <a:solidFill>
                  <a:schemeClr val="tx1"/>
                </a:solidFill>
              </a:defRPr>
            </a:lvl5pPr>
          </a:lstStyle>
          <a:p>
            <a:pPr lvl="0"/>
            <a:r>
              <a:rPr lang="en-US"/>
              <a:t>Title of Position</a:t>
            </a:r>
          </a:p>
        </p:txBody>
      </p:sp>
      <p:sp>
        <p:nvSpPr>
          <p:cNvPr id="24" name="Text Placeholder 2">
            <a:extLst>
              <a:ext uri="{FF2B5EF4-FFF2-40B4-BE49-F238E27FC236}">
                <a16:creationId xmlns:a16="http://schemas.microsoft.com/office/drawing/2014/main" id="{4A23AA60-6137-8841-B2ED-51B2F2E5C1BB}"/>
              </a:ext>
            </a:extLst>
          </p:cNvPr>
          <p:cNvSpPr>
            <a:spLocks noGrp="1"/>
          </p:cNvSpPr>
          <p:nvPr>
            <p:ph type="body" sz="quarter" idx="24" hasCustomPrompt="1"/>
          </p:nvPr>
        </p:nvSpPr>
        <p:spPr>
          <a:xfrm>
            <a:off x="1194728" y="5515045"/>
            <a:ext cx="7699670" cy="234001"/>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068" indent="0">
              <a:buNone/>
              <a:defRPr sz="1400">
                <a:solidFill>
                  <a:schemeClr val="tx1"/>
                </a:solidFill>
              </a:defRPr>
            </a:lvl2pPr>
            <a:lvl3pPr marL="914149" indent="0">
              <a:buNone/>
              <a:defRPr sz="1400">
                <a:solidFill>
                  <a:schemeClr val="tx1"/>
                </a:solidFill>
              </a:defRPr>
            </a:lvl3pPr>
            <a:lvl4pPr marL="1371219" indent="0">
              <a:buNone/>
              <a:defRPr sz="1400">
                <a:solidFill>
                  <a:schemeClr val="tx1"/>
                </a:solidFill>
              </a:defRPr>
            </a:lvl4pPr>
            <a:lvl5pPr marL="1828290" indent="0">
              <a:buNone/>
              <a:defRPr sz="1400">
                <a:solidFill>
                  <a:schemeClr val="tx1"/>
                </a:solidFill>
              </a:defRPr>
            </a:lvl5pPr>
          </a:lstStyle>
          <a:p>
            <a:pPr lvl="0"/>
            <a:r>
              <a:rPr lang="en-US"/>
              <a:t>Department</a:t>
            </a:r>
          </a:p>
        </p:txBody>
      </p:sp>
      <p:sp>
        <p:nvSpPr>
          <p:cNvPr id="25" name="Text Placeholder 2">
            <a:extLst>
              <a:ext uri="{FF2B5EF4-FFF2-40B4-BE49-F238E27FC236}">
                <a16:creationId xmlns:a16="http://schemas.microsoft.com/office/drawing/2014/main" id="{BB4FEAB2-22C6-3446-B4D2-5B610A729BCC}"/>
              </a:ext>
            </a:extLst>
          </p:cNvPr>
          <p:cNvSpPr>
            <a:spLocks noGrp="1"/>
          </p:cNvSpPr>
          <p:nvPr>
            <p:ph type="body" sz="quarter" idx="25" hasCustomPrompt="1"/>
          </p:nvPr>
        </p:nvSpPr>
        <p:spPr>
          <a:xfrm>
            <a:off x="1194728" y="5769532"/>
            <a:ext cx="7699670" cy="234001"/>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068" indent="0">
              <a:buNone/>
              <a:defRPr sz="1400">
                <a:solidFill>
                  <a:schemeClr val="tx1"/>
                </a:solidFill>
              </a:defRPr>
            </a:lvl2pPr>
            <a:lvl3pPr marL="914149" indent="0">
              <a:buNone/>
              <a:defRPr sz="1400">
                <a:solidFill>
                  <a:schemeClr val="tx1"/>
                </a:solidFill>
              </a:defRPr>
            </a:lvl3pPr>
            <a:lvl4pPr marL="1371219" indent="0">
              <a:buNone/>
              <a:defRPr sz="1400">
                <a:solidFill>
                  <a:schemeClr val="tx1"/>
                </a:solidFill>
              </a:defRPr>
            </a:lvl4pPr>
            <a:lvl5pPr marL="1828290" indent="0">
              <a:buNone/>
              <a:defRPr sz="1400">
                <a:solidFill>
                  <a:schemeClr val="tx1"/>
                </a:solidFill>
              </a:defRPr>
            </a:lvl5pPr>
          </a:lstStyle>
          <a:p>
            <a:pPr lvl="0"/>
            <a:r>
              <a:rPr lang="en-US"/>
              <a:t>Date</a:t>
            </a:r>
          </a:p>
        </p:txBody>
      </p:sp>
      <p:sp>
        <p:nvSpPr>
          <p:cNvPr id="28" name="Text Placeholder 2">
            <a:extLst>
              <a:ext uri="{FF2B5EF4-FFF2-40B4-BE49-F238E27FC236}">
                <a16:creationId xmlns:a16="http://schemas.microsoft.com/office/drawing/2014/main" id="{4085F378-E668-A648-B7B1-8C76C309ED6D}"/>
              </a:ext>
            </a:extLst>
          </p:cNvPr>
          <p:cNvSpPr>
            <a:spLocks noGrp="1"/>
          </p:cNvSpPr>
          <p:nvPr>
            <p:ph type="body" sz="quarter" idx="26" hasCustomPrompt="1"/>
          </p:nvPr>
        </p:nvSpPr>
        <p:spPr>
          <a:xfrm>
            <a:off x="1194728" y="4997510"/>
            <a:ext cx="7699670" cy="234001"/>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068" indent="0">
              <a:buNone/>
              <a:defRPr sz="1400">
                <a:solidFill>
                  <a:schemeClr val="tx1"/>
                </a:solidFill>
              </a:defRPr>
            </a:lvl2pPr>
            <a:lvl3pPr marL="914149" indent="0">
              <a:buNone/>
              <a:defRPr sz="1400">
                <a:solidFill>
                  <a:schemeClr val="tx1"/>
                </a:solidFill>
              </a:defRPr>
            </a:lvl3pPr>
            <a:lvl4pPr marL="1371219" indent="0">
              <a:buNone/>
              <a:defRPr sz="1400">
                <a:solidFill>
                  <a:schemeClr val="tx1"/>
                </a:solidFill>
              </a:defRPr>
            </a:lvl4pPr>
            <a:lvl5pPr marL="1828290" indent="0">
              <a:buNone/>
              <a:defRPr sz="1400">
                <a:solidFill>
                  <a:schemeClr val="tx1"/>
                </a:solidFill>
              </a:defRPr>
            </a:lvl5pPr>
          </a:lstStyle>
          <a:p>
            <a:pPr lvl="0"/>
            <a:r>
              <a:rPr lang="en-US"/>
              <a:t>Presenter Name</a:t>
            </a:r>
          </a:p>
        </p:txBody>
      </p:sp>
      <p:sp>
        <p:nvSpPr>
          <p:cNvPr id="13" name="Text Placeholder 2">
            <a:extLst>
              <a:ext uri="{FF2B5EF4-FFF2-40B4-BE49-F238E27FC236}">
                <a16:creationId xmlns:a16="http://schemas.microsoft.com/office/drawing/2014/main" id="{C1E31EF6-BED5-C14F-94AD-4E5C55B85515}"/>
              </a:ext>
            </a:extLst>
          </p:cNvPr>
          <p:cNvSpPr>
            <a:spLocks noGrp="1"/>
          </p:cNvSpPr>
          <p:nvPr>
            <p:ph type="body" sz="quarter" idx="16" hasCustomPrompt="1"/>
          </p:nvPr>
        </p:nvSpPr>
        <p:spPr>
          <a:xfrm>
            <a:off x="1194728" y="6027352"/>
            <a:ext cx="7699670" cy="234001"/>
          </a:xfrm>
        </p:spPr>
        <p:txBody>
          <a:bodyPr tIns="0" rIns="0" bIns="0" anchor="ctr" anchorCtr="0">
            <a:noAutofit/>
          </a:bodyPr>
          <a:lstStyle>
            <a:lvl1pPr marL="0" marR="0" indent="0" algn="l" defTabSz="914150" rtl="0" eaLnBrk="1" fontAlgn="auto" latinLnBrk="0" hangingPunct="1">
              <a:lnSpc>
                <a:spcPct val="100000"/>
              </a:lnSpc>
              <a:spcBef>
                <a:spcPct val="20000"/>
              </a:spcBef>
              <a:spcAft>
                <a:spcPts val="0"/>
              </a:spcAft>
              <a:buClr>
                <a:srgbClr val="4C4948"/>
              </a:buClr>
              <a:buSzTx/>
              <a:buFont typeface="Arial" panose="020B0604020202020204" pitchFamily="34" charset="0"/>
              <a:buNone/>
              <a:tabLst/>
              <a:defRPr sz="800"/>
            </a:lvl1pPr>
            <a:lvl2pPr>
              <a:defRPr sz="800"/>
            </a:lvl2pPr>
            <a:lvl3pPr>
              <a:defRPr sz="800"/>
            </a:lvl3pPr>
            <a:lvl4pPr>
              <a:defRPr sz="800"/>
            </a:lvl4pPr>
            <a:lvl5pPr>
              <a:defRPr sz="800"/>
            </a:lvl5pPr>
          </a:lstStyle>
          <a:p>
            <a:pPr marL="0" marR="0" lvl="0" indent="0" algn="l" defTabSz="914150" rtl="0" eaLnBrk="1" fontAlgn="auto" latinLnBrk="0" hangingPunct="1">
              <a:lnSpc>
                <a:spcPct val="100000"/>
              </a:lnSpc>
              <a:spcBef>
                <a:spcPct val="20000"/>
              </a:spcBef>
              <a:spcAft>
                <a:spcPts val="0"/>
              </a:spcAft>
              <a:buClr>
                <a:srgbClr val="4C4948"/>
              </a:buClr>
              <a:buSzTx/>
              <a:buFont typeface="Arial" panose="020B0604020202020204" pitchFamily="34" charset="0"/>
              <a:buNone/>
              <a:tabLst/>
              <a:defRPr/>
            </a:pPr>
            <a:r>
              <a:rPr lang="en-US"/>
              <a:t>Private and confidential. For internal use only.</a:t>
            </a:r>
          </a:p>
        </p:txBody>
      </p:sp>
    </p:spTree>
    <p:extLst>
      <p:ext uri="{BB962C8B-B14F-4D97-AF65-F5344CB8AC3E}">
        <p14:creationId xmlns:p14="http://schemas.microsoft.com/office/powerpoint/2010/main" val="3844104119"/>
      </p:ext>
    </p:extLst>
  </p:cSld>
  <p:clrMapOvr>
    <a:masterClrMapping/>
  </p:clrMapOvr>
  <p:transition spd="slow">
    <p:push dir="u"/>
  </p:transition>
  <p:extLst>
    <p:ext uri="{DCECCB84-F9BA-43D5-87BE-67443E8EF086}">
      <p15:sldGuideLst xmlns:p15="http://schemas.microsoft.com/office/powerpoint/2012/main">
        <p15:guide id="1" orient="horz" pos="4065">
          <p15:clr>
            <a:srgbClr val="FBAE40"/>
          </p15:clr>
        </p15:guide>
        <p15:guide id="2" orient="horz" pos="2364">
          <p15:clr>
            <a:srgbClr val="FBAE40"/>
          </p15:clr>
        </p15:guide>
        <p15:guide id="3" orient="horz" pos="2160">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Advanced 3-Column Text">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65925D82-457F-D84D-B8DF-D8ADFD7E71DF}"/>
              </a:ext>
            </a:extLst>
          </p:cNvPr>
          <p:cNvSpPr>
            <a:spLocks noGrp="1"/>
          </p:cNvSpPr>
          <p:nvPr>
            <p:ph type="body" sz="quarter" idx="14" hasCustomPrompt="1"/>
          </p:nvPr>
        </p:nvSpPr>
        <p:spPr>
          <a:xfrm>
            <a:off x="311150" y="3178298"/>
            <a:ext cx="5708650" cy="272786"/>
          </a:xfrm>
          <a:prstGeom prst="rect">
            <a:avLst/>
          </a:prstGeom>
        </p:spPr>
        <p:txBody>
          <a:bodyPr tIns="0" rIns="0" bIns="0" numCol="1">
            <a:noAutofit/>
          </a:bodyPr>
          <a:lstStyle>
            <a:lvl1pPr marL="0" indent="0">
              <a:lnSpc>
                <a:spcPct val="100000"/>
              </a:lnSpc>
              <a:spcBef>
                <a:spcPts val="0"/>
              </a:spcBef>
              <a:spcAft>
                <a:spcPts val="600"/>
              </a:spcAft>
              <a:buNone/>
              <a:defRPr sz="18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Secondary Title</a:t>
            </a:r>
          </a:p>
        </p:txBody>
      </p:sp>
      <p:sp>
        <p:nvSpPr>
          <p:cNvPr id="12" name="Text Placeholder 6">
            <a:extLst>
              <a:ext uri="{FF2B5EF4-FFF2-40B4-BE49-F238E27FC236}">
                <a16:creationId xmlns:a16="http://schemas.microsoft.com/office/drawing/2014/main" id="{FD2406EE-A554-5348-AE6D-4D8B343E6201}"/>
              </a:ext>
            </a:extLst>
          </p:cNvPr>
          <p:cNvSpPr>
            <a:spLocks noGrp="1"/>
          </p:cNvSpPr>
          <p:nvPr>
            <p:ph type="body" sz="quarter" idx="15" hasCustomPrompt="1"/>
          </p:nvPr>
        </p:nvSpPr>
        <p:spPr>
          <a:xfrm>
            <a:off x="311149" y="3575904"/>
            <a:ext cx="3763545" cy="2840771"/>
          </a:xfrm>
          <a:prstGeom prst="rect">
            <a:avLst/>
          </a:prstGeom>
        </p:spPr>
        <p:txBody>
          <a:bodyPr tIns="0" rIns="0" bIns="0" numCol="1">
            <a:noAutofit/>
          </a:bodyPr>
          <a:lstStyle>
            <a:lvl1pPr marL="171450" indent="-171450">
              <a:lnSpc>
                <a:spcPct val="100000"/>
              </a:lnSpc>
              <a:spcBef>
                <a:spcPts val="0"/>
              </a:spcBef>
              <a:spcAft>
                <a:spcPts val="600"/>
              </a:spcAft>
              <a:buFont typeface="Arial" panose="020B0604020202020204" pitchFamily="34" charset="0"/>
              <a:buChar char="•"/>
              <a:defRPr sz="1400" b="0">
                <a:solidFill>
                  <a:schemeClr val="tx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Secondary text. </a:t>
            </a:r>
          </a:p>
        </p:txBody>
      </p:sp>
      <p:sp>
        <p:nvSpPr>
          <p:cNvPr id="17" name="Text Placeholder 6">
            <a:extLst>
              <a:ext uri="{FF2B5EF4-FFF2-40B4-BE49-F238E27FC236}">
                <a16:creationId xmlns:a16="http://schemas.microsoft.com/office/drawing/2014/main" id="{3BB454FD-9C16-FC47-B46E-6675394572BB}"/>
              </a:ext>
            </a:extLst>
          </p:cNvPr>
          <p:cNvSpPr>
            <a:spLocks noGrp="1"/>
          </p:cNvSpPr>
          <p:nvPr>
            <p:ph type="body" sz="quarter" idx="18" hasCustomPrompt="1"/>
          </p:nvPr>
        </p:nvSpPr>
        <p:spPr>
          <a:xfrm>
            <a:off x="4213726" y="3575904"/>
            <a:ext cx="3763545" cy="2840771"/>
          </a:xfrm>
          <a:prstGeom prst="rect">
            <a:avLst/>
          </a:prstGeom>
        </p:spPr>
        <p:txBody>
          <a:bodyPr tIns="0" rIns="0" bIns="0" numCol="1">
            <a:noAutofit/>
          </a:bodyPr>
          <a:lstStyle>
            <a:lvl1pPr marL="171450" indent="-171450">
              <a:lnSpc>
                <a:spcPct val="100000"/>
              </a:lnSpc>
              <a:spcBef>
                <a:spcPts val="0"/>
              </a:spcBef>
              <a:spcAft>
                <a:spcPts val="600"/>
              </a:spcAft>
              <a:buFont typeface="Arial" panose="020B0604020202020204" pitchFamily="34" charset="0"/>
              <a:buChar char="•"/>
              <a:defRPr sz="1400" b="0">
                <a:solidFill>
                  <a:schemeClr val="tx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Secondary text. </a:t>
            </a:r>
          </a:p>
        </p:txBody>
      </p:sp>
      <p:sp>
        <p:nvSpPr>
          <p:cNvPr id="18" name="Text Placeholder 6">
            <a:extLst>
              <a:ext uri="{FF2B5EF4-FFF2-40B4-BE49-F238E27FC236}">
                <a16:creationId xmlns:a16="http://schemas.microsoft.com/office/drawing/2014/main" id="{568F3A49-7287-1C4D-93C8-50E3C0B4F15A}"/>
              </a:ext>
            </a:extLst>
          </p:cNvPr>
          <p:cNvSpPr>
            <a:spLocks noGrp="1"/>
          </p:cNvSpPr>
          <p:nvPr>
            <p:ph type="body" sz="quarter" idx="19" hasCustomPrompt="1"/>
          </p:nvPr>
        </p:nvSpPr>
        <p:spPr>
          <a:xfrm>
            <a:off x="8099967" y="3575904"/>
            <a:ext cx="3763545" cy="2840771"/>
          </a:xfrm>
          <a:prstGeom prst="rect">
            <a:avLst/>
          </a:prstGeom>
        </p:spPr>
        <p:txBody>
          <a:bodyPr tIns="0" rIns="0" bIns="0" numCol="1">
            <a:noAutofit/>
          </a:bodyPr>
          <a:lstStyle>
            <a:lvl1pPr marL="171450" indent="-171450">
              <a:lnSpc>
                <a:spcPct val="100000"/>
              </a:lnSpc>
              <a:spcBef>
                <a:spcPts val="0"/>
              </a:spcBef>
              <a:spcAft>
                <a:spcPts val="600"/>
              </a:spcAft>
              <a:buFont typeface="Arial" panose="020B0604020202020204" pitchFamily="34" charset="0"/>
              <a:buChar char="•"/>
              <a:defRPr sz="1400" b="0">
                <a:solidFill>
                  <a:schemeClr val="tx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Secondary text. </a:t>
            </a:r>
          </a:p>
        </p:txBody>
      </p:sp>
      <p:sp>
        <p:nvSpPr>
          <p:cNvPr id="21" name="Footer Placeholder 8">
            <a:extLst>
              <a:ext uri="{FF2B5EF4-FFF2-40B4-BE49-F238E27FC236}">
                <a16:creationId xmlns:a16="http://schemas.microsoft.com/office/drawing/2014/main" id="{519BC59F-4516-0043-8BAC-F9FE45B6A9F4}"/>
              </a:ext>
            </a:extLst>
          </p:cNvPr>
          <p:cNvSpPr>
            <a:spLocks noGrp="1"/>
          </p:cNvSpPr>
          <p:nvPr>
            <p:ph type="ftr" sz="quarter" idx="3"/>
          </p:nvPr>
        </p:nvSpPr>
        <p:spPr>
          <a:xfrm>
            <a:off x="7766050" y="6523001"/>
            <a:ext cx="4114800" cy="196131"/>
          </a:xfrm>
          <a:prstGeom prst="rect">
            <a:avLst/>
          </a:prstGeom>
        </p:spPr>
        <p:txBody>
          <a:bodyPr vert="horz" lIns="91440" tIns="45720" rIns="0" bIns="45720" rtlCol="0" anchor="ctr"/>
          <a:lstStyle>
            <a:lvl1pPr algn="r">
              <a:defRPr sz="800" b="1" spc="100" baseline="0">
                <a:solidFill>
                  <a:schemeClr val="tx1"/>
                </a:solidFill>
              </a:defRPr>
            </a:lvl1pPr>
          </a:lstStyle>
          <a:p>
            <a:r>
              <a:rPr lang="en-JP"/>
              <a:t> </a:t>
            </a:r>
          </a:p>
        </p:txBody>
      </p:sp>
      <p:pic>
        <p:nvPicPr>
          <p:cNvPr id="14" name="Picture 13" descr="Takeda">
            <a:extLst>
              <a:ext uri="{FF2B5EF4-FFF2-40B4-BE49-F238E27FC236}">
                <a16:creationId xmlns:a16="http://schemas.microsoft.com/office/drawing/2014/main" id="{0E2D4ABB-BC5B-754B-B0DE-676246A385A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46331" y="-1615"/>
            <a:ext cx="1696232" cy="940780"/>
          </a:xfrm>
          <a:prstGeom prst="rect">
            <a:avLst/>
          </a:prstGeom>
        </p:spPr>
      </p:pic>
      <p:sp>
        <p:nvSpPr>
          <p:cNvPr id="24" name="タイトル プレースホルダ 1">
            <a:extLst>
              <a:ext uri="{FF2B5EF4-FFF2-40B4-BE49-F238E27FC236}">
                <a16:creationId xmlns:a16="http://schemas.microsoft.com/office/drawing/2014/main" id="{CC986DF6-9894-F144-B9DA-A9DBE0000AB8}"/>
              </a:ext>
            </a:extLst>
          </p:cNvPr>
          <p:cNvSpPr>
            <a:spLocks noGrp="1"/>
          </p:cNvSpPr>
          <p:nvPr>
            <p:ph type="title" hasCustomPrompt="1"/>
          </p:nvPr>
        </p:nvSpPr>
        <p:spPr>
          <a:xfrm>
            <a:off x="606078" y="161605"/>
            <a:ext cx="9940253" cy="685801"/>
          </a:xfrm>
          <a:prstGeom prst="rect">
            <a:avLst/>
          </a:prstGeom>
        </p:spPr>
        <p:txBody>
          <a:bodyPr vert="horz" lIns="0" tIns="0" rIns="0" bIns="0" rtlCol="0" anchor="ctr">
            <a:normAutofit/>
          </a:bodyPr>
          <a:lstStyle/>
          <a:p>
            <a:r>
              <a:rPr kumimoji="1" lang="en-US" altLang="ja-JP"/>
              <a:t>Click to add title</a:t>
            </a:r>
            <a:endParaRPr kumimoji="1" lang="ja-JP" altLang="en-US"/>
          </a:p>
        </p:txBody>
      </p:sp>
      <p:sp>
        <p:nvSpPr>
          <p:cNvPr id="23" name="Rectangle 22">
            <a:extLst>
              <a:ext uri="{FF2B5EF4-FFF2-40B4-BE49-F238E27FC236}">
                <a16:creationId xmlns:a16="http://schemas.microsoft.com/office/drawing/2014/main" id="{886528CE-2840-6C44-965A-04D8835743E3}"/>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a:solidFill>
                <a:schemeClr val="accent1"/>
              </a:solidFill>
            </a:endParaRPr>
          </a:p>
        </p:txBody>
      </p:sp>
      <p:sp>
        <p:nvSpPr>
          <p:cNvPr id="27" name="スライド番号プレースホルダ 5">
            <a:extLst>
              <a:ext uri="{FF2B5EF4-FFF2-40B4-BE49-F238E27FC236}">
                <a16:creationId xmlns:a16="http://schemas.microsoft.com/office/drawing/2014/main" id="{854E474F-30B0-604E-9699-287AC57CAAFA}"/>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8" name="Text Placeholder 6">
            <a:extLst>
              <a:ext uri="{FF2B5EF4-FFF2-40B4-BE49-F238E27FC236}">
                <a16:creationId xmlns:a16="http://schemas.microsoft.com/office/drawing/2014/main" id="{C9681050-C142-4F4F-B3C6-6F52F3C55CD6}"/>
              </a:ext>
            </a:extLst>
          </p:cNvPr>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Private and confidential. For internal use only.</a:t>
            </a:r>
          </a:p>
        </p:txBody>
      </p:sp>
      <p:sp>
        <p:nvSpPr>
          <p:cNvPr id="22" name="Text Placeholder 2">
            <a:extLst>
              <a:ext uri="{FF2B5EF4-FFF2-40B4-BE49-F238E27FC236}">
                <a16:creationId xmlns:a16="http://schemas.microsoft.com/office/drawing/2014/main" id="{110504E2-40F0-054E-8424-D247EF2CA216}"/>
              </a:ext>
            </a:extLst>
          </p:cNvPr>
          <p:cNvSpPr>
            <a:spLocks noGrp="1"/>
          </p:cNvSpPr>
          <p:nvPr>
            <p:ph type="body" sz="quarter" idx="20" hasCustomPrompt="1"/>
          </p:nvPr>
        </p:nvSpPr>
        <p:spPr>
          <a:xfrm>
            <a:off x="311151" y="1491373"/>
            <a:ext cx="11569700" cy="1464957"/>
          </a:xfrm>
        </p:spPr>
        <p:txBody>
          <a:bodyPr tIns="0" rIns="0" bIns="0" numCol="1" spcCol="126000">
            <a:noAutofit/>
          </a:bodyPr>
          <a:lstStyle>
            <a:lvl1pPr marL="0" indent="0">
              <a:lnSpc>
                <a:spcPct val="100000"/>
              </a:lnSpc>
              <a:spcBef>
                <a:spcPts val="0"/>
              </a:spcBef>
              <a:buNone/>
              <a:defRPr sz="1600" b="1"/>
            </a:lvl1pPr>
            <a:lvl2pPr marL="457068" indent="0">
              <a:buNone/>
              <a:defRPr sz="1800" b="1"/>
            </a:lvl2pPr>
            <a:lvl3pPr marL="914149" indent="0">
              <a:buNone/>
              <a:defRPr sz="1800" b="1"/>
            </a:lvl3pPr>
            <a:lvl4pPr marL="1371219" indent="0">
              <a:buNone/>
              <a:defRPr sz="1800" b="1"/>
            </a:lvl4pPr>
            <a:lvl5pPr marL="1828290" indent="0">
              <a:buNone/>
              <a:defRPr sz="1800" b="1"/>
            </a:lvl5pPr>
          </a:lstStyle>
          <a:p>
            <a:pPr lvl="0"/>
            <a:r>
              <a:rPr lang="en-US"/>
              <a:t>This is your Primary Text.</a:t>
            </a:r>
            <a:endParaRPr lang="en-JP"/>
          </a:p>
        </p:txBody>
      </p:sp>
      <p:sp>
        <p:nvSpPr>
          <p:cNvPr id="25" name="Text Placeholder 6">
            <a:extLst>
              <a:ext uri="{FF2B5EF4-FFF2-40B4-BE49-F238E27FC236}">
                <a16:creationId xmlns:a16="http://schemas.microsoft.com/office/drawing/2014/main" id="{073E75F2-7FFB-DC4C-8964-799372FCF583}"/>
              </a:ext>
            </a:extLst>
          </p:cNvPr>
          <p:cNvSpPr>
            <a:spLocks noGrp="1"/>
          </p:cNvSpPr>
          <p:nvPr>
            <p:ph type="body" sz="quarter" idx="21" hasCustomPrompt="1"/>
          </p:nvPr>
        </p:nvSpPr>
        <p:spPr>
          <a:xfrm>
            <a:off x="311150" y="1093767"/>
            <a:ext cx="11569700" cy="272786"/>
          </a:xfrm>
        </p:spPr>
        <p:txBody>
          <a:bodyPr tIns="0" rIns="0" bIns="0" numCol="1">
            <a:noAutofit/>
          </a:bodyPr>
          <a:lstStyle>
            <a:lvl1pPr marL="0" indent="0">
              <a:lnSpc>
                <a:spcPct val="100000"/>
              </a:lnSpc>
              <a:spcBef>
                <a:spcPts val="0"/>
              </a:spcBef>
              <a:spcAft>
                <a:spcPts val="600"/>
              </a:spcAft>
              <a:buNone/>
              <a:defRPr sz="20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Primary Title</a:t>
            </a:r>
          </a:p>
        </p:txBody>
      </p:sp>
    </p:spTree>
    <p:extLst>
      <p:ext uri="{BB962C8B-B14F-4D97-AF65-F5344CB8AC3E}">
        <p14:creationId xmlns:p14="http://schemas.microsoft.com/office/powerpoint/2010/main" val="789006697"/>
      </p:ext>
    </p:extLst>
  </p:cSld>
  <p:clrMapOvr>
    <a:masterClrMapping/>
  </p:clrMapOvr>
  <p:transition spd="slow">
    <p:push dir="u"/>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Advanced 2/3 Image">
    <p:spTree>
      <p:nvGrpSpPr>
        <p:cNvPr id="1" name=""/>
        <p:cNvGrpSpPr/>
        <p:nvPr/>
      </p:nvGrpSpPr>
      <p:grpSpPr>
        <a:xfrm>
          <a:off x="0" y="0"/>
          <a:ext cx="0" cy="0"/>
          <a:chOff x="0" y="0"/>
          <a:chExt cx="0" cy="0"/>
        </a:xfrm>
      </p:grpSpPr>
      <p:sp>
        <p:nvSpPr>
          <p:cNvPr id="13" name="Picture Placeholder 9">
            <a:extLst>
              <a:ext uri="{FF2B5EF4-FFF2-40B4-BE49-F238E27FC236}">
                <a16:creationId xmlns:a16="http://schemas.microsoft.com/office/drawing/2014/main" id="{B3311DE3-EC35-4C49-805E-57AB2D90E99E}"/>
              </a:ext>
            </a:extLst>
          </p:cNvPr>
          <p:cNvSpPr>
            <a:spLocks noGrp="1"/>
          </p:cNvSpPr>
          <p:nvPr>
            <p:ph type="pic" sz="quarter" idx="10" hasCustomPrompt="1"/>
          </p:nvPr>
        </p:nvSpPr>
        <p:spPr>
          <a:xfrm>
            <a:off x="4210743" y="1093767"/>
            <a:ext cx="7988356" cy="5322908"/>
          </a:xfrm>
          <a:custGeom>
            <a:avLst/>
            <a:gdLst>
              <a:gd name="connsiteX0" fmla="*/ 0 w 10888662"/>
              <a:gd name="connsiteY0" fmla="*/ 579722 h 6442075"/>
              <a:gd name="connsiteX1" fmla="*/ 579722 w 10888662"/>
              <a:gd name="connsiteY1" fmla="*/ 0 h 6442075"/>
              <a:gd name="connsiteX2" fmla="*/ 10308940 w 10888662"/>
              <a:gd name="connsiteY2" fmla="*/ 0 h 6442075"/>
              <a:gd name="connsiteX3" fmla="*/ 10888662 w 10888662"/>
              <a:gd name="connsiteY3" fmla="*/ 579722 h 6442075"/>
              <a:gd name="connsiteX4" fmla="*/ 10888662 w 10888662"/>
              <a:gd name="connsiteY4" fmla="*/ 5862353 h 6442075"/>
              <a:gd name="connsiteX5" fmla="*/ 10308940 w 10888662"/>
              <a:gd name="connsiteY5" fmla="*/ 6442075 h 6442075"/>
              <a:gd name="connsiteX6" fmla="*/ 579722 w 10888662"/>
              <a:gd name="connsiteY6" fmla="*/ 6442075 h 6442075"/>
              <a:gd name="connsiteX7" fmla="*/ 0 w 10888662"/>
              <a:gd name="connsiteY7" fmla="*/ 5862353 h 6442075"/>
              <a:gd name="connsiteX8" fmla="*/ 0 w 10888662"/>
              <a:gd name="connsiteY8" fmla="*/ 579722 h 6442075"/>
              <a:gd name="connsiteX0" fmla="*/ 0 w 10888662"/>
              <a:gd name="connsiteY0" fmla="*/ 659657 h 6522010"/>
              <a:gd name="connsiteX1" fmla="*/ 10308940 w 10888662"/>
              <a:gd name="connsiteY1" fmla="*/ 79935 h 6522010"/>
              <a:gd name="connsiteX2" fmla="*/ 10888662 w 10888662"/>
              <a:gd name="connsiteY2" fmla="*/ 659657 h 6522010"/>
              <a:gd name="connsiteX3" fmla="*/ 10888662 w 10888662"/>
              <a:gd name="connsiteY3" fmla="*/ 5942288 h 6522010"/>
              <a:gd name="connsiteX4" fmla="*/ 10308940 w 10888662"/>
              <a:gd name="connsiteY4" fmla="*/ 6522010 h 6522010"/>
              <a:gd name="connsiteX5" fmla="*/ 579722 w 10888662"/>
              <a:gd name="connsiteY5" fmla="*/ 6522010 h 6522010"/>
              <a:gd name="connsiteX6" fmla="*/ 0 w 10888662"/>
              <a:gd name="connsiteY6" fmla="*/ 5942288 h 6522010"/>
              <a:gd name="connsiteX7" fmla="*/ 0 w 10888662"/>
              <a:gd name="connsiteY7" fmla="*/ 659657 h 6522010"/>
              <a:gd name="connsiteX0" fmla="*/ 0 w 10888662"/>
              <a:gd name="connsiteY0" fmla="*/ 579722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579722 h 6442075"/>
              <a:gd name="connsiteX0" fmla="*/ 0 w 10888662"/>
              <a:gd name="connsiteY0" fmla="*/ 129257 h 6569679"/>
              <a:gd name="connsiteX1" fmla="*/ 10308940 w 10888662"/>
              <a:gd name="connsiteY1" fmla="*/ 127604 h 6569679"/>
              <a:gd name="connsiteX2" fmla="*/ 10888662 w 10888662"/>
              <a:gd name="connsiteY2" fmla="*/ 707326 h 6569679"/>
              <a:gd name="connsiteX3" fmla="*/ 10888662 w 10888662"/>
              <a:gd name="connsiteY3" fmla="*/ 5989957 h 6569679"/>
              <a:gd name="connsiteX4" fmla="*/ 10308940 w 10888662"/>
              <a:gd name="connsiteY4" fmla="*/ 6569679 h 6569679"/>
              <a:gd name="connsiteX5" fmla="*/ 579722 w 10888662"/>
              <a:gd name="connsiteY5" fmla="*/ 6569679 h 6569679"/>
              <a:gd name="connsiteX6" fmla="*/ 0 w 10888662"/>
              <a:gd name="connsiteY6" fmla="*/ 5989957 h 6569679"/>
              <a:gd name="connsiteX7" fmla="*/ 0 w 10888662"/>
              <a:gd name="connsiteY7" fmla="*/ 129257 h 6569679"/>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9657299 w 10888662"/>
              <a:gd name="connsiteY4" fmla="*/ 55276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522010"/>
              <a:gd name="connsiteX1" fmla="*/ 10308940 w 10888662"/>
              <a:gd name="connsiteY1" fmla="*/ 0 h 6522010"/>
              <a:gd name="connsiteX2" fmla="*/ 10888662 w 10888662"/>
              <a:gd name="connsiteY2" fmla="*/ 579722 h 6522010"/>
              <a:gd name="connsiteX3" fmla="*/ 10888662 w 10888662"/>
              <a:gd name="connsiteY3" fmla="*/ 5862353 h 6522010"/>
              <a:gd name="connsiteX4" fmla="*/ 579722 w 10888662"/>
              <a:gd name="connsiteY4" fmla="*/ 6442075 h 6522010"/>
              <a:gd name="connsiteX5" fmla="*/ 0 w 10888662"/>
              <a:gd name="connsiteY5" fmla="*/ 5862353 h 6522010"/>
              <a:gd name="connsiteX6" fmla="*/ 0 w 10888662"/>
              <a:gd name="connsiteY6" fmla="*/ 1653 h 6522010"/>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579722 w 10888662"/>
              <a:gd name="connsiteY4" fmla="*/ 6442075 h 6442075"/>
              <a:gd name="connsiteX5" fmla="*/ 0 w 10888662"/>
              <a:gd name="connsiteY5" fmla="*/ 5862353 h 6442075"/>
              <a:gd name="connsiteX6" fmla="*/ 0 w 10888662"/>
              <a:gd name="connsiteY6" fmla="*/ 1653 h 6442075"/>
              <a:gd name="connsiteX0" fmla="*/ 0 w 10888662"/>
              <a:gd name="connsiteY0" fmla="*/ 1653 h 6585432"/>
              <a:gd name="connsiteX1" fmla="*/ 10308940 w 10888662"/>
              <a:gd name="connsiteY1" fmla="*/ 0 h 6585432"/>
              <a:gd name="connsiteX2" fmla="*/ 10888662 w 10888662"/>
              <a:gd name="connsiteY2" fmla="*/ 579722 h 6585432"/>
              <a:gd name="connsiteX3" fmla="*/ 10878151 w 10888662"/>
              <a:gd name="connsiteY3" fmla="*/ 6461442 h 6585432"/>
              <a:gd name="connsiteX4" fmla="*/ 579722 w 10888662"/>
              <a:gd name="connsiteY4" fmla="*/ 6442075 h 6585432"/>
              <a:gd name="connsiteX5" fmla="*/ 0 w 10888662"/>
              <a:gd name="connsiteY5" fmla="*/ 5862353 h 6585432"/>
              <a:gd name="connsiteX6" fmla="*/ 0 w 10888662"/>
              <a:gd name="connsiteY6" fmla="*/ 1653 h 6585432"/>
              <a:gd name="connsiteX0" fmla="*/ 0 w 10888662"/>
              <a:gd name="connsiteY0" fmla="*/ 1653 h 6577502"/>
              <a:gd name="connsiteX1" fmla="*/ 10308940 w 10888662"/>
              <a:gd name="connsiteY1" fmla="*/ 0 h 6577502"/>
              <a:gd name="connsiteX2" fmla="*/ 10888662 w 10888662"/>
              <a:gd name="connsiteY2" fmla="*/ 579722 h 6577502"/>
              <a:gd name="connsiteX3" fmla="*/ 10878151 w 10888662"/>
              <a:gd name="connsiteY3" fmla="*/ 6450932 h 6577502"/>
              <a:gd name="connsiteX4" fmla="*/ 579722 w 10888662"/>
              <a:gd name="connsiteY4" fmla="*/ 6442075 h 6577502"/>
              <a:gd name="connsiteX5" fmla="*/ 0 w 10888662"/>
              <a:gd name="connsiteY5" fmla="*/ 5862353 h 6577502"/>
              <a:gd name="connsiteX6" fmla="*/ 0 w 10888662"/>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0888662"/>
              <a:gd name="connsiteY0" fmla="*/ 1653 h 6450932"/>
              <a:gd name="connsiteX1" fmla="*/ 10308940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0999550"/>
              <a:gd name="connsiteY0" fmla="*/ 1653 h 6450932"/>
              <a:gd name="connsiteX1" fmla="*/ 10844968 w 10999550"/>
              <a:gd name="connsiteY1" fmla="*/ 0 h 6450932"/>
              <a:gd name="connsiteX2" fmla="*/ 10888662 w 10999550"/>
              <a:gd name="connsiteY2" fmla="*/ 579722 h 6450932"/>
              <a:gd name="connsiteX3" fmla="*/ 10878151 w 10999550"/>
              <a:gd name="connsiteY3" fmla="*/ 6450932 h 6450932"/>
              <a:gd name="connsiteX4" fmla="*/ 579722 w 10999550"/>
              <a:gd name="connsiteY4" fmla="*/ 6442075 h 6450932"/>
              <a:gd name="connsiteX5" fmla="*/ 0 w 10999550"/>
              <a:gd name="connsiteY5" fmla="*/ 5862353 h 6450932"/>
              <a:gd name="connsiteX6" fmla="*/ 0 w 10999550"/>
              <a:gd name="connsiteY6" fmla="*/ 1653 h 6450932"/>
              <a:gd name="connsiteX0" fmla="*/ 0 w 11022020"/>
              <a:gd name="connsiteY0" fmla="*/ 1653 h 6450932"/>
              <a:gd name="connsiteX1" fmla="*/ 10876499 w 11022020"/>
              <a:gd name="connsiteY1" fmla="*/ 0 h 6450932"/>
              <a:gd name="connsiteX2" fmla="*/ 10888662 w 11022020"/>
              <a:gd name="connsiteY2" fmla="*/ 579722 h 6450932"/>
              <a:gd name="connsiteX3" fmla="*/ 10878151 w 11022020"/>
              <a:gd name="connsiteY3" fmla="*/ 6450932 h 6450932"/>
              <a:gd name="connsiteX4" fmla="*/ 579722 w 11022020"/>
              <a:gd name="connsiteY4" fmla="*/ 6442075 h 6450932"/>
              <a:gd name="connsiteX5" fmla="*/ 0 w 11022020"/>
              <a:gd name="connsiteY5" fmla="*/ 5862353 h 6450932"/>
              <a:gd name="connsiteX6" fmla="*/ 0 w 11022020"/>
              <a:gd name="connsiteY6" fmla="*/ 1653 h 6450932"/>
              <a:gd name="connsiteX0" fmla="*/ 0 w 10888662"/>
              <a:gd name="connsiteY0" fmla="*/ 1653 h 6450932"/>
              <a:gd name="connsiteX1" fmla="*/ 10876499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2200990"/>
              <a:gd name="connsiteY0" fmla="*/ 1653 h 6450932"/>
              <a:gd name="connsiteX1" fmla="*/ 10876499 w 12200990"/>
              <a:gd name="connsiteY1" fmla="*/ 0 h 6450932"/>
              <a:gd name="connsiteX2" fmla="*/ 10878151 w 12200990"/>
              <a:gd name="connsiteY2" fmla="*/ 6450932 h 6450932"/>
              <a:gd name="connsiteX3" fmla="*/ 579722 w 12200990"/>
              <a:gd name="connsiteY3" fmla="*/ 6442075 h 6450932"/>
              <a:gd name="connsiteX4" fmla="*/ 0 w 12200990"/>
              <a:gd name="connsiteY4" fmla="*/ 5862353 h 6450932"/>
              <a:gd name="connsiteX5" fmla="*/ 0 w 12200990"/>
              <a:gd name="connsiteY5" fmla="*/ 1653 h 6450932"/>
              <a:gd name="connsiteX0" fmla="*/ 0 w 11640630"/>
              <a:gd name="connsiteY0" fmla="*/ 1653 h 6450932"/>
              <a:gd name="connsiteX1" fmla="*/ 10876499 w 11640630"/>
              <a:gd name="connsiteY1" fmla="*/ 0 h 6450932"/>
              <a:gd name="connsiteX2" fmla="*/ 10878151 w 11640630"/>
              <a:gd name="connsiteY2" fmla="*/ 6450932 h 6450932"/>
              <a:gd name="connsiteX3" fmla="*/ 579722 w 11640630"/>
              <a:gd name="connsiteY3" fmla="*/ 6442075 h 6450932"/>
              <a:gd name="connsiteX4" fmla="*/ 0 w 11640630"/>
              <a:gd name="connsiteY4" fmla="*/ 5862353 h 6450932"/>
              <a:gd name="connsiteX5" fmla="*/ 0 w 11640630"/>
              <a:gd name="connsiteY5" fmla="*/ 1653 h 6450932"/>
              <a:gd name="connsiteX0" fmla="*/ 0 w 10878151"/>
              <a:gd name="connsiteY0" fmla="*/ 1653 h 6450932"/>
              <a:gd name="connsiteX1" fmla="*/ 10876499 w 10878151"/>
              <a:gd name="connsiteY1" fmla="*/ 0 h 6450932"/>
              <a:gd name="connsiteX2" fmla="*/ 10878151 w 10878151"/>
              <a:gd name="connsiteY2" fmla="*/ 6450932 h 6450932"/>
              <a:gd name="connsiteX3" fmla="*/ 579722 w 10878151"/>
              <a:gd name="connsiteY3" fmla="*/ 6442075 h 6450932"/>
              <a:gd name="connsiteX4" fmla="*/ 0 w 10878151"/>
              <a:gd name="connsiteY4" fmla="*/ 5862353 h 6450932"/>
              <a:gd name="connsiteX5" fmla="*/ 0 w 10878151"/>
              <a:gd name="connsiteY5" fmla="*/ 1653 h 6450932"/>
              <a:gd name="connsiteX0" fmla="*/ 0 w 11843451"/>
              <a:gd name="connsiteY0" fmla="*/ 1653 h 6450932"/>
              <a:gd name="connsiteX1" fmla="*/ 11843451 w 11843451"/>
              <a:gd name="connsiteY1" fmla="*/ 0 h 6450932"/>
              <a:gd name="connsiteX2" fmla="*/ 10878151 w 11843451"/>
              <a:gd name="connsiteY2" fmla="*/ 6450932 h 6450932"/>
              <a:gd name="connsiteX3" fmla="*/ 579722 w 11843451"/>
              <a:gd name="connsiteY3" fmla="*/ 6442075 h 6450932"/>
              <a:gd name="connsiteX4" fmla="*/ 0 w 11843451"/>
              <a:gd name="connsiteY4" fmla="*/ 5862353 h 6450932"/>
              <a:gd name="connsiteX5" fmla="*/ 0 w 11843451"/>
              <a:gd name="connsiteY5" fmla="*/ 1653 h 6450932"/>
              <a:gd name="connsiteX0" fmla="*/ 0 w 11855613"/>
              <a:gd name="connsiteY0" fmla="*/ 1653 h 6450932"/>
              <a:gd name="connsiteX1" fmla="*/ 11843451 w 11855613"/>
              <a:gd name="connsiteY1" fmla="*/ 0 h 6450932"/>
              <a:gd name="connsiteX2" fmla="*/ 11855613 w 11855613"/>
              <a:gd name="connsiteY2" fmla="*/ 6450932 h 6450932"/>
              <a:gd name="connsiteX3" fmla="*/ 579722 w 11855613"/>
              <a:gd name="connsiteY3" fmla="*/ 6442075 h 6450932"/>
              <a:gd name="connsiteX4" fmla="*/ 0 w 11855613"/>
              <a:gd name="connsiteY4" fmla="*/ 5862353 h 6450932"/>
              <a:gd name="connsiteX5" fmla="*/ 0 w 11855613"/>
              <a:gd name="connsiteY5" fmla="*/ 1653 h 6450932"/>
              <a:gd name="connsiteX0" fmla="*/ 0 w 11864472"/>
              <a:gd name="connsiteY0" fmla="*/ 1653 h 6450932"/>
              <a:gd name="connsiteX1" fmla="*/ 11864472 w 11864472"/>
              <a:gd name="connsiteY1" fmla="*/ 0 h 6450932"/>
              <a:gd name="connsiteX2" fmla="*/ 11855613 w 11864472"/>
              <a:gd name="connsiteY2" fmla="*/ 6450932 h 6450932"/>
              <a:gd name="connsiteX3" fmla="*/ 579722 w 11864472"/>
              <a:gd name="connsiteY3" fmla="*/ 6442075 h 6450932"/>
              <a:gd name="connsiteX4" fmla="*/ 0 w 11864472"/>
              <a:gd name="connsiteY4" fmla="*/ 5862353 h 6450932"/>
              <a:gd name="connsiteX5" fmla="*/ 0 w 11864472"/>
              <a:gd name="connsiteY5" fmla="*/ 1653 h 6450932"/>
              <a:gd name="connsiteX0" fmla="*/ 0 w 11864472"/>
              <a:gd name="connsiteY0" fmla="*/ 1653 h 6442075"/>
              <a:gd name="connsiteX1" fmla="*/ 11864472 w 11864472"/>
              <a:gd name="connsiteY1" fmla="*/ 0 h 6442075"/>
              <a:gd name="connsiteX2" fmla="*/ 11855613 w 11864472"/>
              <a:gd name="connsiteY2" fmla="*/ 6440421 h 6442075"/>
              <a:gd name="connsiteX3" fmla="*/ 579722 w 11864472"/>
              <a:gd name="connsiteY3" fmla="*/ 6442075 h 6442075"/>
              <a:gd name="connsiteX4" fmla="*/ 0 w 11864472"/>
              <a:gd name="connsiteY4" fmla="*/ 5862353 h 6442075"/>
              <a:gd name="connsiteX5" fmla="*/ 0 w 11864472"/>
              <a:gd name="connsiteY5" fmla="*/ 1653 h 6442075"/>
              <a:gd name="connsiteX0" fmla="*/ 0 w 11855613"/>
              <a:gd name="connsiteY0" fmla="*/ 1653 h 6442075"/>
              <a:gd name="connsiteX1" fmla="*/ 8912928 w 11855613"/>
              <a:gd name="connsiteY1" fmla="*/ 0 h 6442075"/>
              <a:gd name="connsiteX2" fmla="*/ 11855613 w 11855613"/>
              <a:gd name="connsiteY2" fmla="*/ 6440421 h 6442075"/>
              <a:gd name="connsiteX3" fmla="*/ 579722 w 11855613"/>
              <a:gd name="connsiteY3" fmla="*/ 6442075 h 6442075"/>
              <a:gd name="connsiteX4" fmla="*/ 0 w 11855613"/>
              <a:gd name="connsiteY4" fmla="*/ 5862353 h 6442075"/>
              <a:gd name="connsiteX5" fmla="*/ 0 w 11855613"/>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74032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36077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1615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15642"/>
              <a:gd name="connsiteY0" fmla="*/ 1653 h 6442075"/>
              <a:gd name="connsiteX1" fmla="*/ 8912928 w 8915642"/>
              <a:gd name="connsiteY1" fmla="*/ 0 h 6442075"/>
              <a:gd name="connsiteX2" fmla="*/ 8915642 w 8915642"/>
              <a:gd name="connsiteY2" fmla="*/ 6440421 h 6442075"/>
              <a:gd name="connsiteX3" fmla="*/ 579722 w 8915642"/>
              <a:gd name="connsiteY3" fmla="*/ 6442075 h 6442075"/>
              <a:gd name="connsiteX4" fmla="*/ 0 w 8915642"/>
              <a:gd name="connsiteY4" fmla="*/ 5862353 h 6442075"/>
              <a:gd name="connsiteX5" fmla="*/ 0 w 8915642"/>
              <a:gd name="connsiteY5" fmla="*/ 1653 h 6442075"/>
              <a:gd name="connsiteX0" fmla="*/ 0 w 8915642"/>
              <a:gd name="connsiteY0" fmla="*/ 1 h 6633463"/>
              <a:gd name="connsiteX1" fmla="*/ 8912928 w 8915642"/>
              <a:gd name="connsiteY1" fmla="*/ 191388 h 6633463"/>
              <a:gd name="connsiteX2" fmla="*/ 8915642 w 8915642"/>
              <a:gd name="connsiteY2" fmla="*/ 6631809 h 6633463"/>
              <a:gd name="connsiteX3" fmla="*/ 579722 w 8915642"/>
              <a:gd name="connsiteY3" fmla="*/ 6633463 h 6633463"/>
              <a:gd name="connsiteX4" fmla="*/ 0 w 8915642"/>
              <a:gd name="connsiteY4" fmla="*/ 6053741 h 6633463"/>
              <a:gd name="connsiteX5" fmla="*/ 0 w 8915642"/>
              <a:gd name="connsiteY5" fmla="*/ 1 h 6633463"/>
              <a:gd name="connsiteX0" fmla="*/ 0 w 8933278"/>
              <a:gd name="connsiteY0" fmla="*/ 1653 h 6635115"/>
              <a:gd name="connsiteX1" fmla="*/ 8933248 w 8933278"/>
              <a:gd name="connsiteY1" fmla="*/ 0 h 6635115"/>
              <a:gd name="connsiteX2" fmla="*/ 8915642 w 8933278"/>
              <a:gd name="connsiteY2" fmla="*/ 6633461 h 6635115"/>
              <a:gd name="connsiteX3" fmla="*/ 579722 w 8933278"/>
              <a:gd name="connsiteY3" fmla="*/ 6635115 h 6635115"/>
              <a:gd name="connsiteX4" fmla="*/ 0 w 8933278"/>
              <a:gd name="connsiteY4" fmla="*/ 6055393 h 6635115"/>
              <a:gd name="connsiteX5" fmla="*/ 0 w 8933278"/>
              <a:gd name="connsiteY5" fmla="*/ 1653 h 6635115"/>
              <a:gd name="connsiteX0" fmla="*/ 0 w 8933323"/>
              <a:gd name="connsiteY0" fmla="*/ 1653 h 6645336"/>
              <a:gd name="connsiteX1" fmla="*/ 8933248 w 8933323"/>
              <a:gd name="connsiteY1" fmla="*/ 0 h 6645336"/>
              <a:gd name="connsiteX2" fmla="*/ 8927517 w 8933323"/>
              <a:gd name="connsiteY2" fmla="*/ 6645336 h 6645336"/>
              <a:gd name="connsiteX3" fmla="*/ 579722 w 8933323"/>
              <a:gd name="connsiteY3" fmla="*/ 6635115 h 6645336"/>
              <a:gd name="connsiteX4" fmla="*/ 0 w 8933323"/>
              <a:gd name="connsiteY4" fmla="*/ 6055393 h 6645336"/>
              <a:gd name="connsiteX5" fmla="*/ 0 w 8933323"/>
              <a:gd name="connsiteY5" fmla="*/ 1653 h 6645336"/>
              <a:gd name="connsiteX0" fmla="*/ 0 w 8927517"/>
              <a:gd name="connsiteY0" fmla="*/ 1653 h 6645336"/>
              <a:gd name="connsiteX1" fmla="*/ 7971347 w 8927517"/>
              <a:gd name="connsiteY1" fmla="*/ 0 h 6645336"/>
              <a:gd name="connsiteX2" fmla="*/ 8927517 w 8927517"/>
              <a:gd name="connsiteY2" fmla="*/ 6645336 h 6645336"/>
              <a:gd name="connsiteX3" fmla="*/ 579722 w 8927517"/>
              <a:gd name="connsiteY3" fmla="*/ 6635115 h 6645336"/>
              <a:gd name="connsiteX4" fmla="*/ 0 w 8927517"/>
              <a:gd name="connsiteY4" fmla="*/ 6055393 h 6645336"/>
              <a:gd name="connsiteX5" fmla="*/ 0 w 8927517"/>
              <a:gd name="connsiteY5" fmla="*/ 1653 h 6645336"/>
              <a:gd name="connsiteX0" fmla="*/ 0 w 7971422"/>
              <a:gd name="connsiteY0" fmla="*/ 1653 h 6645336"/>
              <a:gd name="connsiteX1" fmla="*/ 7971347 w 7971422"/>
              <a:gd name="connsiteY1" fmla="*/ 0 h 6645336"/>
              <a:gd name="connsiteX2" fmla="*/ 7965616 w 7971422"/>
              <a:gd name="connsiteY2" fmla="*/ 6645336 h 6645336"/>
              <a:gd name="connsiteX3" fmla="*/ 579722 w 7971422"/>
              <a:gd name="connsiteY3" fmla="*/ 6635115 h 6645336"/>
              <a:gd name="connsiteX4" fmla="*/ 0 w 7971422"/>
              <a:gd name="connsiteY4" fmla="*/ 6055393 h 6645336"/>
              <a:gd name="connsiteX5" fmla="*/ 0 w 7971422"/>
              <a:gd name="connsiteY5" fmla="*/ 1653 h 6645336"/>
              <a:gd name="connsiteX0" fmla="*/ 0 w 7971422"/>
              <a:gd name="connsiteY0" fmla="*/ 1301816 h 6645336"/>
              <a:gd name="connsiteX1" fmla="*/ 7971347 w 7971422"/>
              <a:gd name="connsiteY1" fmla="*/ 0 h 6645336"/>
              <a:gd name="connsiteX2" fmla="*/ 7965616 w 7971422"/>
              <a:gd name="connsiteY2" fmla="*/ 6645336 h 6645336"/>
              <a:gd name="connsiteX3" fmla="*/ 579722 w 7971422"/>
              <a:gd name="connsiteY3" fmla="*/ 6635115 h 6645336"/>
              <a:gd name="connsiteX4" fmla="*/ 0 w 7971422"/>
              <a:gd name="connsiteY4" fmla="*/ 6055393 h 6645336"/>
              <a:gd name="connsiteX5" fmla="*/ 0 w 7971422"/>
              <a:gd name="connsiteY5" fmla="*/ 1301816 h 6645336"/>
              <a:gd name="connsiteX0" fmla="*/ 0 w 7965616"/>
              <a:gd name="connsiteY0" fmla="*/ 1653 h 5345173"/>
              <a:gd name="connsiteX1" fmla="*/ 7957060 w 7965616"/>
              <a:gd name="connsiteY1" fmla="*/ 0 h 5345173"/>
              <a:gd name="connsiteX2" fmla="*/ 7965616 w 7965616"/>
              <a:gd name="connsiteY2" fmla="*/ 5345173 h 5345173"/>
              <a:gd name="connsiteX3" fmla="*/ 579722 w 7965616"/>
              <a:gd name="connsiteY3" fmla="*/ 5334952 h 5345173"/>
              <a:gd name="connsiteX4" fmla="*/ 0 w 7965616"/>
              <a:gd name="connsiteY4" fmla="*/ 4755230 h 5345173"/>
              <a:gd name="connsiteX5" fmla="*/ 0 w 7965616"/>
              <a:gd name="connsiteY5" fmla="*/ 1653 h 5345173"/>
              <a:gd name="connsiteX0" fmla="*/ 0 w 7971422"/>
              <a:gd name="connsiteY0" fmla="*/ 1653 h 5345173"/>
              <a:gd name="connsiteX1" fmla="*/ 7971347 w 7971422"/>
              <a:gd name="connsiteY1" fmla="*/ 0 h 5345173"/>
              <a:gd name="connsiteX2" fmla="*/ 7965616 w 7971422"/>
              <a:gd name="connsiteY2" fmla="*/ 5345173 h 5345173"/>
              <a:gd name="connsiteX3" fmla="*/ 579722 w 7971422"/>
              <a:gd name="connsiteY3" fmla="*/ 5334952 h 5345173"/>
              <a:gd name="connsiteX4" fmla="*/ 0 w 7971422"/>
              <a:gd name="connsiteY4" fmla="*/ 4755230 h 5345173"/>
              <a:gd name="connsiteX5" fmla="*/ 0 w 7971422"/>
              <a:gd name="connsiteY5" fmla="*/ 1653 h 5345173"/>
              <a:gd name="connsiteX0" fmla="*/ 0 w 7988356"/>
              <a:gd name="connsiteY0" fmla="*/ 187920 h 5345173"/>
              <a:gd name="connsiteX1" fmla="*/ 7988281 w 7988356"/>
              <a:gd name="connsiteY1" fmla="*/ 0 h 5345173"/>
              <a:gd name="connsiteX2" fmla="*/ 7982550 w 7988356"/>
              <a:gd name="connsiteY2" fmla="*/ 5345173 h 5345173"/>
              <a:gd name="connsiteX3" fmla="*/ 596656 w 7988356"/>
              <a:gd name="connsiteY3" fmla="*/ 5334952 h 5345173"/>
              <a:gd name="connsiteX4" fmla="*/ 16934 w 7988356"/>
              <a:gd name="connsiteY4" fmla="*/ 4755230 h 5345173"/>
              <a:gd name="connsiteX5" fmla="*/ 0 w 7988356"/>
              <a:gd name="connsiteY5" fmla="*/ 187920 h 5345173"/>
              <a:gd name="connsiteX0" fmla="*/ 0 w 7988356"/>
              <a:gd name="connsiteY0" fmla="*/ 210145 h 5345173"/>
              <a:gd name="connsiteX1" fmla="*/ 7988281 w 7988356"/>
              <a:gd name="connsiteY1" fmla="*/ 0 h 5345173"/>
              <a:gd name="connsiteX2" fmla="*/ 7982550 w 7988356"/>
              <a:gd name="connsiteY2" fmla="*/ 5345173 h 5345173"/>
              <a:gd name="connsiteX3" fmla="*/ 596656 w 7988356"/>
              <a:gd name="connsiteY3" fmla="*/ 5334952 h 5345173"/>
              <a:gd name="connsiteX4" fmla="*/ 16934 w 7988356"/>
              <a:gd name="connsiteY4" fmla="*/ 4755230 h 5345173"/>
              <a:gd name="connsiteX5" fmla="*/ 0 w 7988356"/>
              <a:gd name="connsiteY5" fmla="*/ 210145 h 5345173"/>
              <a:gd name="connsiteX0" fmla="*/ 0 w 7988356"/>
              <a:gd name="connsiteY0" fmla="*/ 0 h 5135028"/>
              <a:gd name="connsiteX1" fmla="*/ 7988281 w 7988356"/>
              <a:gd name="connsiteY1" fmla="*/ 7569 h 5135028"/>
              <a:gd name="connsiteX2" fmla="*/ 7982550 w 7988356"/>
              <a:gd name="connsiteY2" fmla="*/ 5135028 h 5135028"/>
              <a:gd name="connsiteX3" fmla="*/ 596656 w 7988356"/>
              <a:gd name="connsiteY3" fmla="*/ 5124807 h 5135028"/>
              <a:gd name="connsiteX4" fmla="*/ 16934 w 7988356"/>
              <a:gd name="connsiteY4" fmla="*/ 4545085 h 5135028"/>
              <a:gd name="connsiteX5" fmla="*/ 0 w 7988356"/>
              <a:gd name="connsiteY5" fmla="*/ 0 h 51350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988356" h="5135028">
                <a:moveTo>
                  <a:pt x="0" y="0"/>
                </a:moveTo>
                <a:lnTo>
                  <a:pt x="7988281" y="7569"/>
                </a:lnTo>
                <a:cubicBezTo>
                  <a:pt x="7989186" y="2154376"/>
                  <a:pt x="7981645" y="2988221"/>
                  <a:pt x="7982550" y="5135028"/>
                </a:cubicBezTo>
                <a:lnTo>
                  <a:pt x="596656" y="5124807"/>
                </a:lnTo>
                <a:cubicBezTo>
                  <a:pt x="276484" y="5124807"/>
                  <a:pt x="16934" y="4865257"/>
                  <a:pt x="16934" y="4545085"/>
                </a:cubicBezTo>
                <a:cubicBezTo>
                  <a:pt x="11289" y="3022648"/>
                  <a:pt x="5645" y="1522437"/>
                  <a:pt x="0" y="0"/>
                </a:cubicBezTo>
                <a:close/>
              </a:path>
            </a:pathLst>
          </a:custGeom>
          <a:noFill/>
        </p:spPr>
        <p:txBody>
          <a:bodyPr>
            <a:normAutofit/>
          </a:bodyPr>
          <a:lstStyle>
            <a:lvl1pPr marL="0" indent="0">
              <a:buNone/>
              <a:defRPr sz="1400">
                <a:solidFill>
                  <a:schemeClr val="tx1"/>
                </a:solidFill>
              </a:defRPr>
            </a:lvl1pPr>
          </a:lstStyle>
          <a:p>
            <a:r>
              <a:rPr lang="en-JP"/>
              <a:t>Insert Photo</a:t>
            </a:r>
          </a:p>
        </p:txBody>
      </p:sp>
      <p:sp>
        <p:nvSpPr>
          <p:cNvPr id="7" name="Text Placeholder 6">
            <a:extLst>
              <a:ext uri="{FF2B5EF4-FFF2-40B4-BE49-F238E27FC236}">
                <a16:creationId xmlns:a16="http://schemas.microsoft.com/office/drawing/2014/main" id="{65925D82-457F-D84D-B8DF-D8ADFD7E71DF}"/>
              </a:ext>
            </a:extLst>
          </p:cNvPr>
          <p:cNvSpPr>
            <a:spLocks noGrp="1"/>
          </p:cNvSpPr>
          <p:nvPr>
            <p:ph type="body" sz="quarter" idx="14" hasCustomPrompt="1"/>
          </p:nvPr>
        </p:nvSpPr>
        <p:spPr>
          <a:xfrm>
            <a:off x="311150" y="3178298"/>
            <a:ext cx="3751966" cy="272786"/>
          </a:xfrm>
          <a:prstGeom prst="rect">
            <a:avLst/>
          </a:prstGeom>
        </p:spPr>
        <p:txBody>
          <a:bodyPr tIns="0" rIns="0" bIns="0" numCol="1">
            <a:noAutofit/>
          </a:bodyPr>
          <a:lstStyle>
            <a:lvl1pPr marL="0" indent="0">
              <a:lnSpc>
                <a:spcPct val="100000"/>
              </a:lnSpc>
              <a:spcBef>
                <a:spcPts val="0"/>
              </a:spcBef>
              <a:spcAft>
                <a:spcPts val="600"/>
              </a:spcAft>
              <a:buNone/>
              <a:defRPr sz="18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Secondary Title</a:t>
            </a:r>
          </a:p>
        </p:txBody>
      </p:sp>
      <p:sp>
        <p:nvSpPr>
          <p:cNvPr id="12" name="Text Placeholder 6">
            <a:extLst>
              <a:ext uri="{FF2B5EF4-FFF2-40B4-BE49-F238E27FC236}">
                <a16:creationId xmlns:a16="http://schemas.microsoft.com/office/drawing/2014/main" id="{FD2406EE-A554-5348-AE6D-4D8B343E6201}"/>
              </a:ext>
            </a:extLst>
          </p:cNvPr>
          <p:cNvSpPr>
            <a:spLocks noGrp="1"/>
          </p:cNvSpPr>
          <p:nvPr>
            <p:ph type="body" sz="quarter" idx="15" hasCustomPrompt="1"/>
          </p:nvPr>
        </p:nvSpPr>
        <p:spPr>
          <a:xfrm>
            <a:off x="311150" y="3575904"/>
            <a:ext cx="3751966" cy="2840771"/>
          </a:xfrm>
          <a:prstGeom prst="rect">
            <a:avLst/>
          </a:prstGeom>
        </p:spPr>
        <p:txBody>
          <a:bodyPr tIns="0" rIns="0" bIns="0" numCol="1">
            <a:noAutofit/>
          </a:bodyPr>
          <a:lstStyle>
            <a:lvl1pPr marL="171450" indent="-171450">
              <a:lnSpc>
                <a:spcPct val="100000"/>
              </a:lnSpc>
              <a:spcBef>
                <a:spcPts val="0"/>
              </a:spcBef>
              <a:spcAft>
                <a:spcPts val="600"/>
              </a:spcAft>
              <a:buFont typeface="Arial" panose="020B0604020202020204" pitchFamily="34" charset="0"/>
              <a:buChar char="•"/>
              <a:defRPr sz="1400" b="0">
                <a:solidFill>
                  <a:schemeClr val="tx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Secondary text. </a:t>
            </a:r>
          </a:p>
        </p:txBody>
      </p:sp>
      <p:sp>
        <p:nvSpPr>
          <p:cNvPr id="20" name="Footer Placeholder 8">
            <a:extLst>
              <a:ext uri="{FF2B5EF4-FFF2-40B4-BE49-F238E27FC236}">
                <a16:creationId xmlns:a16="http://schemas.microsoft.com/office/drawing/2014/main" id="{E4ACE247-6DA5-F044-A880-12BDFE14907B}"/>
              </a:ext>
            </a:extLst>
          </p:cNvPr>
          <p:cNvSpPr>
            <a:spLocks noGrp="1"/>
          </p:cNvSpPr>
          <p:nvPr>
            <p:ph type="ftr" sz="quarter" idx="3"/>
          </p:nvPr>
        </p:nvSpPr>
        <p:spPr>
          <a:xfrm>
            <a:off x="7766050" y="6523001"/>
            <a:ext cx="4114800" cy="196131"/>
          </a:xfrm>
          <a:prstGeom prst="rect">
            <a:avLst/>
          </a:prstGeom>
        </p:spPr>
        <p:txBody>
          <a:bodyPr vert="horz" lIns="91440" tIns="45720" rIns="0" bIns="45720" rtlCol="0" anchor="ctr"/>
          <a:lstStyle>
            <a:lvl1pPr algn="r">
              <a:defRPr sz="800" b="1" spc="100" baseline="0">
                <a:solidFill>
                  <a:schemeClr val="tx1"/>
                </a:solidFill>
              </a:defRPr>
            </a:lvl1pPr>
          </a:lstStyle>
          <a:p>
            <a:r>
              <a:rPr lang="en-JP"/>
              <a:t> </a:t>
            </a:r>
          </a:p>
        </p:txBody>
      </p:sp>
      <p:pic>
        <p:nvPicPr>
          <p:cNvPr id="14" name="Picture 13" descr="Takeda">
            <a:extLst>
              <a:ext uri="{FF2B5EF4-FFF2-40B4-BE49-F238E27FC236}">
                <a16:creationId xmlns:a16="http://schemas.microsoft.com/office/drawing/2014/main" id="{1397373C-4723-444D-99E3-0FBCAFDAD4F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46331" y="-1615"/>
            <a:ext cx="1696232" cy="940780"/>
          </a:xfrm>
          <a:prstGeom prst="rect">
            <a:avLst/>
          </a:prstGeom>
        </p:spPr>
      </p:pic>
      <p:sp>
        <p:nvSpPr>
          <p:cNvPr id="22" name="タイトル プレースホルダ 1">
            <a:extLst>
              <a:ext uri="{FF2B5EF4-FFF2-40B4-BE49-F238E27FC236}">
                <a16:creationId xmlns:a16="http://schemas.microsoft.com/office/drawing/2014/main" id="{1545CFCD-ABA6-1349-9917-1DDD2762CB59}"/>
              </a:ext>
            </a:extLst>
          </p:cNvPr>
          <p:cNvSpPr>
            <a:spLocks noGrp="1"/>
          </p:cNvSpPr>
          <p:nvPr>
            <p:ph type="title" hasCustomPrompt="1"/>
          </p:nvPr>
        </p:nvSpPr>
        <p:spPr>
          <a:xfrm>
            <a:off x="606078" y="161605"/>
            <a:ext cx="9940253" cy="685801"/>
          </a:xfrm>
          <a:prstGeom prst="rect">
            <a:avLst/>
          </a:prstGeom>
        </p:spPr>
        <p:txBody>
          <a:bodyPr vert="horz" lIns="0" tIns="0" rIns="0" bIns="0" rtlCol="0" anchor="ctr">
            <a:normAutofit/>
          </a:bodyPr>
          <a:lstStyle/>
          <a:p>
            <a:r>
              <a:rPr kumimoji="1" lang="en-US" altLang="ja-JP"/>
              <a:t>Click to add title</a:t>
            </a:r>
            <a:endParaRPr kumimoji="1" lang="ja-JP" altLang="en-US"/>
          </a:p>
        </p:txBody>
      </p:sp>
      <p:sp>
        <p:nvSpPr>
          <p:cNvPr id="21" name="Rectangle 20">
            <a:extLst>
              <a:ext uri="{FF2B5EF4-FFF2-40B4-BE49-F238E27FC236}">
                <a16:creationId xmlns:a16="http://schemas.microsoft.com/office/drawing/2014/main" id="{97730F84-B57E-C441-B81C-A0677388FA64}"/>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a:solidFill>
                <a:schemeClr val="accent1"/>
              </a:solidFill>
            </a:endParaRPr>
          </a:p>
        </p:txBody>
      </p:sp>
      <p:sp>
        <p:nvSpPr>
          <p:cNvPr id="25" name="スライド番号プレースホルダ 5">
            <a:extLst>
              <a:ext uri="{FF2B5EF4-FFF2-40B4-BE49-F238E27FC236}">
                <a16:creationId xmlns:a16="http://schemas.microsoft.com/office/drawing/2014/main" id="{78815F79-70B9-A343-88C1-1B41F15106A1}"/>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6" name="Text Placeholder 6">
            <a:extLst>
              <a:ext uri="{FF2B5EF4-FFF2-40B4-BE49-F238E27FC236}">
                <a16:creationId xmlns:a16="http://schemas.microsoft.com/office/drawing/2014/main" id="{6ACFB15D-3880-FB46-8B5A-E057FE4C9B56}"/>
              </a:ext>
            </a:extLst>
          </p:cNvPr>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Private and confidential. For internal use only.</a:t>
            </a:r>
          </a:p>
        </p:txBody>
      </p:sp>
      <p:sp>
        <p:nvSpPr>
          <p:cNvPr id="17" name="Text Placeholder 2">
            <a:extLst>
              <a:ext uri="{FF2B5EF4-FFF2-40B4-BE49-F238E27FC236}">
                <a16:creationId xmlns:a16="http://schemas.microsoft.com/office/drawing/2014/main" id="{EF3CD883-F623-E54C-A27A-38B7EB957052}"/>
              </a:ext>
            </a:extLst>
          </p:cNvPr>
          <p:cNvSpPr>
            <a:spLocks noGrp="1"/>
          </p:cNvSpPr>
          <p:nvPr>
            <p:ph type="body" sz="quarter" idx="20" hasCustomPrompt="1"/>
          </p:nvPr>
        </p:nvSpPr>
        <p:spPr>
          <a:xfrm>
            <a:off x="311151" y="1491373"/>
            <a:ext cx="3751965" cy="1464957"/>
          </a:xfrm>
        </p:spPr>
        <p:txBody>
          <a:bodyPr tIns="0" rIns="0" bIns="0" numCol="1" spcCol="126000">
            <a:noAutofit/>
          </a:bodyPr>
          <a:lstStyle>
            <a:lvl1pPr marL="0" indent="0">
              <a:lnSpc>
                <a:spcPct val="100000"/>
              </a:lnSpc>
              <a:spcBef>
                <a:spcPts val="0"/>
              </a:spcBef>
              <a:buNone/>
              <a:defRPr sz="1600" b="1"/>
            </a:lvl1pPr>
            <a:lvl2pPr marL="457068" indent="0">
              <a:buNone/>
              <a:defRPr sz="1800" b="1"/>
            </a:lvl2pPr>
            <a:lvl3pPr marL="914149" indent="0">
              <a:buNone/>
              <a:defRPr sz="1800" b="1"/>
            </a:lvl3pPr>
            <a:lvl4pPr marL="1371219" indent="0">
              <a:buNone/>
              <a:defRPr sz="1800" b="1"/>
            </a:lvl4pPr>
            <a:lvl5pPr marL="1828290" indent="0">
              <a:buNone/>
              <a:defRPr sz="1800" b="1"/>
            </a:lvl5pPr>
          </a:lstStyle>
          <a:p>
            <a:pPr lvl="0"/>
            <a:r>
              <a:rPr lang="en-US"/>
              <a:t>This is your Primary Text.</a:t>
            </a:r>
            <a:endParaRPr lang="en-JP"/>
          </a:p>
        </p:txBody>
      </p:sp>
      <p:sp>
        <p:nvSpPr>
          <p:cNvPr id="18" name="Text Placeholder 6">
            <a:extLst>
              <a:ext uri="{FF2B5EF4-FFF2-40B4-BE49-F238E27FC236}">
                <a16:creationId xmlns:a16="http://schemas.microsoft.com/office/drawing/2014/main" id="{B2D601E3-CC68-7845-AAF4-3AD141198B4E}"/>
              </a:ext>
            </a:extLst>
          </p:cNvPr>
          <p:cNvSpPr>
            <a:spLocks noGrp="1"/>
          </p:cNvSpPr>
          <p:nvPr>
            <p:ph type="body" sz="quarter" idx="21" hasCustomPrompt="1"/>
          </p:nvPr>
        </p:nvSpPr>
        <p:spPr>
          <a:xfrm>
            <a:off x="311150" y="1093767"/>
            <a:ext cx="3751965" cy="272786"/>
          </a:xfrm>
        </p:spPr>
        <p:txBody>
          <a:bodyPr tIns="0" rIns="0" bIns="0" numCol="1">
            <a:noAutofit/>
          </a:bodyPr>
          <a:lstStyle>
            <a:lvl1pPr marL="0" indent="0">
              <a:lnSpc>
                <a:spcPct val="100000"/>
              </a:lnSpc>
              <a:spcBef>
                <a:spcPts val="0"/>
              </a:spcBef>
              <a:spcAft>
                <a:spcPts val="600"/>
              </a:spcAft>
              <a:buNone/>
              <a:defRPr sz="20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Primary Title</a:t>
            </a:r>
          </a:p>
        </p:txBody>
      </p:sp>
    </p:spTree>
    <p:extLst>
      <p:ext uri="{BB962C8B-B14F-4D97-AF65-F5344CB8AC3E}">
        <p14:creationId xmlns:p14="http://schemas.microsoft.com/office/powerpoint/2010/main" val="1358712905"/>
      </p:ext>
    </p:extLst>
  </p:cSld>
  <p:clrMapOvr>
    <a:masterClrMapping/>
  </p:clrMapOvr>
  <p:transition spd="slow">
    <p:push dir="u"/>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Advanced 1/2 Image (Full Bleed)">
    <p:spTree>
      <p:nvGrpSpPr>
        <p:cNvPr id="1" name=""/>
        <p:cNvGrpSpPr/>
        <p:nvPr/>
      </p:nvGrpSpPr>
      <p:grpSpPr>
        <a:xfrm>
          <a:off x="0" y="0"/>
          <a:ext cx="0" cy="0"/>
          <a:chOff x="0" y="0"/>
          <a:chExt cx="0" cy="0"/>
        </a:xfrm>
      </p:grpSpPr>
      <p:sp>
        <p:nvSpPr>
          <p:cNvPr id="13" name="Picture Placeholder 9">
            <a:extLst>
              <a:ext uri="{FF2B5EF4-FFF2-40B4-BE49-F238E27FC236}">
                <a16:creationId xmlns:a16="http://schemas.microsoft.com/office/drawing/2014/main" id="{DA0F537B-2380-C640-8119-936AD7786464}"/>
              </a:ext>
            </a:extLst>
          </p:cNvPr>
          <p:cNvSpPr>
            <a:spLocks noGrp="1"/>
          </p:cNvSpPr>
          <p:nvPr>
            <p:ph type="pic" sz="quarter" idx="18" hasCustomPrompt="1"/>
          </p:nvPr>
        </p:nvSpPr>
        <p:spPr>
          <a:xfrm>
            <a:off x="6185454" y="-5494"/>
            <a:ext cx="6024384" cy="6863494"/>
          </a:xfrm>
          <a:custGeom>
            <a:avLst/>
            <a:gdLst>
              <a:gd name="connsiteX0" fmla="*/ 0 w 10888662"/>
              <a:gd name="connsiteY0" fmla="*/ 579722 h 6442075"/>
              <a:gd name="connsiteX1" fmla="*/ 579722 w 10888662"/>
              <a:gd name="connsiteY1" fmla="*/ 0 h 6442075"/>
              <a:gd name="connsiteX2" fmla="*/ 10308940 w 10888662"/>
              <a:gd name="connsiteY2" fmla="*/ 0 h 6442075"/>
              <a:gd name="connsiteX3" fmla="*/ 10888662 w 10888662"/>
              <a:gd name="connsiteY3" fmla="*/ 579722 h 6442075"/>
              <a:gd name="connsiteX4" fmla="*/ 10888662 w 10888662"/>
              <a:gd name="connsiteY4" fmla="*/ 5862353 h 6442075"/>
              <a:gd name="connsiteX5" fmla="*/ 10308940 w 10888662"/>
              <a:gd name="connsiteY5" fmla="*/ 6442075 h 6442075"/>
              <a:gd name="connsiteX6" fmla="*/ 579722 w 10888662"/>
              <a:gd name="connsiteY6" fmla="*/ 6442075 h 6442075"/>
              <a:gd name="connsiteX7" fmla="*/ 0 w 10888662"/>
              <a:gd name="connsiteY7" fmla="*/ 5862353 h 6442075"/>
              <a:gd name="connsiteX8" fmla="*/ 0 w 10888662"/>
              <a:gd name="connsiteY8" fmla="*/ 579722 h 6442075"/>
              <a:gd name="connsiteX0" fmla="*/ 0 w 10888662"/>
              <a:gd name="connsiteY0" fmla="*/ 659657 h 6522010"/>
              <a:gd name="connsiteX1" fmla="*/ 10308940 w 10888662"/>
              <a:gd name="connsiteY1" fmla="*/ 79935 h 6522010"/>
              <a:gd name="connsiteX2" fmla="*/ 10888662 w 10888662"/>
              <a:gd name="connsiteY2" fmla="*/ 659657 h 6522010"/>
              <a:gd name="connsiteX3" fmla="*/ 10888662 w 10888662"/>
              <a:gd name="connsiteY3" fmla="*/ 5942288 h 6522010"/>
              <a:gd name="connsiteX4" fmla="*/ 10308940 w 10888662"/>
              <a:gd name="connsiteY4" fmla="*/ 6522010 h 6522010"/>
              <a:gd name="connsiteX5" fmla="*/ 579722 w 10888662"/>
              <a:gd name="connsiteY5" fmla="*/ 6522010 h 6522010"/>
              <a:gd name="connsiteX6" fmla="*/ 0 w 10888662"/>
              <a:gd name="connsiteY6" fmla="*/ 5942288 h 6522010"/>
              <a:gd name="connsiteX7" fmla="*/ 0 w 10888662"/>
              <a:gd name="connsiteY7" fmla="*/ 659657 h 6522010"/>
              <a:gd name="connsiteX0" fmla="*/ 0 w 10888662"/>
              <a:gd name="connsiteY0" fmla="*/ 579722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579722 h 6442075"/>
              <a:gd name="connsiteX0" fmla="*/ 0 w 10888662"/>
              <a:gd name="connsiteY0" fmla="*/ 129257 h 6569679"/>
              <a:gd name="connsiteX1" fmla="*/ 10308940 w 10888662"/>
              <a:gd name="connsiteY1" fmla="*/ 127604 h 6569679"/>
              <a:gd name="connsiteX2" fmla="*/ 10888662 w 10888662"/>
              <a:gd name="connsiteY2" fmla="*/ 707326 h 6569679"/>
              <a:gd name="connsiteX3" fmla="*/ 10888662 w 10888662"/>
              <a:gd name="connsiteY3" fmla="*/ 5989957 h 6569679"/>
              <a:gd name="connsiteX4" fmla="*/ 10308940 w 10888662"/>
              <a:gd name="connsiteY4" fmla="*/ 6569679 h 6569679"/>
              <a:gd name="connsiteX5" fmla="*/ 579722 w 10888662"/>
              <a:gd name="connsiteY5" fmla="*/ 6569679 h 6569679"/>
              <a:gd name="connsiteX6" fmla="*/ 0 w 10888662"/>
              <a:gd name="connsiteY6" fmla="*/ 5989957 h 6569679"/>
              <a:gd name="connsiteX7" fmla="*/ 0 w 10888662"/>
              <a:gd name="connsiteY7" fmla="*/ 129257 h 6569679"/>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9657299 w 10888662"/>
              <a:gd name="connsiteY4" fmla="*/ 55276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522010"/>
              <a:gd name="connsiteX1" fmla="*/ 10308940 w 10888662"/>
              <a:gd name="connsiteY1" fmla="*/ 0 h 6522010"/>
              <a:gd name="connsiteX2" fmla="*/ 10888662 w 10888662"/>
              <a:gd name="connsiteY2" fmla="*/ 579722 h 6522010"/>
              <a:gd name="connsiteX3" fmla="*/ 10888662 w 10888662"/>
              <a:gd name="connsiteY3" fmla="*/ 5862353 h 6522010"/>
              <a:gd name="connsiteX4" fmla="*/ 579722 w 10888662"/>
              <a:gd name="connsiteY4" fmla="*/ 6442075 h 6522010"/>
              <a:gd name="connsiteX5" fmla="*/ 0 w 10888662"/>
              <a:gd name="connsiteY5" fmla="*/ 5862353 h 6522010"/>
              <a:gd name="connsiteX6" fmla="*/ 0 w 10888662"/>
              <a:gd name="connsiteY6" fmla="*/ 1653 h 6522010"/>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579722 w 10888662"/>
              <a:gd name="connsiteY4" fmla="*/ 6442075 h 6442075"/>
              <a:gd name="connsiteX5" fmla="*/ 0 w 10888662"/>
              <a:gd name="connsiteY5" fmla="*/ 5862353 h 6442075"/>
              <a:gd name="connsiteX6" fmla="*/ 0 w 10888662"/>
              <a:gd name="connsiteY6" fmla="*/ 1653 h 6442075"/>
              <a:gd name="connsiteX0" fmla="*/ 0 w 10888662"/>
              <a:gd name="connsiteY0" fmla="*/ 1653 h 6585432"/>
              <a:gd name="connsiteX1" fmla="*/ 10308940 w 10888662"/>
              <a:gd name="connsiteY1" fmla="*/ 0 h 6585432"/>
              <a:gd name="connsiteX2" fmla="*/ 10888662 w 10888662"/>
              <a:gd name="connsiteY2" fmla="*/ 579722 h 6585432"/>
              <a:gd name="connsiteX3" fmla="*/ 10878151 w 10888662"/>
              <a:gd name="connsiteY3" fmla="*/ 6461442 h 6585432"/>
              <a:gd name="connsiteX4" fmla="*/ 579722 w 10888662"/>
              <a:gd name="connsiteY4" fmla="*/ 6442075 h 6585432"/>
              <a:gd name="connsiteX5" fmla="*/ 0 w 10888662"/>
              <a:gd name="connsiteY5" fmla="*/ 5862353 h 6585432"/>
              <a:gd name="connsiteX6" fmla="*/ 0 w 10888662"/>
              <a:gd name="connsiteY6" fmla="*/ 1653 h 6585432"/>
              <a:gd name="connsiteX0" fmla="*/ 0 w 10888662"/>
              <a:gd name="connsiteY0" fmla="*/ 1653 h 6577502"/>
              <a:gd name="connsiteX1" fmla="*/ 10308940 w 10888662"/>
              <a:gd name="connsiteY1" fmla="*/ 0 h 6577502"/>
              <a:gd name="connsiteX2" fmla="*/ 10888662 w 10888662"/>
              <a:gd name="connsiteY2" fmla="*/ 579722 h 6577502"/>
              <a:gd name="connsiteX3" fmla="*/ 10878151 w 10888662"/>
              <a:gd name="connsiteY3" fmla="*/ 6450932 h 6577502"/>
              <a:gd name="connsiteX4" fmla="*/ 579722 w 10888662"/>
              <a:gd name="connsiteY4" fmla="*/ 6442075 h 6577502"/>
              <a:gd name="connsiteX5" fmla="*/ 0 w 10888662"/>
              <a:gd name="connsiteY5" fmla="*/ 5862353 h 6577502"/>
              <a:gd name="connsiteX6" fmla="*/ 0 w 10888662"/>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0888662"/>
              <a:gd name="connsiteY0" fmla="*/ 1653 h 6450932"/>
              <a:gd name="connsiteX1" fmla="*/ 10308940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0999550"/>
              <a:gd name="connsiteY0" fmla="*/ 1653 h 6450932"/>
              <a:gd name="connsiteX1" fmla="*/ 10844968 w 10999550"/>
              <a:gd name="connsiteY1" fmla="*/ 0 h 6450932"/>
              <a:gd name="connsiteX2" fmla="*/ 10888662 w 10999550"/>
              <a:gd name="connsiteY2" fmla="*/ 579722 h 6450932"/>
              <a:gd name="connsiteX3" fmla="*/ 10878151 w 10999550"/>
              <a:gd name="connsiteY3" fmla="*/ 6450932 h 6450932"/>
              <a:gd name="connsiteX4" fmla="*/ 579722 w 10999550"/>
              <a:gd name="connsiteY4" fmla="*/ 6442075 h 6450932"/>
              <a:gd name="connsiteX5" fmla="*/ 0 w 10999550"/>
              <a:gd name="connsiteY5" fmla="*/ 5862353 h 6450932"/>
              <a:gd name="connsiteX6" fmla="*/ 0 w 10999550"/>
              <a:gd name="connsiteY6" fmla="*/ 1653 h 6450932"/>
              <a:gd name="connsiteX0" fmla="*/ 0 w 11022020"/>
              <a:gd name="connsiteY0" fmla="*/ 1653 h 6450932"/>
              <a:gd name="connsiteX1" fmla="*/ 10876499 w 11022020"/>
              <a:gd name="connsiteY1" fmla="*/ 0 h 6450932"/>
              <a:gd name="connsiteX2" fmla="*/ 10888662 w 11022020"/>
              <a:gd name="connsiteY2" fmla="*/ 579722 h 6450932"/>
              <a:gd name="connsiteX3" fmla="*/ 10878151 w 11022020"/>
              <a:gd name="connsiteY3" fmla="*/ 6450932 h 6450932"/>
              <a:gd name="connsiteX4" fmla="*/ 579722 w 11022020"/>
              <a:gd name="connsiteY4" fmla="*/ 6442075 h 6450932"/>
              <a:gd name="connsiteX5" fmla="*/ 0 w 11022020"/>
              <a:gd name="connsiteY5" fmla="*/ 5862353 h 6450932"/>
              <a:gd name="connsiteX6" fmla="*/ 0 w 11022020"/>
              <a:gd name="connsiteY6" fmla="*/ 1653 h 6450932"/>
              <a:gd name="connsiteX0" fmla="*/ 0 w 10888662"/>
              <a:gd name="connsiteY0" fmla="*/ 1653 h 6450932"/>
              <a:gd name="connsiteX1" fmla="*/ 10876499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2200990"/>
              <a:gd name="connsiteY0" fmla="*/ 1653 h 6450932"/>
              <a:gd name="connsiteX1" fmla="*/ 10876499 w 12200990"/>
              <a:gd name="connsiteY1" fmla="*/ 0 h 6450932"/>
              <a:gd name="connsiteX2" fmla="*/ 10878151 w 12200990"/>
              <a:gd name="connsiteY2" fmla="*/ 6450932 h 6450932"/>
              <a:gd name="connsiteX3" fmla="*/ 579722 w 12200990"/>
              <a:gd name="connsiteY3" fmla="*/ 6442075 h 6450932"/>
              <a:gd name="connsiteX4" fmla="*/ 0 w 12200990"/>
              <a:gd name="connsiteY4" fmla="*/ 5862353 h 6450932"/>
              <a:gd name="connsiteX5" fmla="*/ 0 w 12200990"/>
              <a:gd name="connsiteY5" fmla="*/ 1653 h 6450932"/>
              <a:gd name="connsiteX0" fmla="*/ 0 w 11640630"/>
              <a:gd name="connsiteY0" fmla="*/ 1653 h 6450932"/>
              <a:gd name="connsiteX1" fmla="*/ 10876499 w 11640630"/>
              <a:gd name="connsiteY1" fmla="*/ 0 h 6450932"/>
              <a:gd name="connsiteX2" fmla="*/ 10878151 w 11640630"/>
              <a:gd name="connsiteY2" fmla="*/ 6450932 h 6450932"/>
              <a:gd name="connsiteX3" fmla="*/ 579722 w 11640630"/>
              <a:gd name="connsiteY3" fmla="*/ 6442075 h 6450932"/>
              <a:gd name="connsiteX4" fmla="*/ 0 w 11640630"/>
              <a:gd name="connsiteY4" fmla="*/ 5862353 h 6450932"/>
              <a:gd name="connsiteX5" fmla="*/ 0 w 11640630"/>
              <a:gd name="connsiteY5" fmla="*/ 1653 h 6450932"/>
              <a:gd name="connsiteX0" fmla="*/ 0 w 10878151"/>
              <a:gd name="connsiteY0" fmla="*/ 1653 h 6450932"/>
              <a:gd name="connsiteX1" fmla="*/ 10876499 w 10878151"/>
              <a:gd name="connsiteY1" fmla="*/ 0 h 6450932"/>
              <a:gd name="connsiteX2" fmla="*/ 10878151 w 10878151"/>
              <a:gd name="connsiteY2" fmla="*/ 6450932 h 6450932"/>
              <a:gd name="connsiteX3" fmla="*/ 579722 w 10878151"/>
              <a:gd name="connsiteY3" fmla="*/ 6442075 h 6450932"/>
              <a:gd name="connsiteX4" fmla="*/ 0 w 10878151"/>
              <a:gd name="connsiteY4" fmla="*/ 5862353 h 6450932"/>
              <a:gd name="connsiteX5" fmla="*/ 0 w 10878151"/>
              <a:gd name="connsiteY5" fmla="*/ 1653 h 6450932"/>
              <a:gd name="connsiteX0" fmla="*/ 0 w 11843451"/>
              <a:gd name="connsiteY0" fmla="*/ 1653 h 6450932"/>
              <a:gd name="connsiteX1" fmla="*/ 11843451 w 11843451"/>
              <a:gd name="connsiteY1" fmla="*/ 0 h 6450932"/>
              <a:gd name="connsiteX2" fmla="*/ 10878151 w 11843451"/>
              <a:gd name="connsiteY2" fmla="*/ 6450932 h 6450932"/>
              <a:gd name="connsiteX3" fmla="*/ 579722 w 11843451"/>
              <a:gd name="connsiteY3" fmla="*/ 6442075 h 6450932"/>
              <a:gd name="connsiteX4" fmla="*/ 0 w 11843451"/>
              <a:gd name="connsiteY4" fmla="*/ 5862353 h 6450932"/>
              <a:gd name="connsiteX5" fmla="*/ 0 w 11843451"/>
              <a:gd name="connsiteY5" fmla="*/ 1653 h 6450932"/>
              <a:gd name="connsiteX0" fmla="*/ 0 w 11855613"/>
              <a:gd name="connsiteY0" fmla="*/ 1653 h 6450932"/>
              <a:gd name="connsiteX1" fmla="*/ 11843451 w 11855613"/>
              <a:gd name="connsiteY1" fmla="*/ 0 h 6450932"/>
              <a:gd name="connsiteX2" fmla="*/ 11855613 w 11855613"/>
              <a:gd name="connsiteY2" fmla="*/ 6450932 h 6450932"/>
              <a:gd name="connsiteX3" fmla="*/ 579722 w 11855613"/>
              <a:gd name="connsiteY3" fmla="*/ 6442075 h 6450932"/>
              <a:gd name="connsiteX4" fmla="*/ 0 w 11855613"/>
              <a:gd name="connsiteY4" fmla="*/ 5862353 h 6450932"/>
              <a:gd name="connsiteX5" fmla="*/ 0 w 11855613"/>
              <a:gd name="connsiteY5" fmla="*/ 1653 h 6450932"/>
              <a:gd name="connsiteX0" fmla="*/ 0 w 11864472"/>
              <a:gd name="connsiteY0" fmla="*/ 1653 h 6450932"/>
              <a:gd name="connsiteX1" fmla="*/ 11864472 w 11864472"/>
              <a:gd name="connsiteY1" fmla="*/ 0 h 6450932"/>
              <a:gd name="connsiteX2" fmla="*/ 11855613 w 11864472"/>
              <a:gd name="connsiteY2" fmla="*/ 6450932 h 6450932"/>
              <a:gd name="connsiteX3" fmla="*/ 579722 w 11864472"/>
              <a:gd name="connsiteY3" fmla="*/ 6442075 h 6450932"/>
              <a:gd name="connsiteX4" fmla="*/ 0 w 11864472"/>
              <a:gd name="connsiteY4" fmla="*/ 5862353 h 6450932"/>
              <a:gd name="connsiteX5" fmla="*/ 0 w 11864472"/>
              <a:gd name="connsiteY5" fmla="*/ 1653 h 6450932"/>
              <a:gd name="connsiteX0" fmla="*/ 0 w 11864472"/>
              <a:gd name="connsiteY0" fmla="*/ 1653 h 6442075"/>
              <a:gd name="connsiteX1" fmla="*/ 11864472 w 11864472"/>
              <a:gd name="connsiteY1" fmla="*/ 0 h 6442075"/>
              <a:gd name="connsiteX2" fmla="*/ 11855613 w 11864472"/>
              <a:gd name="connsiteY2" fmla="*/ 6440421 h 6442075"/>
              <a:gd name="connsiteX3" fmla="*/ 579722 w 11864472"/>
              <a:gd name="connsiteY3" fmla="*/ 6442075 h 6442075"/>
              <a:gd name="connsiteX4" fmla="*/ 0 w 11864472"/>
              <a:gd name="connsiteY4" fmla="*/ 5862353 h 6442075"/>
              <a:gd name="connsiteX5" fmla="*/ 0 w 11864472"/>
              <a:gd name="connsiteY5" fmla="*/ 1653 h 6442075"/>
              <a:gd name="connsiteX0" fmla="*/ 0 w 11855613"/>
              <a:gd name="connsiteY0" fmla="*/ 1653 h 6442075"/>
              <a:gd name="connsiteX1" fmla="*/ 8912928 w 11855613"/>
              <a:gd name="connsiteY1" fmla="*/ 0 h 6442075"/>
              <a:gd name="connsiteX2" fmla="*/ 11855613 w 11855613"/>
              <a:gd name="connsiteY2" fmla="*/ 6440421 h 6442075"/>
              <a:gd name="connsiteX3" fmla="*/ 579722 w 11855613"/>
              <a:gd name="connsiteY3" fmla="*/ 6442075 h 6442075"/>
              <a:gd name="connsiteX4" fmla="*/ 0 w 11855613"/>
              <a:gd name="connsiteY4" fmla="*/ 5862353 h 6442075"/>
              <a:gd name="connsiteX5" fmla="*/ 0 w 11855613"/>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74032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36077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1615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15642"/>
              <a:gd name="connsiteY0" fmla="*/ 1653 h 6442075"/>
              <a:gd name="connsiteX1" fmla="*/ 8912928 w 8915642"/>
              <a:gd name="connsiteY1" fmla="*/ 0 h 6442075"/>
              <a:gd name="connsiteX2" fmla="*/ 8915642 w 8915642"/>
              <a:gd name="connsiteY2" fmla="*/ 6440421 h 6442075"/>
              <a:gd name="connsiteX3" fmla="*/ 579722 w 8915642"/>
              <a:gd name="connsiteY3" fmla="*/ 6442075 h 6442075"/>
              <a:gd name="connsiteX4" fmla="*/ 0 w 8915642"/>
              <a:gd name="connsiteY4" fmla="*/ 5862353 h 6442075"/>
              <a:gd name="connsiteX5" fmla="*/ 0 w 8915642"/>
              <a:gd name="connsiteY5" fmla="*/ 1653 h 6442075"/>
              <a:gd name="connsiteX0" fmla="*/ 0 w 8915642"/>
              <a:gd name="connsiteY0" fmla="*/ 1 h 6633463"/>
              <a:gd name="connsiteX1" fmla="*/ 8912928 w 8915642"/>
              <a:gd name="connsiteY1" fmla="*/ 191388 h 6633463"/>
              <a:gd name="connsiteX2" fmla="*/ 8915642 w 8915642"/>
              <a:gd name="connsiteY2" fmla="*/ 6631809 h 6633463"/>
              <a:gd name="connsiteX3" fmla="*/ 579722 w 8915642"/>
              <a:gd name="connsiteY3" fmla="*/ 6633463 h 6633463"/>
              <a:gd name="connsiteX4" fmla="*/ 0 w 8915642"/>
              <a:gd name="connsiteY4" fmla="*/ 6053741 h 6633463"/>
              <a:gd name="connsiteX5" fmla="*/ 0 w 8915642"/>
              <a:gd name="connsiteY5" fmla="*/ 1 h 6633463"/>
              <a:gd name="connsiteX0" fmla="*/ 0 w 8933278"/>
              <a:gd name="connsiteY0" fmla="*/ 1653 h 6635115"/>
              <a:gd name="connsiteX1" fmla="*/ 8933248 w 8933278"/>
              <a:gd name="connsiteY1" fmla="*/ 0 h 6635115"/>
              <a:gd name="connsiteX2" fmla="*/ 8915642 w 8933278"/>
              <a:gd name="connsiteY2" fmla="*/ 6633461 h 6635115"/>
              <a:gd name="connsiteX3" fmla="*/ 579722 w 8933278"/>
              <a:gd name="connsiteY3" fmla="*/ 6635115 h 6635115"/>
              <a:gd name="connsiteX4" fmla="*/ 0 w 8933278"/>
              <a:gd name="connsiteY4" fmla="*/ 6055393 h 6635115"/>
              <a:gd name="connsiteX5" fmla="*/ 0 w 8933278"/>
              <a:gd name="connsiteY5" fmla="*/ 1653 h 6635115"/>
              <a:gd name="connsiteX0" fmla="*/ 0 w 8933323"/>
              <a:gd name="connsiteY0" fmla="*/ 1653 h 6645336"/>
              <a:gd name="connsiteX1" fmla="*/ 8933248 w 8933323"/>
              <a:gd name="connsiteY1" fmla="*/ 0 h 6645336"/>
              <a:gd name="connsiteX2" fmla="*/ 8927517 w 8933323"/>
              <a:gd name="connsiteY2" fmla="*/ 6645336 h 6645336"/>
              <a:gd name="connsiteX3" fmla="*/ 579722 w 8933323"/>
              <a:gd name="connsiteY3" fmla="*/ 6635115 h 6645336"/>
              <a:gd name="connsiteX4" fmla="*/ 0 w 8933323"/>
              <a:gd name="connsiteY4" fmla="*/ 6055393 h 6645336"/>
              <a:gd name="connsiteX5" fmla="*/ 0 w 8933323"/>
              <a:gd name="connsiteY5" fmla="*/ 1653 h 6645336"/>
              <a:gd name="connsiteX0" fmla="*/ 0 w 8927517"/>
              <a:gd name="connsiteY0" fmla="*/ 1653 h 6645336"/>
              <a:gd name="connsiteX1" fmla="*/ 7971347 w 8927517"/>
              <a:gd name="connsiteY1" fmla="*/ 0 h 6645336"/>
              <a:gd name="connsiteX2" fmla="*/ 8927517 w 8927517"/>
              <a:gd name="connsiteY2" fmla="*/ 6645336 h 6645336"/>
              <a:gd name="connsiteX3" fmla="*/ 579722 w 8927517"/>
              <a:gd name="connsiteY3" fmla="*/ 6635115 h 6645336"/>
              <a:gd name="connsiteX4" fmla="*/ 0 w 8927517"/>
              <a:gd name="connsiteY4" fmla="*/ 6055393 h 6645336"/>
              <a:gd name="connsiteX5" fmla="*/ 0 w 8927517"/>
              <a:gd name="connsiteY5" fmla="*/ 1653 h 6645336"/>
              <a:gd name="connsiteX0" fmla="*/ 0 w 7971422"/>
              <a:gd name="connsiteY0" fmla="*/ 1653 h 6645336"/>
              <a:gd name="connsiteX1" fmla="*/ 7971347 w 7971422"/>
              <a:gd name="connsiteY1" fmla="*/ 0 h 6645336"/>
              <a:gd name="connsiteX2" fmla="*/ 7965616 w 7971422"/>
              <a:gd name="connsiteY2" fmla="*/ 6645336 h 6645336"/>
              <a:gd name="connsiteX3" fmla="*/ 579722 w 7971422"/>
              <a:gd name="connsiteY3" fmla="*/ 6635115 h 6645336"/>
              <a:gd name="connsiteX4" fmla="*/ 0 w 7971422"/>
              <a:gd name="connsiteY4" fmla="*/ 6055393 h 6645336"/>
              <a:gd name="connsiteX5" fmla="*/ 0 w 7971422"/>
              <a:gd name="connsiteY5" fmla="*/ 1653 h 6645336"/>
              <a:gd name="connsiteX0" fmla="*/ 0 w 7971422"/>
              <a:gd name="connsiteY0" fmla="*/ 1301816 h 6645336"/>
              <a:gd name="connsiteX1" fmla="*/ 7971347 w 7971422"/>
              <a:gd name="connsiteY1" fmla="*/ 0 h 6645336"/>
              <a:gd name="connsiteX2" fmla="*/ 7965616 w 7971422"/>
              <a:gd name="connsiteY2" fmla="*/ 6645336 h 6645336"/>
              <a:gd name="connsiteX3" fmla="*/ 579722 w 7971422"/>
              <a:gd name="connsiteY3" fmla="*/ 6635115 h 6645336"/>
              <a:gd name="connsiteX4" fmla="*/ 0 w 7971422"/>
              <a:gd name="connsiteY4" fmla="*/ 6055393 h 6645336"/>
              <a:gd name="connsiteX5" fmla="*/ 0 w 7971422"/>
              <a:gd name="connsiteY5" fmla="*/ 1301816 h 6645336"/>
              <a:gd name="connsiteX0" fmla="*/ 0 w 7965616"/>
              <a:gd name="connsiteY0" fmla="*/ 1653 h 5345173"/>
              <a:gd name="connsiteX1" fmla="*/ 7957060 w 7965616"/>
              <a:gd name="connsiteY1" fmla="*/ 0 h 5345173"/>
              <a:gd name="connsiteX2" fmla="*/ 7965616 w 7965616"/>
              <a:gd name="connsiteY2" fmla="*/ 5345173 h 5345173"/>
              <a:gd name="connsiteX3" fmla="*/ 579722 w 7965616"/>
              <a:gd name="connsiteY3" fmla="*/ 5334952 h 5345173"/>
              <a:gd name="connsiteX4" fmla="*/ 0 w 7965616"/>
              <a:gd name="connsiteY4" fmla="*/ 4755230 h 5345173"/>
              <a:gd name="connsiteX5" fmla="*/ 0 w 7965616"/>
              <a:gd name="connsiteY5" fmla="*/ 1653 h 5345173"/>
              <a:gd name="connsiteX0" fmla="*/ 0 w 7971422"/>
              <a:gd name="connsiteY0" fmla="*/ 1653 h 5345173"/>
              <a:gd name="connsiteX1" fmla="*/ 7971347 w 7971422"/>
              <a:gd name="connsiteY1" fmla="*/ 0 h 5345173"/>
              <a:gd name="connsiteX2" fmla="*/ 7965616 w 7971422"/>
              <a:gd name="connsiteY2" fmla="*/ 5345173 h 5345173"/>
              <a:gd name="connsiteX3" fmla="*/ 579722 w 7971422"/>
              <a:gd name="connsiteY3" fmla="*/ 5334952 h 5345173"/>
              <a:gd name="connsiteX4" fmla="*/ 0 w 7971422"/>
              <a:gd name="connsiteY4" fmla="*/ 4755230 h 5345173"/>
              <a:gd name="connsiteX5" fmla="*/ 0 w 7971422"/>
              <a:gd name="connsiteY5" fmla="*/ 1653 h 5345173"/>
              <a:gd name="connsiteX0" fmla="*/ 0 w 7988356"/>
              <a:gd name="connsiteY0" fmla="*/ 187920 h 5345173"/>
              <a:gd name="connsiteX1" fmla="*/ 7988281 w 7988356"/>
              <a:gd name="connsiteY1" fmla="*/ 0 h 5345173"/>
              <a:gd name="connsiteX2" fmla="*/ 7982550 w 7988356"/>
              <a:gd name="connsiteY2" fmla="*/ 5345173 h 5345173"/>
              <a:gd name="connsiteX3" fmla="*/ 596656 w 7988356"/>
              <a:gd name="connsiteY3" fmla="*/ 5334952 h 5345173"/>
              <a:gd name="connsiteX4" fmla="*/ 16934 w 7988356"/>
              <a:gd name="connsiteY4" fmla="*/ 4755230 h 5345173"/>
              <a:gd name="connsiteX5" fmla="*/ 0 w 7988356"/>
              <a:gd name="connsiteY5" fmla="*/ 187920 h 5345173"/>
              <a:gd name="connsiteX0" fmla="*/ 0 w 7988356"/>
              <a:gd name="connsiteY0" fmla="*/ 210145 h 5345173"/>
              <a:gd name="connsiteX1" fmla="*/ 7988281 w 7988356"/>
              <a:gd name="connsiteY1" fmla="*/ 0 h 5345173"/>
              <a:gd name="connsiteX2" fmla="*/ 7982550 w 7988356"/>
              <a:gd name="connsiteY2" fmla="*/ 5345173 h 5345173"/>
              <a:gd name="connsiteX3" fmla="*/ 596656 w 7988356"/>
              <a:gd name="connsiteY3" fmla="*/ 5334952 h 5345173"/>
              <a:gd name="connsiteX4" fmla="*/ 16934 w 7988356"/>
              <a:gd name="connsiteY4" fmla="*/ 4755230 h 5345173"/>
              <a:gd name="connsiteX5" fmla="*/ 0 w 7988356"/>
              <a:gd name="connsiteY5" fmla="*/ 210145 h 5345173"/>
              <a:gd name="connsiteX0" fmla="*/ 0 w 7988356"/>
              <a:gd name="connsiteY0" fmla="*/ 0 h 5135028"/>
              <a:gd name="connsiteX1" fmla="*/ 7988281 w 7988356"/>
              <a:gd name="connsiteY1" fmla="*/ 7569 h 5135028"/>
              <a:gd name="connsiteX2" fmla="*/ 7982550 w 7988356"/>
              <a:gd name="connsiteY2" fmla="*/ 5135028 h 5135028"/>
              <a:gd name="connsiteX3" fmla="*/ 596656 w 7988356"/>
              <a:gd name="connsiteY3" fmla="*/ 5124807 h 5135028"/>
              <a:gd name="connsiteX4" fmla="*/ 16934 w 7988356"/>
              <a:gd name="connsiteY4" fmla="*/ 4545085 h 5135028"/>
              <a:gd name="connsiteX5" fmla="*/ 0 w 7988356"/>
              <a:gd name="connsiteY5" fmla="*/ 0 h 5135028"/>
              <a:gd name="connsiteX0" fmla="*/ 0 w 7982550"/>
              <a:gd name="connsiteY0" fmla="*/ 0 h 5135028"/>
              <a:gd name="connsiteX1" fmla="*/ 6028853 w 7982550"/>
              <a:gd name="connsiteY1" fmla="*/ 7569 h 5135028"/>
              <a:gd name="connsiteX2" fmla="*/ 7982550 w 7982550"/>
              <a:gd name="connsiteY2" fmla="*/ 5135028 h 5135028"/>
              <a:gd name="connsiteX3" fmla="*/ 596656 w 7982550"/>
              <a:gd name="connsiteY3" fmla="*/ 5124807 h 5135028"/>
              <a:gd name="connsiteX4" fmla="*/ 16934 w 7982550"/>
              <a:gd name="connsiteY4" fmla="*/ 4545085 h 5135028"/>
              <a:gd name="connsiteX5" fmla="*/ 0 w 7982550"/>
              <a:gd name="connsiteY5" fmla="*/ 0 h 5135028"/>
              <a:gd name="connsiteX0" fmla="*/ 0 w 6037636"/>
              <a:gd name="connsiteY0" fmla="*/ 0 h 5135028"/>
              <a:gd name="connsiteX1" fmla="*/ 6028853 w 6037636"/>
              <a:gd name="connsiteY1" fmla="*/ 7569 h 5135028"/>
              <a:gd name="connsiteX2" fmla="*/ 6037636 w 6037636"/>
              <a:gd name="connsiteY2" fmla="*/ 5135028 h 5135028"/>
              <a:gd name="connsiteX3" fmla="*/ 596656 w 6037636"/>
              <a:gd name="connsiteY3" fmla="*/ 5124807 h 5135028"/>
              <a:gd name="connsiteX4" fmla="*/ 16934 w 6037636"/>
              <a:gd name="connsiteY4" fmla="*/ 4545085 h 5135028"/>
              <a:gd name="connsiteX5" fmla="*/ 0 w 6037636"/>
              <a:gd name="connsiteY5" fmla="*/ 0 h 5135028"/>
              <a:gd name="connsiteX0" fmla="*/ 0 w 6024384"/>
              <a:gd name="connsiteY0" fmla="*/ 0 h 6857810"/>
              <a:gd name="connsiteX1" fmla="*/ 6015601 w 6024384"/>
              <a:gd name="connsiteY1" fmla="*/ 1730351 h 6857810"/>
              <a:gd name="connsiteX2" fmla="*/ 6024384 w 6024384"/>
              <a:gd name="connsiteY2" fmla="*/ 6857810 h 6857810"/>
              <a:gd name="connsiteX3" fmla="*/ 583404 w 6024384"/>
              <a:gd name="connsiteY3" fmla="*/ 6847589 h 6857810"/>
              <a:gd name="connsiteX4" fmla="*/ 3682 w 6024384"/>
              <a:gd name="connsiteY4" fmla="*/ 6267867 h 6857810"/>
              <a:gd name="connsiteX5" fmla="*/ 0 w 6024384"/>
              <a:gd name="connsiteY5" fmla="*/ 0 h 6857810"/>
              <a:gd name="connsiteX0" fmla="*/ 0 w 6024384"/>
              <a:gd name="connsiteY0" fmla="*/ 5684 h 6863494"/>
              <a:gd name="connsiteX1" fmla="*/ 6002349 w 6024384"/>
              <a:gd name="connsiteY1" fmla="*/ 0 h 6863494"/>
              <a:gd name="connsiteX2" fmla="*/ 6024384 w 6024384"/>
              <a:gd name="connsiteY2" fmla="*/ 6863494 h 6863494"/>
              <a:gd name="connsiteX3" fmla="*/ 583404 w 6024384"/>
              <a:gd name="connsiteY3" fmla="*/ 6853273 h 6863494"/>
              <a:gd name="connsiteX4" fmla="*/ 3682 w 6024384"/>
              <a:gd name="connsiteY4" fmla="*/ 6273551 h 6863494"/>
              <a:gd name="connsiteX5" fmla="*/ 0 w 6024384"/>
              <a:gd name="connsiteY5" fmla="*/ 5684 h 68634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024384" h="6863494">
                <a:moveTo>
                  <a:pt x="0" y="5684"/>
                </a:moveTo>
                <a:lnTo>
                  <a:pt x="6002349" y="0"/>
                </a:lnTo>
                <a:cubicBezTo>
                  <a:pt x="6003254" y="2146807"/>
                  <a:pt x="6023479" y="4716687"/>
                  <a:pt x="6024384" y="6863494"/>
                </a:cubicBezTo>
                <a:lnTo>
                  <a:pt x="583404" y="6853273"/>
                </a:lnTo>
                <a:cubicBezTo>
                  <a:pt x="263232" y="6853273"/>
                  <a:pt x="3682" y="6593723"/>
                  <a:pt x="3682" y="6273551"/>
                </a:cubicBezTo>
                <a:cubicBezTo>
                  <a:pt x="-1963" y="4751114"/>
                  <a:pt x="5645" y="1528121"/>
                  <a:pt x="0" y="5684"/>
                </a:cubicBezTo>
                <a:close/>
              </a:path>
            </a:pathLst>
          </a:custGeom>
          <a:noFill/>
        </p:spPr>
        <p:txBody>
          <a:bodyPr>
            <a:normAutofit/>
          </a:bodyPr>
          <a:lstStyle>
            <a:lvl1pPr marL="0" indent="0">
              <a:buNone/>
              <a:defRPr sz="1400">
                <a:solidFill>
                  <a:schemeClr val="tx1"/>
                </a:solidFill>
              </a:defRPr>
            </a:lvl1pPr>
          </a:lstStyle>
          <a:p>
            <a:r>
              <a:rPr lang="en-JP"/>
              <a:t>Insert Photo</a:t>
            </a:r>
          </a:p>
        </p:txBody>
      </p:sp>
      <p:sp>
        <p:nvSpPr>
          <p:cNvPr id="7" name="Text Placeholder 6">
            <a:extLst>
              <a:ext uri="{FF2B5EF4-FFF2-40B4-BE49-F238E27FC236}">
                <a16:creationId xmlns:a16="http://schemas.microsoft.com/office/drawing/2014/main" id="{65925D82-457F-D84D-B8DF-D8ADFD7E71DF}"/>
              </a:ext>
            </a:extLst>
          </p:cNvPr>
          <p:cNvSpPr>
            <a:spLocks noGrp="1"/>
          </p:cNvSpPr>
          <p:nvPr>
            <p:ph type="body" sz="quarter" idx="14" hasCustomPrompt="1"/>
          </p:nvPr>
        </p:nvSpPr>
        <p:spPr>
          <a:xfrm>
            <a:off x="311150" y="3178298"/>
            <a:ext cx="5708650" cy="272786"/>
          </a:xfrm>
          <a:prstGeom prst="rect">
            <a:avLst/>
          </a:prstGeom>
        </p:spPr>
        <p:txBody>
          <a:bodyPr tIns="0" rIns="0" bIns="0" numCol="1">
            <a:noAutofit/>
          </a:bodyPr>
          <a:lstStyle>
            <a:lvl1pPr marL="0" indent="0">
              <a:lnSpc>
                <a:spcPct val="100000"/>
              </a:lnSpc>
              <a:spcBef>
                <a:spcPts val="0"/>
              </a:spcBef>
              <a:spcAft>
                <a:spcPts val="600"/>
              </a:spcAft>
              <a:buNone/>
              <a:defRPr sz="18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Secondary Title</a:t>
            </a:r>
          </a:p>
        </p:txBody>
      </p:sp>
      <p:sp>
        <p:nvSpPr>
          <p:cNvPr id="12" name="Text Placeholder 6">
            <a:extLst>
              <a:ext uri="{FF2B5EF4-FFF2-40B4-BE49-F238E27FC236}">
                <a16:creationId xmlns:a16="http://schemas.microsoft.com/office/drawing/2014/main" id="{FD2406EE-A554-5348-AE6D-4D8B343E6201}"/>
              </a:ext>
            </a:extLst>
          </p:cNvPr>
          <p:cNvSpPr>
            <a:spLocks noGrp="1"/>
          </p:cNvSpPr>
          <p:nvPr>
            <p:ph type="body" sz="quarter" idx="15" hasCustomPrompt="1"/>
          </p:nvPr>
        </p:nvSpPr>
        <p:spPr>
          <a:xfrm>
            <a:off x="311150" y="3575904"/>
            <a:ext cx="5708650" cy="2859620"/>
          </a:xfrm>
          <a:prstGeom prst="rect">
            <a:avLst/>
          </a:prstGeom>
        </p:spPr>
        <p:txBody>
          <a:bodyPr tIns="0" rIns="0" bIns="0" numCol="1">
            <a:noAutofit/>
          </a:bodyPr>
          <a:lstStyle>
            <a:lvl1pPr marL="171450" indent="-171450">
              <a:lnSpc>
                <a:spcPct val="100000"/>
              </a:lnSpc>
              <a:spcBef>
                <a:spcPts val="0"/>
              </a:spcBef>
              <a:spcAft>
                <a:spcPts val="600"/>
              </a:spcAft>
              <a:buFont typeface="Arial" panose="020B0604020202020204" pitchFamily="34" charset="0"/>
              <a:buChar char="•"/>
              <a:defRPr sz="1400" b="0">
                <a:solidFill>
                  <a:schemeClr val="tx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Secondary text. </a:t>
            </a:r>
          </a:p>
        </p:txBody>
      </p:sp>
      <p:sp>
        <p:nvSpPr>
          <p:cNvPr id="17" name="タイトル プレースホルダ 1">
            <a:extLst>
              <a:ext uri="{FF2B5EF4-FFF2-40B4-BE49-F238E27FC236}">
                <a16:creationId xmlns:a16="http://schemas.microsoft.com/office/drawing/2014/main" id="{86D6FEA8-06E4-474A-8491-CD1DDAE7D0D7}"/>
              </a:ext>
            </a:extLst>
          </p:cNvPr>
          <p:cNvSpPr>
            <a:spLocks noGrp="1"/>
          </p:cNvSpPr>
          <p:nvPr>
            <p:ph type="title" hasCustomPrompt="1"/>
          </p:nvPr>
        </p:nvSpPr>
        <p:spPr>
          <a:xfrm>
            <a:off x="606079" y="161605"/>
            <a:ext cx="5413722" cy="685801"/>
          </a:xfrm>
          <a:prstGeom prst="rect">
            <a:avLst/>
          </a:prstGeom>
        </p:spPr>
        <p:txBody>
          <a:bodyPr vert="horz" lIns="0" tIns="0" rIns="0" bIns="0" rtlCol="0" anchor="ctr">
            <a:normAutofit/>
          </a:bodyPr>
          <a:lstStyle/>
          <a:p>
            <a:r>
              <a:rPr kumimoji="1" lang="en-US" altLang="ja-JP"/>
              <a:t>Click to add title</a:t>
            </a:r>
            <a:endParaRPr kumimoji="1" lang="ja-JP" altLang="en-US"/>
          </a:p>
        </p:txBody>
      </p:sp>
      <p:sp>
        <p:nvSpPr>
          <p:cNvPr id="18" name="Rectangle 17">
            <a:extLst>
              <a:ext uri="{FF2B5EF4-FFF2-40B4-BE49-F238E27FC236}">
                <a16:creationId xmlns:a16="http://schemas.microsoft.com/office/drawing/2014/main" id="{CEDBCF76-3461-2245-8BB1-FA50AE27F6CA}"/>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a:solidFill>
                <a:schemeClr val="accent1"/>
              </a:solidFill>
            </a:endParaRPr>
          </a:p>
        </p:txBody>
      </p:sp>
      <p:sp>
        <p:nvSpPr>
          <p:cNvPr id="22" name="スライド番号プレースホルダ 5">
            <a:extLst>
              <a:ext uri="{FF2B5EF4-FFF2-40B4-BE49-F238E27FC236}">
                <a16:creationId xmlns:a16="http://schemas.microsoft.com/office/drawing/2014/main" id="{FB98B4FE-9AC1-D142-89B5-4D3791685BC1}"/>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3" name="Text Placeholder 6">
            <a:extLst>
              <a:ext uri="{FF2B5EF4-FFF2-40B4-BE49-F238E27FC236}">
                <a16:creationId xmlns:a16="http://schemas.microsoft.com/office/drawing/2014/main" id="{7D5A74AA-F0D3-9243-967D-FEA6F7A20BC7}"/>
              </a:ext>
            </a:extLst>
          </p:cNvPr>
          <p:cNvSpPr>
            <a:spLocks noGrp="1"/>
          </p:cNvSpPr>
          <p:nvPr>
            <p:ph type="body" sz="quarter" idx="16" hasCustomPrompt="1"/>
          </p:nvPr>
        </p:nvSpPr>
        <p:spPr>
          <a:xfrm>
            <a:off x="606078" y="6523001"/>
            <a:ext cx="5413722"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Private and confidential. For internal use only.</a:t>
            </a:r>
          </a:p>
        </p:txBody>
      </p:sp>
      <p:sp>
        <p:nvSpPr>
          <p:cNvPr id="19" name="Text Placeholder 2">
            <a:extLst>
              <a:ext uri="{FF2B5EF4-FFF2-40B4-BE49-F238E27FC236}">
                <a16:creationId xmlns:a16="http://schemas.microsoft.com/office/drawing/2014/main" id="{D16C870C-B0F9-5A43-81FD-66BD75CC33C7}"/>
              </a:ext>
            </a:extLst>
          </p:cNvPr>
          <p:cNvSpPr>
            <a:spLocks noGrp="1"/>
          </p:cNvSpPr>
          <p:nvPr>
            <p:ph type="body" sz="quarter" idx="20" hasCustomPrompt="1"/>
          </p:nvPr>
        </p:nvSpPr>
        <p:spPr>
          <a:xfrm>
            <a:off x="311151" y="1491373"/>
            <a:ext cx="5704886" cy="1464957"/>
          </a:xfrm>
        </p:spPr>
        <p:txBody>
          <a:bodyPr tIns="0" rIns="0" bIns="0" numCol="1" spcCol="126000">
            <a:noAutofit/>
          </a:bodyPr>
          <a:lstStyle>
            <a:lvl1pPr marL="0" indent="0">
              <a:lnSpc>
                <a:spcPct val="100000"/>
              </a:lnSpc>
              <a:spcBef>
                <a:spcPts val="0"/>
              </a:spcBef>
              <a:buNone/>
              <a:defRPr sz="1600" b="1"/>
            </a:lvl1pPr>
            <a:lvl2pPr marL="457068" indent="0">
              <a:buNone/>
              <a:defRPr sz="1800" b="1"/>
            </a:lvl2pPr>
            <a:lvl3pPr marL="914149" indent="0">
              <a:buNone/>
              <a:defRPr sz="1800" b="1"/>
            </a:lvl3pPr>
            <a:lvl4pPr marL="1371219" indent="0">
              <a:buNone/>
              <a:defRPr sz="1800" b="1"/>
            </a:lvl4pPr>
            <a:lvl5pPr marL="1828290" indent="0">
              <a:buNone/>
              <a:defRPr sz="1800" b="1"/>
            </a:lvl5pPr>
          </a:lstStyle>
          <a:p>
            <a:pPr lvl="0"/>
            <a:r>
              <a:rPr lang="en-US"/>
              <a:t>This is your Primary Text.</a:t>
            </a:r>
            <a:endParaRPr lang="en-JP"/>
          </a:p>
        </p:txBody>
      </p:sp>
      <p:sp>
        <p:nvSpPr>
          <p:cNvPr id="20" name="Text Placeholder 6">
            <a:extLst>
              <a:ext uri="{FF2B5EF4-FFF2-40B4-BE49-F238E27FC236}">
                <a16:creationId xmlns:a16="http://schemas.microsoft.com/office/drawing/2014/main" id="{C64E591A-1A88-9244-AC81-5B42BFE347C0}"/>
              </a:ext>
            </a:extLst>
          </p:cNvPr>
          <p:cNvSpPr>
            <a:spLocks noGrp="1"/>
          </p:cNvSpPr>
          <p:nvPr>
            <p:ph type="body" sz="quarter" idx="21" hasCustomPrompt="1"/>
          </p:nvPr>
        </p:nvSpPr>
        <p:spPr>
          <a:xfrm>
            <a:off x="311150" y="1093767"/>
            <a:ext cx="5704886" cy="272786"/>
          </a:xfrm>
        </p:spPr>
        <p:txBody>
          <a:bodyPr tIns="0" rIns="0" bIns="0" numCol="1">
            <a:noAutofit/>
          </a:bodyPr>
          <a:lstStyle>
            <a:lvl1pPr marL="0" indent="0">
              <a:lnSpc>
                <a:spcPct val="100000"/>
              </a:lnSpc>
              <a:spcBef>
                <a:spcPts val="0"/>
              </a:spcBef>
              <a:spcAft>
                <a:spcPts val="600"/>
              </a:spcAft>
              <a:buNone/>
              <a:defRPr sz="20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Primary Title</a:t>
            </a:r>
          </a:p>
        </p:txBody>
      </p:sp>
    </p:spTree>
    <p:extLst>
      <p:ext uri="{BB962C8B-B14F-4D97-AF65-F5344CB8AC3E}">
        <p14:creationId xmlns:p14="http://schemas.microsoft.com/office/powerpoint/2010/main" val="2701774108"/>
      </p:ext>
    </p:extLst>
  </p:cSld>
  <p:clrMapOvr>
    <a:masterClrMapping/>
  </p:clrMapOvr>
  <p:transition spd="slow">
    <p:push dir="u"/>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Advanced 1/3 Image">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65925D82-457F-D84D-B8DF-D8ADFD7E71DF}"/>
              </a:ext>
            </a:extLst>
          </p:cNvPr>
          <p:cNvSpPr>
            <a:spLocks noGrp="1"/>
          </p:cNvSpPr>
          <p:nvPr>
            <p:ph type="body" sz="quarter" idx="14" hasCustomPrompt="1"/>
          </p:nvPr>
        </p:nvSpPr>
        <p:spPr>
          <a:xfrm>
            <a:off x="311150" y="3178298"/>
            <a:ext cx="7660042" cy="272786"/>
          </a:xfrm>
          <a:prstGeom prst="rect">
            <a:avLst/>
          </a:prstGeom>
        </p:spPr>
        <p:txBody>
          <a:bodyPr tIns="0" rIns="0" bIns="0" numCol="1">
            <a:noAutofit/>
          </a:bodyPr>
          <a:lstStyle>
            <a:lvl1pPr marL="0" indent="0">
              <a:lnSpc>
                <a:spcPct val="100000"/>
              </a:lnSpc>
              <a:spcBef>
                <a:spcPts val="0"/>
              </a:spcBef>
              <a:spcAft>
                <a:spcPts val="600"/>
              </a:spcAft>
              <a:buNone/>
              <a:defRPr sz="18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Secondary Title</a:t>
            </a:r>
          </a:p>
        </p:txBody>
      </p:sp>
      <p:sp>
        <p:nvSpPr>
          <p:cNvPr id="12" name="Text Placeholder 6">
            <a:extLst>
              <a:ext uri="{FF2B5EF4-FFF2-40B4-BE49-F238E27FC236}">
                <a16:creationId xmlns:a16="http://schemas.microsoft.com/office/drawing/2014/main" id="{FD2406EE-A554-5348-AE6D-4D8B343E6201}"/>
              </a:ext>
            </a:extLst>
          </p:cNvPr>
          <p:cNvSpPr>
            <a:spLocks noGrp="1"/>
          </p:cNvSpPr>
          <p:nvPr>
            <p:ph type="body" sz="quarter" idx="15" hasCustomPrompt="1"/>
          </p:nvPr>
        </p:nvSpPr>
        <p:spPr>
          <a:xfrm>
            <a:off x="311149" y="3575904"/>
            <a:ext cx="7663807" cy="2859621"/>
          </a:xfrm>
          <a:prstGeom prst="rect">
            <a:avLst/>
          </a:prstGeom>
        </p:spPr>
        <p:txBody>
          <a:bodyPr tIns="0" rIns="0" bIns="0" numCol="2" spcCol="126000">
            <a:noAutofit/>
          </a:bodyPr>
          <a:lstStyle>
            <a:lvl1pPr marL="171450" indent="-171450">
              <a:lnSpc>
                <a:spcPct val="100000"/>
              </a:lnSpc>
              <a:spcBef>
                <a:spcPts val="0"/>
              </a:spcBef>
              <a:spcAft>
                <a:spcPts val="600"/>
              </a:spcAft>
              <a:buFont typeface="Arial" panose="020B0604020202020204" pitchFamily="34" charset="0"/>
              <a:buChar char="•"/>
              <a:defRPr sz="1400" b="0">
                <a:solidFill>
                  <a:schemeClr val="tx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Secondary text.</a:t>
            </a:r>
          </a:p>
        </p:txBody>
      </p:sp>
      <p:sp>
        <p:nvSpPr>
          <p:cNvPr id="11" name="Picture Placeholder 9">
            <a:extLst>
              <a:ext uri="{FF2B5EF4-FFF2-40B4-BE49-F238E27FC236}">
                <a16:creationId xmlns:a16="http://schemas.microsoft.com/office/drawing/2014/main" id="{B54C5EE8-C42D-B549-B4D4-C0F00D68A42B}"/>
              </a:ext>
            </a:extLst>
          </p:cNvPr>
          <p:cNvSpPr>
            <a:spLocks noGrp="1"/>
          </p:cNvSpPr>
          <p:nvPr>
            <p:ph type="pic" sz="quarter" idx="18" hasCustomPrompt="1"/>
          </p:nvPr>
        </p:nvSpPr>
        <p:spPr>
          <a:xfrm>
            <a:off x="8136961" y="1093767"/>
            <a:ext cx="4069500" cy="5331536"/>
          </a:xfrm>
          <a:custGeom>
            <a:avLst/>
            <a:gdLst>
              <a:gd name="connsiteX0" fmla="*/ 0 w 10888662"/>
              <a:gd name="connsiteY0" fmla="*/ 579722 h 6442075"/>
              <a:gd name="connsiteX1" fmla="*/ 579722 w 10888662"/>
              <a:gd name="connsiteY1" fmla="*/ 0 h 6442075"/>
              <a:gd name="connsiteX2" fmla="*/ 10308940 w 10888662"/>
              <a:gd name="connsiteY2" fmla="*/ 0 h 6442075"/>
              <a:gd name="connsiteX3" fmla="*/ 10888662 w 10888662"/>
              <a:gd name="connsiteY3" fmla="*/ 579722 h 6442075"/>
              <a:gd name="connsiteX4" fmla="*/ 10888662 w 10888662"/>
              <a:gd name="connsiteY4" fmla="*/ 5862353 h 6442075"/>
              <a:gd name="connsiteX5" fmla="*/ 10308940 w 10888662"/>
              <a:gd name="connsiteY5" fmla="*/ 6442075 h 6442075"/>
              <a:gd name="connsiteX6" fmla="*/ 579722 w 10888662"/>
              <a:gd name="connsiteY6" fmla="*/ 6442075 h 6442075"/>
              <a:gd name="connsiteX7" fmla="*/ 0 w 10888662"/>
              <a:gd name="connsiteY7" fmla="*/ 5862353 h 6442075"/>
              <a:gd name="connsiteX8" fmla="*/ 0 w 10888662"/>
              <a:gd name="connsiteY8" fmla="*/ 579722 h 6442075"/>
              <a:gd name="connsiteX0" fmla="*/ 0 w 10888662"/>
              <a:gd name="connsiteY0" fmla="*/ 659657 h 6522010"/>
              <a:gd name="connsiteX1" fmla="*/ 10308940 w 10888662"/>
              <a:gd name="connsiteY1" fmla="*/ 79935 h 6522010"/>
              <a:gd name="connsiteX2" fmla="*/ 10888662 w 10888662"/>
              <a:gd name="connsiteY2" fmla="*/ 659657 h 6522010"/>
              <a:gd name="connsiteX3" fmla="*/ 10888662 w 10888662"/>
              <a:gd name="connsiteY3" fmla="*/ 5942288 h 6522010"/>
              <a:gd name="connsiteX4" fmla="*/ 10308940 w 10888662"/>
              <a:gd name="connsiteY4" fmla="*/ 6522010 h 6522010"/>
              <a:gd name="connsiteX5" fmla="*/ 579722 w 10888662"/>
              <a:gd name="connsiteY5" fmla="*/ 6522010 h 6522010"/>
              <a:gd name="connsiteX6" fmla="*/ 0 w 10888662"/>
              <a:gd name="connsiteY6" fmla="*/ 5942288 h 6522010"/>
              <a:gd name="connsiteX7" fmla="*/ 0 w 10888662"/>
              <a:gd name="connsiteY7" fmla="*/ 659657 h 6522010"/>
              <a:gd name="connsiteX0" fmla="*/ 0 w 10888662"/>
              <a:gd name="connsiteY0" fmla="*/ 579722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579722 h 6442075"/>
              <a:gd name="connsiteX0" fmla="*/ 0 w 10888662"/>
              <a:gd name="connsiteY0" fmla="*/ 129257 h 6569679"/>
              <a:gd name="connsiteX1" fmla="*/ 10308940 w 10888662"/>
              <a:gd name="connsiteY1" fmla="*/ 127604 h 6569679"/>
              <a:gd name="connsiteX2" fmla="*/ 10888662 w 10888662"/>
              <a:gd name="connsiteY2" fmla="*/ 707326 h 6569679"/>
              <a:gd name="connsiteX3" fmla="*/ 10888662 w 10888662"/>
              <a:gd name="connsiteY3" fmla="*/ 5989957 h 6569679"/>
              <a:gd name="connsiteX4" fmla="*/ 10308940 w 10888662"/>
              <a:gd name="connsiteY4" fmla="*/ 6569679 h 6569679"/>
              <a:gd name="connsiteX5" fmla="*/ 579722 w 10888662"/>
              <a:gd name="connsiteY5" fmla="*/ 6569679 h 6569679"/>
              <a:gd name="connsiteX6" fmla="*/ 0 w 10888662"/>
              <a:gd name="connsiteY6" fmla="*/ 5989957 h 6569679"/>
              <a:gd name="connsiteX7" fmla="*/ 0 w 10888662"/>
              <a:gd name="connsiteY7" fmla="*/ 129257 h 6569679"/>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9657299 w 10888662"/>
              <a:gd name="connsiteY4" fmla="*/ 55276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522010"/>
              <a:gd name="connsiteX1" fmla="*/ 10308940 w 10888662"/>
              <a:gd name="connsiteY1" fmla="*/ 0 h 6522010"/>
              <a:gd name="connsiteX2" fmla="*/ 10888662 w 10888662"/>
              <a:gd name="connsiteY2" fmla="*/ 579722 h 6522010"/>
              <a:gd name="connsiteX3" fmla="*/ 10888662 w 10888662"/>
              <a:gd name="connsiteY3" fmla="*/ 5862353 h 6522010"/>
              <a:gd name="connsiteX4" fmla="*/ 579722 w 10888662"/>
              <a:gd name="connsiteY4" fmla="*/ 6442075 h 6522010"/>
              <a:gd name="connsiteX5" fmla="*/ 0 w 10888662"/>
              <a:gd name="connsiteY5" fmla="*/ 5862353 h 6522010"/>
              <a:gd name="connsiteX6" fmla="*/ 0 w 10888662"/>
              <a:gd name="connsiteY6" fmla="*/ 1653 h 6522010"/>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579722 w 10888662"/>
              <a:gd name="connsiteY4" fmla="*/ 6442075 h 6442075"/>
              <a:gd name="connsiteX5" fmla="*/ 0 w 10888662"/>
              <a:gd name="connsiteY5" fmla="*/ 5862353 h 6442075"/>
              <a:gd name="connsiteX6" fmla="*/ 0 w 10888662"/>
              <a:gd name="connsiteY6" fmla="*/ 1653 h 6442075"/>
              <a:gd name="connsiteX0" fmla="*/ 0 w 10888662"/>
              <a:gd name="connsiteY0" fmla="*/ 1653 h 6585432"/>
              <a:gd name="connsiteX1" fmla="*/ 10308940 w 10888662"/>
              <a:gd name="connsiteY1" fmla="*/ 0 h 6585432"/>
              <a:gd name="connsiteX2" fmla="*/ 10888662 w 10888662"/>
              <a:gd name="connsiteY2" fmla="*/ 579722 h 6585432"/>
              <a:gd name="connsiteX3" fmla="*/ 10878151 w 10888662"/>
              <a:gd name="connsiteY3" fmla="*/ 6461442 h 6585432"/>
              <a:gd name="connsiteX4" fmla="*/ 579722 w 10888662"/>
              <a:gd name="connsiteY4" fmla="*/ 6442075 h 6585432"/>
              <a:gd name="connsiteX5" fmla="*/ 0 w 10888662"/>
              <a:gd name="connsiteY5" fmla="*/ 5862353 h 6585432"/>
              <a:gd name="connsiteX6" fmla="*/ 0 w 10888662"/>
              <a:gd name="connsiteY6" fmla="*/ 1653 h 6585432"/>
              <a:gd name="connsiteX0" fmla="*/ 0 w 10888662"/>
              <a:gd name="connsiteY0" fmla="*/ 1653 h 6577502"/>
              <a:gd name="connsiteX1" fmla="*/ 10308940 w 10888662"/>
              <a:gd name="connsiteY1" fmla="*/ 0 h 6577502"/>
              <a:gd name="connsiteX2" fmla="*/ 10888662 w 10888662"/>
              <a:gd name="connsiteY2" fmla="*/ 579722 h 6577502"/>
              <a:gd name="connsiteX3" fmla="*/ 10878151 w 10888662"/>
              <a:gd name="connsiteY3" fmla="*/ 6450932 h 6577502"/>
              <a:gd name="connsiteX4" fmla="*/ 579722 w 10888662"/>
              <a:gd name="connsiteY4" fmla="*/ 6442075 h 6577502"/>
              <a:gd name="connsiteX5" fmla="*/ 0 w 10888662"/>
              <a:gd name="connsiteY5" fmla="*/ 5862353 h 6577502"/>
              <a:gd name="connsiteX6" fmla="*/ 0 w 10888662"/>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0888662"/>
              <a:gd name="connsiteY0" fmla="*/ 1653 h 6450932"/>
              <a:gd name="connsiteX1" fmla="*/ 10308940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0999550"/>
              <a:gd name="connsiteY0" fmla="*/ 1653 h 6450932"/>
              <a:gd name="connsiteX1" fmla="*/ 10844968 w 10999550"/>
              <a:gd name="connsiteY1" fmla="*/ 0 h 6450932"/>
              <a:gd name="connsiteX2" fmla="*/ 10888662 w 10999550"/>
              <a:gd name="connsiteY2" fmla="*/ 579722 h 6450932"/>
              <a:gd name="connsiteX3" fmla="*/ 10878151 w 10999550"/>
              <a:gd name="connsiteY3" fmla="*/ 6450932 h 6450932"/>
              <a:gd name="connsiteX4" fmla="*/ 579722 w 10999550"/>
              <a:gd name="connsiteY4" fmla="*/ 6442075 h 6450932"/>
              <a:gd name="connsiteX5" fmla="*/ 0 w 10999550"/>
              <a:gd name="connsiteY5" fmla="*/ 5862353 h 6450932"/>
              <a:gd name="connsiteX6" fmla="*/ 0 w 10999550"/>
              <a:gd name="connsiteY6" fmla="*/ 1653 h 6450932"/>
              <a:gd name="connsiteX0" fmla="*/ 0 w 11022020"/>
              <a:gd name="connsiteY0" fmla="*/ 1653 h 6450932"/>
              <a:gd name="connsiteX1" fmla="*/ 10876499 w 11022020"/>
              <a:gd name="connsiteY1" fmla="*/ 0 h 6450932"/>
              <a:gd name="connsiteX2" fmla="*/ 10888662 w 11022020"/>
              <a:gd name="connsiteY2" fmla="*/ 579722 h 6450932"/>
              <a:gd name="connsiteX3" fmla="*/ 10878151 w 11022020"/>
              <a:gd name="connsiteY3" fmla="*/ 6450932 h 6450932"/>
              <a:gd name="connsiteX4" fmla="*/ 579722 w 11022020"/>
              <a:gd name="connsiteY4" fmla="*/ 6442075 h 6450932"/>
              <a:gd name="connsiteX5" fmla="*/ 0 w 11022020"/>
              <a:gd name="connsiteY5" fmla="*/ 5862353 h 6450932"/>
              <a:gd name="connsiteX6" fmla="*/ 0 w 11022020"/>
              <a:gd name="connsiteY6" fmla="*/ 1653 h 6450932"/>
              <a:gd name="connsiteX0" fmla="*/ 0 w 10888662"/>
              <a:gd name="connsiteY0" fmla="*/ 1653 h 6450932"/>
              <a:gd name="connsiteX1" fmla="*/ 10876499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2200990"/>
              <a:gd name="connsiteY0" fmla="*/ 1653 h 6450932"/>
              <a:gd name="connsiteX1" fmla="*/ 10876499 w 12200990"/>
              <a:gd name="connsiteY1" fmla="*/ 0 h 6450932"/>
              <a:gd name="connsiteX2" fmla="*/ 10878151 w 12200990"/>
              <a:gd name="connsiteY2" fmla="*/ 6450932 h 6450932"/>
              <a:gd name="connsiteX3" fmla="*/ 579722 w 12200990"/>
              <a:gd name="connsiteY3" fmla="*/ 6442075 h 6450932"/>
              <a:gd name="connsiteX4" fmla="*/ 0 w 12200990"/>
              <a:gd name="connsiteY4" fmla="*/ 5862353 h 6450932"/>
              <a:gd name="connsiteX5" fmla="*/ 0 w 12200990"/>
              <a:gd name="connsiteY5" fmla="*/ 1653 h 6450932"/>
              <a:gd name="connsiteX0" fmla="*/ 0 w 11640630"/>
              <a:gd name="connsiteY0" fmla="*/ 1653 h 6450932"/>
              <a:gd name="connsiteX1" fmla="*/ 10876499 w 11640630"/>
              <a:gd name="connsiteY1" fmla="*/ 0 h 6450932"/>
              <a:gd name="connsiteX2" fmla="*/ 10878151 w 11640630"/>
              <a:gd name="connsiteY2" fmla="*/ 6450932 h 6450932"/>
              <a:gd name="connsiteX3" fmla="*/ 579722 w 11640630"/>
              <a:gd name="connsiteY3" fmla="*/ 6442075 h 6450932"/>
              <a:gd name="connsiteX4" fmla="*/ 0 w 11640630"/>
              <a:gd name="connsiteY4" fmla="*/ 5862353 h 6450932"/>
              <a:gd name="connsiteX5" fmla="*/ 0 w 11640630"/>
              <a:gd name="connsiteY5" fmla="*/ 1653 h 6450932"/>
              <a:gd name="connsiteX0" fmla="*/ 0 w 10878151"/>
              <a:gd name="connsiteY0" fmla="*/ 1653 h 6450932"/>
              <a:gd name="connsiteX1" fmla="*/ 10876499 w 10878151"/>
              <a:gd name="connsiteY1" fmla="*/ 0 h 6450932"/>
              <a:gd name="connsiteX2" fmla="*/ 10878151 w 10878151"/>
              <a:gd name="connsiteY2" fmla="*/ 6450932 h 6450932"/>
              <a:gd name="connsiteX3" fmla="*/ 579722 w 10878151"/>
              <a:gd name="connsiteY3" fmla="*/ 6442075 h 6450932"/>
              <a:gd name="connsiteX4" fmla="*/ 0 w 10878151"/>
              <a:gd name="connsiteY4" fmla="*/ 5862353 h 6450932"/>
              <a:gd name="connsiteX5" fmla="*/ 0 w 10878151"/>
              <a:gd name="connsiteY5" fmla="*/ 1653 h 6450932"/>
              <a:gd name="connsiteX0" fmla="*/ 0 w 11843451"/>
              <a:gd name="connsiteY0" fmla="*/ 1653 h 6450932"/>
              <a:gd name="connsiteX1" fmla="*/ 11843451 w 11843451"/>
              <a:gd name="connsiteY1" fmla="*/ 0 h 6450932"/>
              <a:gd name="connsiteX2" fmla="*/ 10878151 w 11843451"/>
              <a:gd name="connsiteY2" fmla="*/ 6450932 h 6450932"/>
              <a:gd name="connsiteX3" fmla="*/ 579722 w 11843451"/>
              <a:gd name="connsiteY3" fmla="*/ 6442075 h 6450932"/>
              <a:gd name="connsiteX4" fmla="*/ 0 w 11843451"/>
              <a:gd name="connsiteY4" fmla="*/ 5862353 h 6450932"/>
              <a:gd name="connsiteX5" fmla="*/ 0 w 11843451"/>
              <a:gd name="connsiteY5" fmla="*/ 1653 h 6450932"/>
              <a:gd name="connsiteX0" fmla="*/ 0 w 11855613"/>
              <a:gd name="connsiteY0" fmla="*/ 1653 h 6450932"/>
              <a:gd name="connsiteX1" fmla="*/ 11843451 w 11855613"/>
              <a:gd name="connsiteY1" fmla="*/ 0 h 6450932"/>
              <a:gd name="connsiteX2" fmla="*/ 11855613 w 11855613"/>
              <a:gd name="connsiteY2" fmla="*/ 6450932 h 6450932"/>
              <a:gd name="connsiteX3" fmla="*/ 579722 w 11855613"/>
              <a:gd name="connsiteY3" fmla="*/ 6442075 h 6450932"/>
              <a:gd name="connsiteX4" fmla="*/ 0 w 11855613"/>
              <a:gd name="connsiteY4" fmla="*/ 5862353 h 6450932"/>
              <a:gd name="connsiteX5" fmla="*/ 0 w 11855613"/>
              <a:gd name="connsiteY5" fmla="*/ 1653 h 6450932"/>
              <a:gd name="connsiteX0" fmla="*/ 0 w 11864472"/>
              <a:gd name="connsiteY0" fmla="*/ 1653 h 6450932"/>
              <a:gd name="connsiteX1" fmla="*/ 11864472 w 11864472"/>
              <a:gd name="connsiteY1" fmla="*/ 0 h 6450932"/>
              <a:gd name="connsiteX2" fmla="*/ 11855613 w 11864472"/>
              <a:gd name="connsiteY2" fmla="*/ 6450932 h 6450932"/>
              <a:gd name="connsiteX3" fmla="*/ 579722 w 11864472"/>
              <a:gd name="connsiteY3" fmla="*/ 6442075 h 6450932"/>
              <a:gd name="connsiteX4" fmla="*/ 0 w 11864472"/>
              <a:gd name="connsiteY4" fmla="*/ 5862353 h 6450932"/>
              <a:gd name="connsiteX5" fmla="*/ 0 w 11864472"/>
              <a:gd name="connsiteY5" fmla="*/ 1653 h 6450932"/>
              <a:gd name="connsiteX0" fmla="*/ 0 w 11864472"/>
              <a:gd name="connsiteY0" fmla="*/ 1653 h 6442075"/>
              <a:gd name="connsiteX1" fmla="*/ 11864472 w 11864472"/>
              <a:gd name="connsiteY1" fmla="*/ 0 h 6442075"/>
              <a:gd name="connsiteX2" fmla="*/ 11855613 w 11864472"/>
              <a:gd name="connsiteY2" fmla="*/ 6440421 h 6442075"/>
              <a:gd name="connsiteX3" fmla="*/ 579722 w 11864472"/>
              <a:gd name="connsiteY3" fmla="*/ 6442075 h 6442075"/>
              <a:gd name="connsiteX4" fmla="*/ 0 w 11864472"/>
              <a:gd name="connsiteY4" fmla="*/ 5862353 h 6442075"/>
              <a:gd name="connsiteX5" fmla="*/ 0 w 11864472"/>
              <a:gd name="connsiteY5" fmla="*/ 1653 h 6442075"/>
              <a:gd name="connsiteX0" fmla="*/ 0 w 11855613"/>
              <a:gd name="connsiteY0" fmla="*/ 1653 h 6442075"/>
              <a:gd name="connsiteX1" fmla="*/ 8912928 w 11855613"/>
              <a:gd name="connsiteY1" fmla="*/ 0 h 6442075"/>
              <a:gd name="connsiteX2" fmla="*/ 11855613 w 11855613"/>
              <a:gd name="connsiteY2" fmla="*/ 6440421 h 6442075"/>
              <a:gd name="connsiteX3" fmla="*/ 579722 w 11855613"/>
              <a:gd name="connsiteY3" fmla="*/ 6442075 h 6442075"/>
              <a:gd name="connsiteX4" fmla="*/ 0 w 11855613"/>
              <a:gd name="connsiteY4" fmla="*/ 5862353 h 6442075"/>
              <a:gd name="connsiteX5" fmla="*/ 0 w 11855613"/>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74032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36077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1615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15642"/>
              <a:gd name="connsiteY0" fmla="*/ 1653 h 6442075"/>
              <a:gd name="connsiteX1" fmla="*/ 8912928 w 8915642"/>
              <a:gd name="connsiteY1" fmla="*/ 0 h 6442075"/>
              <a:gd name="connsiteX2" fmla="*/ 8915642 w 8915642"/>
              <a:gd name="connsiteY2" fmla="*/ 6440421 h 6442075"/>
              <a:gd name="connsiteX3" fmla="*/ 579722 w 8915642"/>
              <a:gd name="connsiteY3" fmla="*/ 6442075 h 6442075"/>
              <a:gd name="connsiteX4" fmla="*/ 0 w 8915642"/>
              <a:gd name="connsiteY4" fmla="*/ 5862353 h 6442075"/>
              <a:gd name="connsiteX5" fmla="*/ 0 w 8915642"/>
              <a:gd name="connsiteY5" fmla="*/ 1653 h 6442075"/>
              <a:gd name="connsiteX0" fmla="*/ 0 w 8915642"/>
              <a:gd name="connsiteY0" fmla="*/ 1 h 6633463"/>
              <a:gd name="connsiteX1" fmla="*/ 8912928 w 8915642"/>
              <a:gd name="connsiteY1" fmla="*/ 191388 h 6633463"/>
              <a:gd name="connsiteX2" fmla="*/ 8915642 w 8915642"/>
              <a:gd name="connsiteY2" fmla="*/ 6631809 h 6633463"/>
              <a:gd name="connsiteX3" fmla="*/ 579722 w 8915642"/>
              <a:gd name="connsiteY3" fmla="*/ 6633463 h 6633463"/>
              <a:gd name="connsiteX4" fmla="*/ 0 w 8915642"/>
              <a:gd name="connsiteY4" fmla="*/ 6053741 h 6633463"/>
              <a:gd name="connsiteX5" fmla="*/ 0 w 8915642"/>
              <a:gd name="connsiteY5" fmla="*/ 1 h 6633463"/>
              <a:gd name="connsiteX0" fmla="*/ 0 w 8933278"/>
              <a:gd name="connsiteY0" fmla="*/ 1653 h 6635115"/>
              <a:gd name="connsiteX1" fmla="*/ 8933248 w 8933278"/>
              <a:gd name="connsiteY1" fmla="*/ 0 h 6635115"/>
              <a:gd name="connsiteX2" fmla="*/ 8915642 w 8933278"/>
              <a:gd name="connsiteY2" fmla="*/ 6633461 h 6635115"/>
              <a:gd name="connsiteX3" fmla="*/ 579722 w 8933278"/>
              <a:gd name="connsiteY3" fmla="*/ 6635115 h 6635115"/>
              <a:gd name="connsiteX4" fmla="*/ 0 w 8933278"/>
              <a:gd name="connsiteY4" fmla="*/ 6055393 h 6635115"/>
              <a:gd name="connsiteX5" fmla="*/ 0 w 8933278"/>
              <a:gd name="connsiteY5" fmla="*/ 1653 h 6635115"/>
              <a:gd name="connsiteX0" fmla="*/ 0 w 8933323"/>
              <a:gd name="connsiteY0" fmla="*/ 1653 h 6645336"/>
              <a:gd name="connsiteX1" fmla="*/ 8933248 w 8933323"/>
              <a:gd name="connsiteY1" fmla="*/ 0 h 6645336"/>
              <a:gd name="connsiteX2" fmla="*/ 8927517 w 8933323"/>
              <a:gd name="connsiteY2" fmla="*/ 6645336 h 6645336"/>
              <a:gd name="connsiteX3" fmla="*/ 579722 w 8933323"/>
              <a:gd name="connsiteY3" fmla="*/ 6635115 h 6645336"/>
              <a:gd name="connsiteX4" fmla="*/ 0 w 8933323"/>
              <a:gd name="connsiteY4" fmla="*/ 6055393 h 6645336"/>
              <a:gd name="connsiteX5" fmla="*/ 0 w 8933323"/>
              <a:gd name="connsiteY5" fmla="*/ 1653 h 6645336"/>
              <a:gd name="connsiteX0" fmla="*/ 0 w 8927517"/>
              <a:gd name="connsiteY0" fmla="*/ 1653 h 6645336"/>
              <a:gd name="connsiteX1" fmla="*/ 7971347 w 8927517"/>
              <a:gd name="connsiteY1" fmla="*/ 0 h 6645336"/>
              <a:gd name="connsiteX2" fmla="*/ 8927517 w 8927517"/>
              <a:gd name="connsiteY2" fmla="*/ 6645336 h 6645336"/>
              <a:gd name="connsiteX3" fmla="*/ 579722 w 8927517"/>
              <a:gd name="connsiteY3" fmla="*/ 6635115 h 6645336"/>
              <a:gd name="connsiteX4" fmla="*/ 0 w 8927517"/>
              <a:gd name="connsiteY4" fmla="*/ 6055393 h 6645336"/>
              <a:gd name="connsiteX5" fmla="*/ 0 w 8927517"/>
              <a:gd name="connsiteY5" fmla="*/ 1653 h 6645336"/>
              <a:gd name="connsiteX0" fmla="*/ 0 w 7971422"/>
              <a:gd name="connsiteY0" fmla="*/ 1653 h 6645336"/>
              <a:gd name="connsiteX1" fmla="*/ 7971347 w 7971422"/>
              <a:gd name="connsiteY1" fmla="*/ 0 h 6645336"/>
              <a:gd name="connsiteX2" fmla="*/ 7965616 w 7971422"/>
              <a:gd name="connsiteY2" fmla="*/ 6645336 h 6645336"/>
              <a:gd name="connsiteX3" fmla="*/ 579722 w 7971422"/>
              <a:gd name="connsiteY3" fmla="*/ 6635115 h 6645336"/>
              <a:gd name="connsiteX4" fmla="*/ 0 w 7971422"/>
              <a:gd name="connsiteY4" fmla="*/ 6055393 h 6645336"/>
              <a:gd name="connsiteX5" fmla="*/ 0 w 7971422"/>
              <a:gd name="connsiteY5" fmla="*/ 1653 h 6645336"/>
              <a:gd name="connsiteX0" fmla="*/ 0 w 7971422"/>
              <a:gd name="connsiteY0" fmla="*/ 1301816 h 6645336"/>
              <a:gd name="connsiteX1" fmla="*/ 7971347 w 7971422"/>
              <a:gd name="connsiteY1" fmla="*/ 0 h 6645336"/>
              <a:gd name="connsiteX2" fmla="*/ 7965616 w 7971422"/>
              <a:gd name="connsiteY2" fmla="*/ 6645336 h 6645336"/>
              <a:gd name="connsiteX3" fmla="*/ 579722 w 7971422"/>
              <a:gd name="connsiteY3" fmla="*/ 6635115 h 6645336"/>
              <a:gd name="connsiteX4" fmla="*/ 0 w 7971422"/>
              <a:gd name="connsiteY4" fmla="*/ 6055393 h 6645336"/>
              <a:gd name="connsiteX5" fmla="*/ 0 w 7971422"/>
              <a:gd name="connsiteY5" fmla="*/ 1301816 h 6645336"/>
              <a:gd name="connsiteX0" fmla="*/ 0 w 7965616"/>
              <a:gd name="connsiteY0" fmla="*/ 1653 h 5345173"/>
              <a:gd name="connsiteX1" fmla="*/ 7957060 w 7965616"/>
              <a:gd name="connsiteY1" fmla="*/ 0 h 5345173"/>
              <a:gd name="connsiteX2" fmla="*/ 7965616 w 7965616"/>
              <a:gd name="connsiteY2" fmla="*/ 5345173 h 5345173"/>
              <a:gd name="connsiteX3" fmla="*/ 579722 w 7965616"/>
              <a:gd name="connsiteY3" fmla="*/ 5334952 h 5345173"/>
              <a:gd name="connsiteX4" fmla="*/ 0 w 7965616"/>
              <a:gd name="connsiteY4" fmla="*/ 4755230 h 5345173"/>
              <a:gd name="connsiteX5" fmla="*/ 0 w 7965616"/>
              <a:gd name="connsiteY5" fmla="*/ 1653 h 5345173"/>
              <a:gd name="connsiteX0" fmla="*/ 0 w 7971422"/>
              <a:gd name="connsiteY0" fmla="*/ 1653 h 5345173"/>
              <a:gd name="connsiteX1" fmla="*/ 7971347 w 7971422"/>
              <a:gd name="connsiteY1" fmla="*/ 0 h 5345173"/>
              <a:gd name="connsiteX2" fmla="*/ 7965616 w 7971422"/>
              <a:gd name="connsiteY2" fmla="*/ 5345173 h 5345173"/>
              <a:gd name="connsiteX3" fmla="*/ 579722 w 7971422"/>
              <a:gd name="connsiteY3" fmla="*/ 5334952 h 5345173"/>
              <a:gd name="connsiteX4" fmla="*/ 0 w 7971422"/>
              <a:gd name="connsiteY4" fmla="*/ 4755230 h 5345173"/>
              <a:gd name="connsiteX5" fmla="*/ 0 w 7971422"/>
              <a:gd name="connsiteY5" fmla="*/ 1653 h 5345173"/>
              <a:gd name="connsiteX0" fmla="*/ 0 w 7988356"/>
              <a:gd name="connsiteY0" fmla="*/ 187920 h 5345173"/>
              <a:gd name="connsiteX1" fmla="*/ 7988281 w 7988356"/>
              <a:gd name="connsiteY1" fmla="*/ 0 h 5345173"/>
              <a:gd name="connsiteX2" fmla="*/ 7982550 w 7988356"/>
              <a:gd name="connsiteY2" fmla="*/ 5345173 h 5345173"/>
              <a:gd name="connsiteX3" fmla="*/ 596656 w 7988356"/>
              <a:gd name="connsiteY3" fmla="*/ 5334952 h 5345173"/>
              <a:gd name="connsiteX4" fmla="*/ 16934 w 7988356"/>
              <a:gd name="connsiteY4" fmla="*/ 4755230 h 5345173"/>
              <a:gd name="connsiteX5" fmla="*/ 0 w 7988356"/>
              <a:gd name="connsiteY5" fmla="*/ 187920 h 5345173"/>
              <a:gd name="connsiteX0" fmla="*/ 0 w 7988356"/>
              <a:gd name="connsiteY0" fmla="*/ 210145 h 5345173"/>
              <a:gd name="connsiteX1" fmla="*/ 7988281 w 7988356"/>
              <a:gd name="connsiteY1" fmla="*/ 0 h 5345173"/>
              <a:gd name="connsiteX2" fmla="*/ 7982550 w 7988356"/>
              <a:gd name="connsiteY2" fmla="*/ 5345173 h 5345173"/>
              <a:gd name="connsiteX3" fmla="*/ 596656 w 7988356"/>
              <a:gd name="connsiteY3" fmla="*/ 5334952 h 5345173"/>
              <a:gd name="connsiteX4" fmla="*/ 16934 w 7988356"/>
              <a:gd name="connsiteY4" fmla="*/ 4755230 h 5345173"/>
              <a:gd name="connsiteX5" fmla="*/ 0 w 7988356"/>
              <a:gd name="connsiteY5" fmla="*/ 210145 h 5345173"/>
              <a:gd name="connsiteX0" fmla="*/ 0 w 7988356"/>
              <a:gd name="connsiteY0" fmla="*/ 0 h 5135028"/>
              <a:gd name="connsiteX1" fmla="*/ 7988281 w 7988356"/>
              <a:gd name="connsiteY1" fmla="*/ 7569 h 5135028"/>
              <a:gd name="connsiteX2" fmla="*/ 7982550 w 7988356"/>
              <a:gd name="connsiteY2" fmla="*/ 5135028 h 5135028"/>
              <a:gd name="connsiteX3" fmla="*/ 596656 w 7988356"/>
              <a:gd name="connsiteY3" fmla="*/ 5124807 h 5135028"/>
              <a:gd name="connsiteX4" fmla="*/ 16934 w 7988356"/>
              <a:gd name="connsiteY4" fmla="*/ 4545085 h 5135028"/>
              <a:gd name="connsiteX5" fmla="*/ 0 w 7988356"/>
              <a:gd name="connsiteY5" fmla="*/ 0 h 5135028"/>
              <a:gd name="connsiteX0" fmla="*/ 0 w 7982550"/>
              <a:gd name="connsiteY0" fmla="*/ 0 h 5135028"/>
              <a:gd name="connsiteX1" fmla="*/ 6028853 w 7982550"/>
              <a:gd name="connsiteY1" fmla="*/ 7569 h 5135028"/>
              <a:gd name="connsiteX2" fmla="*/ 7982550 w 7982550"/>
              <a:gd name="connsiteY2" fmla="*/ 5135028 h 5135028"/>
              <a:gd name="connsiteX3" fmla="*/ 596656 w 7982550"/>
              <a:gd name="connsiteY3" fmla="*/ 5124807 h 5135028"/>
              <a:gd name="connsiteX4" fmla="*/ 16934 w 7982550"/>
              <a:gd name="connsiteY4" fmla="*/ 4545085 h 5135028"/>
              <a:gd name="connsiteX5" fmla="*/ 0 w 7982550"/>
              <a:gd name="connsiteY5" fmla="*/ 0 h 5135028"/>
              <a:gd name="connsiteX0" fmla="*/ 0 w 6037636"/>
              <a:gd name="connsiteY0" fmla="*/ 0 h 5135028"/>
              <a:gd name="connsiteX1" fmla="*/ 6028853 w 6037636"/>
              <a:gd name="connsiteY1" fmla="*/ 7569 h 5135028"/>
              <a:gd name="connsiteX2" fmla="*/ 6037636 w 6037636"/>
              <a:gd name="connsiteY2" fmla="*/ 5135028 h 5135028"/>
              <a:gd name="connsiteX3" fmla="*/ 596656 w 6037636"/>
              <a:gd name="connsiteY3" fmla="*/ 5124807 h 5135028"/>
              <a:gd name="connsiteX4" fmla="*/ 16934 w 6037636"/>
              <a:gd name="connsiteY4" fmla="*/ 4545085 h 5135028"/>
              <a:gd name="connsiteX5" fmla="*/ 0 w 6037636"/>
              <a:gd name="connsiteY5" fmla="*/ 0 h 5135028"/>
              <a:gd name="connsiteX0" fmla="*/ 0 w 6028853"/>
              <a:gd name="connsiteY0" fmla="*/ 0 h 5124807"/>
              <a:gd name="connsiteX1" fmla="*/ 6028853 w 6028853"/>
              <a:gd name="connsiteY1" fmla="*/ 7569 h 5124807"/>
              <a:gd name="connsiteX2" fmla="*/ 4063693 w 6028853"/>
              <a:gd name="connsiteY2" fmla="*/ 5105999 h 5124807"/>
              <a:gd name="connsiteX3" fmla="*/ 596656 w 6028853"/>
              <a:gd name="connsiteY3" fmla="*/ 5124807 h 5124807"/>
              <a:gd name="connsiteX4" fmla="*/ 16934 w 6028853"/>
              <a:gd name="connsiteY4" fmla="*/ 4545085 h 5124807"/>
              <a:gd name="connsiteX5" fmla="*/ 0 w 6028853"/>
              <a:gd name="connsiteY5" fmla="*/ 0 h 5124807"/>
              <a:gd name="connsiteX0" fmla="*/ 0 w 4069500"/>
              <a:gd name="connsiteY0" fmla="*/ 0 h 5124807"/>
              <a:gd name="connsiteX1" fmla="*/ 4069425 w 4069500"/>
              <a:gd name="connsiteY1" fmla="*/ 7569 h 5124807"/>
              <a:gd name="connsiteX2" fmla="*/ 4063693 w 4069500"/>
              <a:gd name="connsiteY2" fmla="*/ 5105999 h 5124807"/>
              <a:gd name="connsiteX3" fmla="*/ 596656 w 4069500"/>
              <a:gd name="connsiteY3" fmla="*/ 5124807 h 5124807"/>
              <a:gd name="connsiteX4" fmla="*/ 16934 w 4069500"/>
              <a:gd name="connsiteY4" fmla="*/ 4545085 h 5124807"/>
              <a:gd name="connsiteX5" fmla="*/ 0 w 4069500"/>
              <a:gd name="connsiteY5" fmla="*/ 0 h 5124807"/>
              <a:gd name="connsiteX0" fmla="*/ 0 w 4069500"/>
              <a:gd name="connsiteY0" fmla="*/ 6946 h 5131753"/>
              <a:gd name="connsiteX1" fmla="*/ 4069425 w 4069500"/>
              <a:gd name="connsiteY1" fmla="*/ 0 h 5131753"/>
              <a:gd name="connsiteX2" fmla="*/ 4063693 w 4069500"/>
              <a:gd name="connsiteY2" fmla="*/ 5112945 h 5131753"/>
              <a:gd name="connsiteX3" fmla="*/ 596656 w 4069500"/>
              <a:gd name="connsiteY3" fmla="*/ 5131753 h 5131753"/>
              <a:gd name="connsiteX4" fmla="*/ 16934 w 4069500"/>
              <a:gd name="connsiteY4" fmla="*/ 4552031 h 5131753"/>
              <a:gd name="connsiteX5" fmla="*/ 0 w 4069500"/>
              <a:gd name="connsiteY5" fmla="*/ 6946 h 51317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069500" h="5131753">
                <a:moveTo>
                  <a:pt x="0" y="6946"/>
                </a:moveTo>
                <a:lnTo>
                  <a:pt x="4069425" y="0"/>
                </a:lnTo>
                <a:cubicBezTo>
                  <a:pt x="4070330" y="2146807"/>
                  <a:pt x="4062788" y="2966138"/>
                  <a:pt x="4063693" y="5112945"/>
                </a:cubicBezTo>
                <a:lnTo>
                  <a:pt x="596656" y="5131753"/>
                </a:lnTo>
                <a:cubicBezTo>
                  <a:pt x="276484" y="5131753"/>
                  <a:pt x="16934" y="4872203"/>
                  <a:pt x="16934" y="4552031"/>
                </a:cubicBezTo>
                <a:cubicBezTo>
                  <a:pt x="11289" y="3029594"/>
                  <a:pt x="5645" y="1529383"/>
                  <a:pt x="0" y="6946"/>
                </a:cubicBezTo>
                <a:close/>
              </a:path>
            </a:pathLst>
          </a:custGeom>
          <a:noFill/>
        </p:spPr>
        <p:txBody>
          <a:bodyPr>
            <a:normAutofit/>
          </a:bodyPr>
          <a:lstStyle>
            <a:lvl1pPr marL="0" indent="0">
              <a:buNone/>
              <a:defRPr sz="1400">
                <a:solidFill>
                  <a:schemeClr val="tx1"/>
                </a:solidFill>
              </a:defRPr>
            </a:lvl1pPr>
          </a:lstStyle>
          <a:p>
            <a:r>
              <a:rPr lang="en-JP"/>
              <a:t>Insert Photo</a:t>
            </a:r>
          </a:p>
        </p:txBody>
      </p:sp>
      <p:pic>
        <p:nvPicPr>
          <p:cNvPr id="14" name="Picture 13" descr="Takeda">
            <a:extLst>
              <a:ext uri="{FF2B5EF4-FFF2-40B4-BE49-F238E27FC236}">
                <a16:creationId xmlns:a16="http://schemas.microsoft.com/office/drawing/2014/main" id="{334C6D4B-D00D-0346-BC97-8DCE371C280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46331" y="-1615"/>
            <a:ext cx="1696232" cy="940780"/>
          </a:xfrm>
          <a:prstGeom prst="rect">
            <a:avLst/>
          </a:prstGeom>
        </p:spPr>
      </p:pic>
      <p:sp>
        <p:nvSpPr>
          <p:cNvPr id="17" name="タイトル プレースホルダ 1">
            <a:extLst>
              <a:ext uri="{FF2B5EF4-FFF2-40B4-BE49-F238E27FC236}">
                <a16:creationId xmlns:a16="http://schemas.microsoft.com/office/drawing/2014/main" id="{CCEDFD04-9A53-9241-851E-1D01DC555ACC}"/>
              </a:ext>
            </a:extLst>
          </p:cNvPr>
          <p:cNvSpPr>
            <a:spLocks noGrp="1"/>
          </p:cNvSpPr>
          <p:nvPr>
            <p:ph type="title" hasCustomPrompt="1"/>
          </p:nvPr>
        </p:nvSpPr>
        <p:spPr>
          <a:xfrm>
            <a:off x="606078" y="161605"/>
            <a:ext cx="9940253" cy="685801"/>
          </a:xfrm>
          <a:prstGeom prst="rect">
            <a:avLst/>
          </a:prstGeom>
        </p:spPr>
        <p:txBody>
          <a:bodyPr vert="horz" lIns="0" tIns="0" rIns="0" bIns="0" rtlCol="0" anchor="ctr">
            <a:normAutofit/>
          </a:bodyPr>
          <a:lstStyle/>
          <a:p>
            <a:r>
              <a:rPr kumimoji="1" lang="en-US" altLang="ja-JP"/>
              <a:t>Click to add title</a:t>
            </a:r>
            <a:endParaRPr kumimoji="1" lang="ja-JP" altLang="en-US"/>
          </a:p>
        </p:txBody>
      </p:sp>
      <p:sp>
        <p:nvSpPr>
          <p:cNvPr id="20" name="Footer Placeholder 8">
            <a:extLst>
              <a:ext uri="{FF2B5EF4-FFF2-40B4-BE49-F238E27FC236}">
                <a16:creationId xmlns:a16="http://schemas.microsoft.com/office/drawing/2014/main" id="{1E1D8887-7EAE-1A40-9285-7C632FEAA8BF}"/>
              </a:ext>
            </a:extLst>
          </p:cNvPr>
          <p:cNvSpPr>
            <a:spLocks noGrp="1"/>
          </p:cNvSpPr>
          <p:nvPr>
            <p:ph type="ftr" sz="quarter" idx="3"/>
          </p:nvPr>
        </p:nvSpPr>
        <p:spPr>
          <a:xfrm>
            <a:off x="7766050" y="6523001"/>
            <a:ext cx="4114800" cy="196131"/>
          </a:xfrm>
          <a:prstGeom prst="rect">
            <a:avLst/>
          </a:prstGeom>
        </p:spPr>
        <p:txBody>
          <a:bodyPr vert="horz" lIns="91440" tIns="45720" rIns="0" bIns="45720" rtlCol="0" anchor="ctr"/>
          <a:lstStyle>
            <a:lvl1pPr algn="r">
              <a:defRPr sz="800" b="1" spc="100" baseline="0">
                <a:solidFill>
                  <a:schemeClr val="tx1"/>
                </a:solidFill>
              </a:defRPr>
            </a:lvl1pPr>
          </a:lstStyle>
          <a:p>
            <a:r>
              <a:rPr lang="en-JP"/>
              <a:t> </a:t>
            </a:r>
          </a:p>
        </p:txBody>
      </p:sp>
      <p:sp>
        <p:nvSpPr>
          <p:cNvPr id="23" name="Rectangle 22">
            <a:extLst>
              <a:ext uri="{FF2B5EF4-FFF2-40B4-BE49-F238E27FC236}">
                <a16:creationId xmlns:a16="http://schemas.microsoft.com/office/drawing/2014/main" id="{365B3EBD-E4F5-8E40-B07A-C04F3B1E7F2C}"/>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a:solidFill>
                <a:schemeClr val="accent1"/>
              </a:solidFill>
            </a:endParaRPr>
          </a:p>
        </p:txBody>
      </p:sp>
      <p:sp>
        <p:nvSpPr>
          <p:cNvPr id="26" name="スライド番号プレースホルダ 5">
            <a:extLst>
              <a:ext uri="{FF2B5EF4-FFF2-40B4-BE49-F238E27FC236}">
                <a16:creationId xmlns:a16="http://schemas.microsoft.com/office/drawing/2014/main" id="{3D5D14EF-A351-224D-8142-E1BEE44BBC99}"/>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7" name="Text Placeholder 6">
            <a:extLst>
              <a:ext uri="{FF2B5EF4-FFF2-40B4-BE49-F238E27FC236}">
                <a16:creationId xmlns:a16="http://schemas.microsoft.com/office/drawing/2014/main" id="{4D0A49B6-0BCC-C545-BF97-504B63062FEC}"/>
              </a:ext>
            </a:extLst>
          </p:cNvPr>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Private and confidential. For internal use only.</a:t>
            </a:r>
          </a:p>
        </p:txBody>
      </p:sp>
      <p:sp>
        <p:nvSpPr>
          <p:cNvPr id="15" name="Text Placeholder 2">
            <a:extLst>
              <a:ext uri="{FF2B5EF4-FFF2-40B4-BE49-F238E27FC236}">
                <a16:creationId xmlns:a16="http://schemas.microsoft.com/office/drawing/2014/main" id="{D82FCE78-36AB-904B-98A8-CE3FFB1555E3}"/>
              </a:ext>
            </a:extLst>
          </p:cNvPr>
          <p:cNvSpPr>
            <a:spLocks noGrp="1"/>
          </p:cNvSpPr>
          <p:nvPr>
            <p:ph type="body" sz="quarter" idx="20" hasCustomPrompt="1"/>
          </p:nvPr>
        </p:nvSpPr>
        <p:spPr>
          <a:xfrm>
            <a:off x="311150" y="1491373"/>
            <a:ext cx="7660041" cy="1464957"/>
          </a:xfrm>
        </p:spPr>
        <p:txBody>
          <a:bodyPr tIns="0" rIns="0" bIns="0" numCol="1" spcCol="126000">
            <a:noAutofit/>
          </a:bodyPr>
          <a:lstStyle>
            <a:lvl1pPr marL="0" indent="0">
              <a:lnSpc>
                <a:spcPct val="100000"/>
              </a:lnSpc>
              <a:spcBef>
                <a:spcPts val="0"/>
              </a:spcBef>
              <a:buNone/>
              <a:defRPr sz="1600" b="1"/>
            </a:lvl1pPr>
            <a:lvl2pPr marL="457068" indent="0">
              <a:buNone/>
              <a:defRPr sz="1800" b="1"/>
            </a:lvl2pPr>
            <a:lvl3pPr marL="914149" indent="0">
              <a:buNone/>
              <a:defRPr sz="1800" b="1"/>
            </a:lvl3pPr>
            <a:lvl4pPr marL="1371219" indent="0">
              <a:buNone/>
              <a:defRPr sz="1800" b="1"/>
            </a:lvl4pPr>
            <a:lvl5pPr marL="1828290" indent="0">
              <a:buNone/>
              <a:defRPr sz="1800" b="1"/>
            </a:lvl5pPr>
          </a:lstStyle>
          <a:p>
            <a:pPr lvl="0"/>
            <a:r>
              <a:rPr lang="en-US"/>
              <a:t>This is your Primary Text.</a:t>
            </a:r>
            <a:endParaRPr lang="en-JP"/>
          </a:p>
        </p:txBody>
      </p:sp>
      <p:sp>
        <p:nvSpPr>
          <p:cNvPr id="18" name="Text Placeholder 6">
            <a:extLst>
              <a:ext uri="{FF2B5EF4-FFF2-40B4-BE49-F238E27FC236}">
                <a16:creationId xmlns:a16="http://schemas.microsoft.com/office/drawing/2014/main" id="{72ECF95F-F25E-8248-A0F3-BB1749A1B406}"/>
              </a:ext>
            </a:extLst>
          </p:cNvPr>
          <p:cNvSpPr>
            <a:spLocks noGrp="1"/>
          </p:cNvSpPr>
          <p:nvPr>
            <p:ph type="body" sz="quarter" idx="21" hasCustomPrompt="1"/>
          </p:nvPr>
        </p:nvSpPr>
        <p:spPr>
          <a:xfrm>
            <a:off x="311149" y="1093767"/>
            <a:ext cx="7660041" cy="272786"/>
          </a:xfrm>
        </p:spPr>
        <p:txBody>
          <a:bodyPr tIns="0" rIns="0" bIns="0" numCol="1">
            <a:noAutofit/>
          </a:bodyPr>
          <a:lstStyle>
            <a:lvl1pPr marL="0" indent="0">
              <a:lnSpc>
                <a:spcPct val="100000"/>
              </a:lnSpc>
              <a:spcBef>
                <a:spcPts val="0"/>
              </a:spcBef>
              <a:spcAft>
                <a:spcPts val="600"/>
              </a:spcAft>
              <a:buNone/>
              <a:defRPr sz="20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Primary Title</a:t>
            </a:r>
          </a:p>
        </p:txBody>
      </p:sp>
    </p:spTree>
    <p:extLst>
      <p:ext uri="{BB962C8B-B14F-4D97-AF65-F5344CB8AC3E}">
        <p14:creationId xmlns:p14="http://schemas.microsoft.com/office/powerpoint/2010/main" val="1770326782"/>
      </p:ext>
    </p:extLst>
  </p:cSld>
  <p:clrMapOvr>
    <a:masterClrMapping/>
  </p:clrMapOvr>
  <p:transition spd="slow">
    <p:push dir="u"/>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Advanced 1/3 Image (Full Bleed)">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65925D82-457F-D84D-B8DF-D8ADFD7E71DF}"/>
              </a:ext>
            </a:extLst>
          </p:cNvPr>
          <p:cNvSpPr>
            <a:spLocks noGrp="1"/>
          </p:cNvSpPr>
          <p:nvPr>
            <p:ph type="body" sz="quarter" idx="14" hasCustomPrompt="1"/>
          </p:nvPr>
        </p:nvSpPr>
        <p:spPr>
          <a:xfrm>
            <a:off x="311150" y="3178298"/>
            <a:ext cx="5708650" cy="272786"/>
          </a:xfrm>
          <a:prstGeom prst="rect">
            <a:avLst/>
          </a:prstGeom>
        </p:spPr>
        <p:txBody>
          <a:bodyPr tIns="0" rIns="0" bIns="0" numCol="1">
            <a:noAutofit/>
          </a:bodyPr>
          <a:lstStyle>
            <a:lvl1pPr marL="0" indent="0">
              <a:lnSpc>
                <a:spcPct val="100000"/>
              </a:lnSpc>
              <a:spcBef>
                <a:spcPts val="0"/>
              </a:spcBef>
              <a:spcAft>
                <a:spcPts val="600"/>
              </a:spcAft>
              <a:buNone/>
              <a:defRPr sz="18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Secondary Title</a:t>
            </a:r>
          </a:p>
        </p:txBody>
      </p:sp>
      <p:sp>
        <p:nvSpPr>
          <p:cNvPr id="12" name="Text Placeholder 6">
            <a:extLst>
              <a:ext uri="{FF2B5EF4-FFF2-40B4-BE49-F238E27FC236}">
                <a16:creationId xmlns:a16="http://schemas.microsoft.com/office/drawing/2014/main" id="{FD2406EE-A554-5348-AE6D-4D8B343E6201}"/>
              </a:ext>
            </a:extLst>
          </p:cNvPr>
          <p:cNvSpPr>
            <a:spLocks noGrp="1"/>
          </p:cNvSpPr>
          <p:nvPr>
            <p:ph type="body" sz="quarter" idx="15" hasCustomPrompt="1"/>
          </p:nvPr>
        </p:nvSpPr>
        <p:spPr>
          <a:xfrm>
            <a:off x="311149" y="3575904"/>
            <a:ext cx="7663807" cy="2859621"/>
          </a:xfrm>
          <a:prstGeom prst="rect">
            <a:avLst/>
          </a:prstGeom>
        </p:spPr>
        <p:txBody>
          <a:bodyPr tIns="0" rIns="0" bIns="0" numCol="2" spcCol="126000">
            <a:noAutofit/>
          </a:bodyPr>
          <a:lstStyle>
            <a:lvl1pPr marL="171450" indent="-171450">
              <a:lnSpc>
                <a:spcPct val="100000"/>
              </a:lnSpc>
              <a:spcBef>
                <a:spcPts val="0"/>
              </a:spcBef>
              <a:spcAft>
                <a:spcPts val="600"/>
              </a:spcAft>
              <a:buFont typeface="Arial" panose="020B0604020202020204" pitchFamily="34" charset="0"/>
              <a:buChar char="•"/>
              <a:defRPr sz="1400" b="0">
                <a:solidFill>
                  <a:schemeClr val="tx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Secondary text.</a:t>
            </a:r>
          </a:p>
        </p:txBody>
      </p:sp>
      <p:sp>
        <p:nvSpPr>
          <p:cNvPr id="11" name="Picture Placeholder 9">
            <a:extLst>
              <a:ext uri="{FF2B5EF4-FFF2-40B4-BE49-F238E27FC236}">
                <a16:creationId xmlns:a16="http://schemas.microsoft.com/office/drawing/2014/main" id="{B54C5EE8-C42D-B549-B4D4-C0F00D68A42B}"/>
              </a:ext>
            </a:extLst>
          </p:cNvPr>
          <p:cNvSpPr>
            <a:spLocks noGrp="1"/>
          </p:cNvSpPr>
          <p:nvPr>
            <p:ph type="pic" sz="quarter" idx="18" hasCustomPrompt="1"/>
          </p:nvPr>
        </p:nvSpPr>
        <p:spPr>
          <a:xfrm>
            <a:off x="8123708" y="-1378"/>
            <a:ext cx="4076946" cy="6860842"/>
          </a:xfrm>
          <a:custGeom>
            <a:avLst/>
            <a:gdLst>
              <a:gd name="connsiteX0" fmla="*/ 0 w 10888662"/>
              <a:gd name="connsiteY0" fmla="*/ 579722 h 6442075"/>
              <a:gd name="connsiteX1" fmla="*/ 579722 w 10888662"/>
              <a:gd name="connsiteY1" fmla="*/ 0 h 6442075"/>
              <a:gd name="connsiteX2" fmla="*/ 10308940 w 10888662"/>
              <a:gd name="connsiteY2" fmla="*/ 0 h 6442075"/>
              <a:gd name="connsiteX3" fmla="*/ 10888662 w 10888662"/>
              <a:gd name="connsiteY3" fmla="*/ 579722 h 6442075"/>
              <a:gd name="connsiteX4" fmla="*/ 10888662 w 10888662"/>
              <a:gd name="connsiteY4" fmla="*/ 5862353 h 6442075"/>
              <a:gd name="connsiteX5" fmla="*/ 10308940 w 10888662"/>
              <a:gd name="connsiteY5" fmla="*/ 6442075 h 6442075"/>
              <a:gd name="connsiteX6" fmla="*/ 579722 w 10888662"/>
              <a:gd name="connsiteY6" fmla="*/ 6442075 h 6442075"/>
              <a:gd name="connsiteX7" fmla="*/ 0 w 10888662"/>
              <a:gd name="connsiteY7" fmla="*/ 5862353 h 6442075"/>
              <a:gd name="connsiteX8" fmla="*/ 0 w 10888662"/>
              <a:gd name="connsiteY8" fmla="*/ 579722 h 6442075"/>
              <a:gd name="connsiteX0" fmla="*/ 0 w 10888662"/>
              <a:gd name="connsiteY0" fmla="*/ 659657 h 6522010"/>
              <a:gd name="connsiteX1" fmla="*/ 10308940 w 10888662"/>
              <a:gd name="connsiteY1" fmla="*/ 79935 h 6522010"/>
              <a:gd name="connsiteX2" fmla="*/ 10888662 w 10888662"/>
              <a:gd name="connsiteY2" fmla="*/ 659657 h 6522010"/>
              <a:gd name="connsiteX3" fmla="*/ 10888662 w 10888662"/>
              <a:gd name="connsiteY3" fmla="*/ 5942288 h 6522010"/>
              <a:gd name="connsiteX4" fmla="*/ 10308940 w 10888662"/>
              <a:gd name="connsiteY4" fmla="*/ 6522010 h 6522010"/>
              <a:gd name="connsiteX5" fmla="*/ 579722 w 10888662"/>
              <a:gd name="connsiteY5" fmla="*/ 6522010 h 6522010"/>
              <a:gd name="connsiteX6" fmla="*/ 0 w 10888662"/>
              <a:gd name="connsiteY6" fmla="*/ 5942288 h 6522010"/>
              <a:gd name="connsiteX7" fmla="*/ 0 w 10888662"/>
              <a:gd name="connsiteY7" fmla="*/ 659657 h 6522010"/>
              <a:gd name="connsiteX0" fmla="*/ 0 w 10888662"/>
              <a:gd name="connsiteY0" fmla="*/ 579722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579722 h 6442075"/>
              <a:gd name="connsiteX0" fmla="*/ 0 w 10888662"/>
              <a:gd name="connsiteY0" fmla="*/ 129257 h 6569679"/>
              <a:gd name="connsiteX1" fmla="*/ 10308940 w 10888662"/>
              <a:gd name="connsiteY1" fmla="*/ 127604 h 6569679"/>
              <a:gd name="connsiteX2" fmla="*/ 10888662 w 10888662"/>
              <a:gd name="connsiteY2" fmla="*/ 707326 h 6569679"/>
              <a:gd name="connsiteX3" fmla="*/ 10888662 w 10888662"/>
              <a:gd name="connsiteY3" fmla="*/ 5989957 h 6569679"/>
              <a:gd name="connsiteX4" fmla="*/ 10308940 w 10888662"/>
              <a:gd name="connsiteY4" fmla="*/ 6569679 h 6569679"/>
              <a:gd name="connsiteX5" fmla="*/ 579722 w 10888662"/>
              <a:gd name="connsiteY5" fmla="*/ 6569679 h 6569679"/>
              <a:gd name="connsiteX6" fmla="*/ 0 w 10888662"/>
              <a:gd name="connsiteY6" fmla="*/ 5989957 h 6569679"/>
              <a:gd name="connsiteX7" fmla="*/ 0 w 10888662"/>
              <a:gd name="connsiteY7" fmla="*/ 129257 h 6569679"/>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9657299 w 10888662"/>
              <a:gd name="connsiteY4" fmla="*/ 55276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522010"/>
              <a:gd name="connsiteX1" fmla="*/ 10308940 w 10888662"/>
              <a:gd name="connsiteY1" fmla="*/ 0 h 6522010"/>
              <a:gd name="connsiteX2" fmla="*/ 10888662 w 10888662"/>
              <a:gd name="connsiteY2" fmla="*/ 579722 h 6522010"/>
              <a:gd name="connsiteX3" fmla="*/ 10888662 w 10888662"/>
              <a:gd name="connsiteY3" fmla="*/ 5862353 h 6522010"/>
              <a:gd name="connsiteX4" fmla="*/ 579722 w 10888662"/>
              <a:gd name="connsiteY4" fmla="*/ 6442075 h 6522010"/>
              <a:gd name="connsiteX5" fmla="*/ 0 w 10888662"/>
              <a:gd name="connsiteY5" fmla="*/ 5862353 h 6522010"/>
              <a:gd name="connsiteX6" fmla="*/ 0 w 10888662"/>
              <a:gd name="connsiteY6" fmla="*/ 1653 h 6522010"/>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579722 w 10888662"/>
              <a:gd name="connsiteY4" fmla="*/ 6442075 h 6442075"/>
              <a:gd name="connsiteX5" fmla="*/ 0 w 10888662"/>
              <a:gd name="connsiteY5" fmla="*/ 5862353 h 6442075"/>
              <a:gd name="connsiteX6" fmla="*/ 0 w 10888662"/>
              <a:gd name="connsiteY6" fmla="*/ 1653 h 6442075"/>
              <a:gd name="connsiteX0" fmla="*/ 0 w 10888662"/>
              <a:gd name="connsiteY0" fmla="*/ 1653 h 6585432"/>
              <a:gd name="connsiteX1" fmla="*/ 10308940 w 10888662"/>
              <a:gd name="connsiteY1" fmla="*/ 0 h 6585432"/>
              <a:gd name="connsiteX2" fmla="*/ 10888662 w 10888662"/>
              <a:gd name="connsiteY2" fmla="*/ 579722 h 6585432"/>
              <a:gd name="connsiteX3" fmla="*/ 10878151 w 10888662"/>
              <a:gd name="connsiteY3" fmla="*/ 6461442 h 6585432"/>
              <a:gd name="connsiteX4" fmla="*/ 579722 w 10888662"/>
              <a:gd name="connsiteY4" fmla="*/ 6442075 h 6585432"/>
              <a:gd name="connsiteX5" fmla="*/ 0 w 10888662"/>
              <a:gd name="connsiteY5" fmla="*/ 5862353 h 6585432"/>
              <a:gd name="connsiteX6" fmla="*/ 0 w 10888662"/>
              <a:gd name="connsiteY6" fmla="*/ 1653 h 6585432"/>
              <a:gd name="connsiteX0" fmla="*/ 0 w 10888662"/>
              <a:gd name="connsiteY0" fmla="*/ 1653 h 6577502"/>
              <a:gd name="connsiteX1" fmla="*/ 10308940 w 10888662"/>
              <a:gd name="connsiteY1" fmla="*/ 0 h 6577502"/>
              <a:gd name="connsiteX2" fmla="*/ 10888662 w 10888662"/>
              <a:gd name="connsiteY2" fmla="*/ 579722 h 6577502"/>
              <a:gd name="connsiteX3" fmla="*/ 10878151 w 10888662"/>
              <a:gd name="connsiteY3" fmla="*/ 6450932 h 6577502"/>
              <a:gd name="connsiteX4" fmla="*/ 579722 w 10888662"/>
              <a:gd name="connsiteY4" fmla="*/ 6442075 h 6577502"/>
              <a:gd name="connsiteX5" fmla="*/ 0 w 10888662"/>
              <a:gd name="connsiteY5" fmla="*/ 5862353 h 6577502"/>
              <a:gd name="connsiteX6" fmla="*/ 0 w 10888662"/>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0888662"/>
              <a:gd name="connsiteY0" fmla="*/ 1653 h 6450932"/>
              <a:gd name="connsiteX1" fmla="*/ 10308940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0999550"/>
              <a:gd name="connsiteY0" fmla="*/ 1653 h 6450932"/>
              <a:gd name="connsiteX1" fmla="*/ 10844968 w 10999550"/>
              <a:gd name="connsiteY1" fmla="*/ 0 h 6450932"/>
              <a:gd name="connsiteX2" fmla="*/ 10888662 w 10999550"/>
              <a:gd name="connsiteY2" fmla="*/ 579722 h 6450932"/>
              <a:gd name="connsiteX3" fmla="*/ 10878151 w 10999550"/>
              <a:gd name="connsiteY3" fmla="*/ 6450932 h 6450932"/>
              <a:gd name="connsiteX4" fmla="*/ 579722 w 10999550"/>
              <a:gd name="connsiteY4" fmla="*/ 6442075 h 6450932"/>
              <a:gd name="connsiteX5" fmla="*/ 0 w 10999550"/>
              <a:gd name="connsiteY5" fmla="*/ 5862353 h 6450932"/>
              <a:gd name="connsiteX6" fmla="*/ 0 w 10999550"/>
              <a:gd name="connsiteY6" fmla="*/ 1653 h 6450932"/>
              <a:gd name="connsiteX0" fmla="*/ 0 w 11022020"/>
              <a:gd name="connsiteY0" fmla="*/ 1653 h 6450932"/>
              <a:gd name="connsiteX1" fmla="*/ 10876499 w 11022020"/>
              <a:gd name="connsiteY1" fmla="*/ 0 h 6450932"/>
              <a:gd name="connsiteX2" fmla="*/ 10888662 w 11022020"/>
              <a:gd name="connsiteY2" fmla="*/ 579722 h 6450932"/>
              <a:gd name="connsiteX3" fmla="*/ 10878151 w 11022020"/>
              <a:gd name="connsiteY3" fmla="*/ 6450932 h 6450932"/>
              <a:gd name="connsiteX4" fmla="*/ 579722 w 11022020"/>
              <a:gd name="connsiteY4" fmla="*/ 6442075 h 6450932"/>
              <a:gd name="connsiteX5" fmla="*/ 0 w 11022020"/>
              <a:gd name="connsiteY5" fmla="*/ 5862353 h 6450932"/>
              <a:gd name="connsiteX6" fmla="*/ 0 w 11022020"/>
              <a:gd name="connsiteY6" fmla="*/ 1653 h 6450932"/>
              <a:gd name="connsiteX0" fmla="*/ 0 w 10888662"/>
              <a:gd name="connsiteY0" fmla="*/ 1653 h 6450932"/>
              <a:gd name="connsiteX1" fmla="*/ 10876499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2200990"/>
              <a:gd name="connsiteY0" fmla="*/ 1653 h 6450932"/>
              <a:gd name="connsiteX1" fmla="*/ 10876499 w 12200990"/>
              <a:gd name="connsiteY1" fmla="*/ 0 h 6450932"/>
              <a:gd name="connsiteX2" fmla="*/ 10878151 w 12200990"/>
              <a:gd name="connsiteY2" fmla="*/ 6450932 h 6450932"/>
              <a:gd name="connsiteX3" fmla="*/ 579722 w 12200990"/>
              <a:gd name="connsiteY3" fmla="*/ 6442075 h 6450932"/>
              <a:gd name="connsiteX4" fmla="*/ 0 w 12200990"/>
              <a:gd name="connsiteY4" fmla="*/ 5862353 h 6450932"/>
              <a:gd name="connsiteX5" fmla="*/ 0 w 12200990"/>
              <a:gd name="connsiteY5" fmla="*/ 1653 h 6450932"/>
              <a:gd name="connsiteX0" fmla="*/ 0 w 11640630"/>
              <a:gd name="connsiteY0" fmla="*/ 1653 h 6450932"/>
              <a:gd name="connsiteX1" fmla="*/ 10876499 w 11640630"/>
              <a:gd name="connsiteY1" fmla="*/ 0 h 6450932"/>
              <a:gd name="connsiteX2" fmla="*/ 10878151 w 11640630"/>
              <a:gd name="connsiteY2" fmla="*/ 6450932 h 6450932"/>
              <a:gd name="connsiteX3" fmla="*/ 579722 w 11640630"/>
              <a:gd name="connsiteY3" fmla="*/ 6442075 h 6450932"/>
              <a:gd name="connsiteX4" fmla="*/ 0 w 11640630"/>
              <a:gd name="connsiteY4" fmla="*/ 5862353 h 6450932"/>
              <a:gd name="connsiteX5" fmla="*/ 0 w 11640630"/>
              <a:gd name="connsiteY5" fmla="*/ 1653 h 6450932"/>
              <a:gd name="connsiteX0" fmla="*/ 0 w 10878151"/>
              <a:gd name="connsiteY0" fmla="*/ 1653 h 6450932"/>
              <a:gd name="connsiteX1" fmla="*/ 10876499 w 10878151"/>
              <a:gd name="connsiteY1" fmla="*/ 0 h 6450932"/>
              <a:gd name="connsiteX2" fmla="*/ 10878151 w 10878151"/>
              <a:gd name="connsiteY2" fmla="*/ 6450932 h 6450932"/>
              <a:gd name="connsiteX3" fmla="*/ 579722 w 10878151"/>
              <a:gd name="connsiteY3" fmla="*/ 6442075 h 6450932"/>
              <a:gd name="connsiteX4" fmla="*/ 0 w 10878151"/>
              <a:gd name="connsiteY4" fmla="*/ 5862353 h 6450932"/>
              <a:gd name="connsiteX5" fmla="*/ 0 w 10878151"/>
              <a:gd name="connsiteY5" fmla="*/ 1653 h 6450932"/>
              <a:gd name="connsiteX0" fmla="*/ 0 w 11843451"/>
              <a:gd name="connsiteY0" fmla="*/ 1653 h 6450932"/>
              <a:gd name="connsiteX1" fmla="*/ 11843451 w 11843451"/>
              <a:gd name="connsiteY1" fmla="*/ 0 h 6450932"/>
              <a:gd name="connsiteX2" fmla="*/ 10878151 w 11843451"/>
              <a:gd name="connsiteY2" fmla="*/ 6450932 h 6450932"/>
              <a:gd name="connsiteX3" fmla="*/ 579722 w 11843451"/>
              <a:gd name="connsiteY3" fmla="*/ 6442075 h 6450932"/>
              <a:gd name="connsiteX4" fmla="*/ 0 w 11843451"/>
              <a:gd name="connsiteY4" fmla="*/ 5862353 h 6450932"/>
              <a:gd name="connsiteX5" fmla="*/ 0 w 11843451"/>
              <a:gd name="connsiteY5" fmla="*/ 1653 h 6450932"/>
              <a:gd name="connsiteX0" fmla="*/ 0 w 11855613"/>
              <a:gd name="connsiteY0" fmla="*/ 1653 h 6450932"/>
              <a:gd name="connsiteX1" fmla="*/ 11843451 w 11855613"/>
              <a:gd name="connsiteY1" fmla="*/ 0 h 6450932"/>
              <a:gd name="connsiteX2" fmla="*/ 11855613 w 11855613"/>
              <a:gd name="connsiteY2" fmla="*/ 6450932 h 6450932"/>
              <a:gd name="connsiteX3" fmla="*/ 579722 w 11855613"/>
              <a:gd name="connsiteY3" fmla="*/ 6442075 h 6450932"/>
              <a:gd name="connsiteX4" fmla="*/ 0 w 11855613"/>
              <a:gd name="connsiteY4" fmla="*/ 5862353 h 6450932"/>
              <a:gd name="connsiteX5" fmla="*/ 0 w 11855613"/>
              <a:gd name="connsiteY5" fmla="*/ 1653 h 6450932"/>
              <a:gd name="connsiteX0" fmla="*/ 0 w 11864472"/>
              <a:gd name="connsiteY0" fmla="*/ 1653 h 6450932"/>
              <a:gd name="connsiteX1" fmla="*/ 11864472 w 11864472"/>
              <a:gd name="connsiteY1" fmla="*/ 0 h 6450932"/>
              <a:gd name="connsiteX2" fmla="*/ 11855613 w 11864472"/>
              <a:gd name="connsiteY2" fmla="*/ 6450932 h 6450932"/>
              <a:gd name="connsiteX3" fmla="*/ 579722 w 11864472"/>
              <a:gd name="connsiteY3" fmla="*/ 6442075 h 6450932"/>
              <a:gd name="connsiteX4" fmla="*/ 0 w 11864472"/>
              <a:gd name="connsiteY4" fmla="*/ 5862353 h 6450932"/>
              <a:gd name="connsiteX5" fmla="*/ 0 w 11864472"/>
              <a:gd name="connsiteY5" fmla="*/ 1653 h 6450932"/>
              <a:gd name="connsiteX0" fmla="*/ 0 w 11864472"/>
              <a:gd name="connsiteY0" fmla="*/ 1653 h 6442075"/>
              <a:gd name="connsiteX1" fmla="*/ 11864472 w 11864472"/>
              <a:gd name="connsiteY1" fmla="*/ 0 h 6442075"/>
              <a:gd name="connsiteX2" fmla="*/ 11855613 w 11864472"/>
              <a:gd name="connsiteY2" fmla="*/ 6440421 h 6442075"/>
              <a:gd name="connsiteX3" fmla="*/ 579722 w 11864472"/>
              <a:gd name="connsiteY3" fmla="*/ 6442075 h 6442075"/>
              <a:gd name="connsiteX4" fmla="*/ 0 w 11864472"/>
              <a:gd name="connsiteY4" fmla="*/ 5862353 h 6442075"/>
              <a:gd name="connsiteX5" fmla="*/ 0 w 11864472"/>
              <a:gd name="connsiteY5" fmla="*/ 1653 h 6442075"/>
              <a:gd name="connsiteX0" fmla="*/ 0 w 11855613"/>
              <a:gd name="connsiteY0" fmla="*/ 1653 h 6442075"/>
              <a:gd name="connsiteX1" fmla="*/ 8912928 w 11855613"/>
              <a:gd name="connsiteY1" fmla="*/ 0 h 6442075"/>
              <a:gd name="connsiteX2" fmla="*/ 11855613 w 11855613"/>
              <a:gd name="connsiteY2" fmla="*/ 6440421 h 6442075"/>
              <a:gd name="connsiteX3" fmla="*/ 579722 w 11855613"/>
              <a:gd name="connsiteY3" fmla="*/ 6442075 h 6442075"/>
              <a:gd name="connsiteX4" fmla="*/ 0 w 11855613"/>
              <a:gd name="connsiteY4" fmla="*/ 5862353 h 6442075"/>
              <a:gd name="connsiteX5" fmla="*/ 0 w 11855613"/>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74032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36077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1615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15642"/>
              <a:gd name="connsiteY0" fmla="*/ 1653 h 6442075"/>
              <a:gd name="connsiteX1" fmla="*/ 8912928 w 8915642"/>
              <a:gd name="connsiteY1" fmla="*/ 0 h 6442075"/>
              <a:gd name="connsiteX2" fmla="*/ 8915642 w 8915642"/>
              <a:gd name="connsiteY2" fmla="*/ 6440421 h 6442075"/>
              <a:gd name="connsiteX3" fmla="*/ 579722 w 8915642"/>
              <a:gd name="connsiteY3" fmla="*/ 6442075 h 6442075"/>
              <a:gd name="connsiteX4" fmla="*/ 0 w 8915642"/>
              <a:gd name="connsiteY4" fmla="*/ 5862353 h 6442075"/>
              <a:gd name="connsiteX5" fmla="*/ 0 w 8915642"/>
              <a:gd name="connsiteY5" fmla="*/ 1653 h 6442075"/>
              <a:gd name="connsiteX0" fmla="*/ 0 w 8915642"/>
              <a:gd name="connsiteY0" fmla="*/ 1 h 6633463"/>
              <a:gd name="connsiteX1" fmla="*/ 8912928 w 8915642"/>
              <a:gd name="connsiteY1" fmla="*/ 191388 h 6633463"/>
              <a:gd name="connsiteX2" fmla="*/ 8915642 w 8915642"/>
              <a:gd name="connsiteY2" fmla="*/ 6631809 h 6633463"/>
              <a:gd name="connsiteX3" fmla="*/ 579722 w 8915642"/>
              <a:gd name="connsiteY3" fmla="*/ 6633463 h 6633463"/>
              <a:gd name="connsiteX4" fmla="*/ 0 w 8915642"/>
              <a:gd name="connsiteY4" fmla="*/ 6053741 h 6633463"/>
              <a:gd name="connsiteX5" fmla="*/ 0 w 8915642"/>
              <a:gd name="connsiteY5" fmla="*/ 1 h 6633463"/>
              <a:gd name="connsiteX0" fmla="*/ 0 w 8933278"/>
              <a:gd name="connsiteY0" fmla="*/ 1653 h 6635115"/>
              <a:gd name="connsiteX1" fmla="*/ 8933248 w 8933278"/>
              <a:gd name="connsiteY1" fmla="*/ 0 h 6635115"/>
              <a:gd name="connsiteX2" fmla="*/ 8915642 w 8933278"/>
              <a:gd name="connsiteY2" fmla="*/ 6633461 h 6635115"/>
              <a:gd name="connsiteX3" fmla="*/ 579722 w 8933278"/>
              <a:gd name="connsiteY3" fmla="*/ 6635115 h 6635115"/>
              <a:gd name="connsiteX4" fmla="*/ 0 w 8933278"/>
              <a:gd name="connsiteY4" fmla="*/ 6055393 h 6635115"/>
              <a:gd name="connsiteX5" fmla="*/ 0 w 8933278"/>
              <a:gd name="connsiteY5" fmla="*/ 1653 h 6635115"/>
              <a:gd name="connsiteX0" fmla="*/ 0 w 8933323"/>
              <a:gd name="connsiteY0" fmla="*/ 1653 h 6645336"/>
              <a:gd name="connsiteX1" fmla="*/ 8933248 w 8933323"/>
              <a:gd name="connsiteY1" fmla="*/ 0 h 6645336"/>
              <a:gd name="connsiteX2" fmla="*/ 8927517 w 8933323"/>
              <a:gd name="connsiteY2" fmla="*/ 6645336 h 6645336"/>
              <a:gd name="connsiteX3" fmla="*/ 579722 w 8933323"/>
              <a:gd name="connsiteY3" fmla="*/ 6635115 h 6645336"/>
              <a:gd name="connsiteX4" fmla="*/ 0 w 8933323"/>
              <a:gd name="connsiteY4" fmla="*/ 6055393 h 6645336"/>
              <a:gd name="connsiteX5" fmla="*/ 0 w 8933323"/>
              <a:gd name="connsiteY5" fmla="*/ 1653 h 6645336"/>
              <a:gd name="connsiteX0" fmla="*/ 0 w 8927517"/>
              <a:gd name="connsiteY0" fmla="*/ 1653 h 6645336"/>
              <a:gd name="connsiteX1" fmla="*/ 7971347 w 8927517"/>
              <a:gd name="connsiteY1" fmla="*/ 0 h 6645336"/>
              <a:gd name="connsiteX2" fmla="*/ 8927517 w 8927517"/>
              <a:gd name="connsiteY2" fmla="*/ 6645336 h 6645336"/>
              <a:gd name="connsiteX3" fmla="*/ 579722 w 8927517"/>
              <a:gd name="connsiteY3" fmla="*/ 6635115 h 6645336"/>
              <a:gd name="connsiteX4" fmla="*/ 0 w 8927517"/>
              <a:gd name="connsiteY4" fmla="*/ 6055393 h 6645336"/>
              <a:gd name="connsiteX5" fmla="*/ 0 w 8927517"/>
              <a:gd name="connsiteY5" fmla="*/ 1653 h 6645336"/>
              <a:gd name="connsiteX0" fmla="*/ 0 w 7971422"/>
              <a:gd name="connsiteY0" fmla="*/ 1653 h 6645336"/>
              <a:gd name="connsiteX1" fmla="*/ 7971347 w 7971422"/>
              <a:gd name="connsiteY1" fmla="*/ 0 h 6645336"/>
              <a:gd name="connsiteX2" fmla="*/ 7965616 w 7971422"/>
              <a:gd name="connsiteY2" fmla="*/ 6645336 h 6645336"/>
              <a:gd name="connsiteX3" fmla="*/ 579722 w 7971422"/>
              <a:gd name="connsiteY3" fmla="*/ 6635115 h 6645336"/>
              <a:gd name="connsiteX4" fmla="*/ 0 w 7971422"/>
              <a:gd name="connsiteY4" fmla="*/ 6055393 h 6645336"/>
              <a:gd name="connsiteX5" fmla="*/ 0 w 7971422"/>
              <a:gd name="connsiteY5" fmla="*/ 1653 h 6645336"/>
              <a:gd name="connsiteX0" fmla="*/ 0 w 7971422"/>
              <a:gd name="connsiteY0" fmla="*/ 1301816 h 6645336"/>
              <a:gd name="connsiteX1" fmla="*/ 7971347 w 7971422"/>
              <a:gd name="connsiteY1" fmla="*/ 0 h 6645336"/>
              <a:gd name="connsiteX2" fmla="*/ 7965616 w 7971422"/>
              <a:gd name="connsiteY2" fmla="*/ 6645336 h 6645336"/>
              <a:gd name="connsiteX3" fmla="*/ 579722 w 7971422"/>
              <a:gd name="connsiteY3" fmla="*/ 6635115 h 6645336"/>
              <a:gd name="connsiteX4" fmla="*/ 0 w 7971422"/>
              <a:gd name="connsiteY4" fmla="*/ 6055393 h 6645336"/>
              <a:gd name="connsiteX5" fmla="*/ 0 w 7971422"/>
              <a:gd name="connsiteY5" fmla="*/ 1301816 h 6645336"/>
              <a:gd name="connsiteX0" fmla="*/ 0 w 7965616"/>
              <a:gd name="connsiteY0" fmla="*/ 1653 h 5345173"/>
              <a:gd name="connsiteX1" fmla="*/ 7957060 w 7965616"/>
              <a:gd name="connsiteY1" fmla="*/ 0 h 5345173"/>
              <a:gd name="connsiteX2" fmla="*/ 7965616 w 7965616"/>
              <a:gd name="connsiteY2" fmla="*/ 5345173 h 5345173"/>
              <a:gd name="connsiteX3" fmla="*/ 579722 w 7965616"/>
              <a:gd name="connsiteY3" fmla="*/ 5334952 h 5345173"/>
              <a:gd name="connsiteX4" fmla="*/ 0 w 7965616"/>
              <a:gd name="connsiteY4" fmla="*/ 4755230 h 5345173"/>
              <a:gd name="connsiteX5" fmla="*/ 0 w 7965616"/>
              <a:gd name="connsiteY5" fmla="*/ 1653 h 5345173"/>
              <a:gd name="connsiteX0" fmla="*/ 0 w 7971422"/>
              <a:gd name="connsiteY0" fmla="*/ 1653 h 5345173"/>
              <a:gd name="connsiteX1" fmla="*/ 7971347 w 7971422"/>
              <a:gd name="connsiteY1" fmla="*/ 0 h 5345173"/>
              <a:gd name="connsiteX2" fmla="*/ 7965616 w 7971422"/>
              <a:gd name="connsiteY2" fmla="*/ 5345173 h 5345173"/>
              <a:gd name="connsiteX3" fmla="*/ 579722 w 7971422"/>
              <a:gd name="connsiteY3" fmla="*/ 5334952 h 5345173"/>
              <a:gd name="connsiteX4" fmla="*/ 0 w 7971422"/>
              <a:gd name="connsiteY4" fmla="*/ 4755230 h 5345173"/>
              <a:gd name="connsiteX5" fmla="*/ 0 w 7971422"/>
              <a:gd name="connsiteY5" fmla="*/ 1653 h 5345173"/>
              <a:gd name="connsiteX0" fmla="*/ 0 w 7988356"/>
              <a:gd name="connsiteY0" fmla="*/ 187920 h 5345173"/>
              <a:gd name="connsiteX1" fmla="*/ 7988281 w 7988356"/>
              <a:gd name="connsiteY1" fmla="*/ 0 h 5345173"/>
              <a:gd name="connsiteX2" fmla="*/ 7982550 w 7988356"/>
              <a:gd name="connsiteY2" fmla="*/ 5345173 h 5345173"/>
              <a:gd name="connsiteX3" fmla="*/ 596656 w 7988356"/>
              <a:gd name="connsiteY3" fmla="*/ 5334952 h 5345173"/>
              <a:gd name="connsiteX4" fmla="*/ 16934 w 7988356"/>
              <a:gd name="connsiteY4" fmla="*/ 4755230 h 5345173"/>
              <a:gd name="connsiteX5" fmla="*/ 0 w 7988356"/>
              <a:gd name="connsiteY5" fmla="*/ 187920 h 5345173"/>
              <a:gd name="connsiteX0" fmla="*/ 0 w 7988356"/>
              <a:gd name="connsiteY0" fmla="*/ 210145 h 5345173"/>
              <a:gd name="connsiteX1" fmla="*/ 7988281 w 7988356"/>
              <a:gd name="connsiteY1" fmla="*/ 0 h 5345173"/>
              <a:gd name="connsiteX2" fmla="*/ 7982550 w 7988356"/>
              <a:gd name="connsiteY2" fmla="*/ 5345173 h 5345173"/>
              <a:gd name="connsiteX3" fmla="*/ 596656 w 7988356"/>
              <a:gd name="connsiteY3" fmla="*/ 5334952 h 5345173"/>
              <a:gd name="connsiteX4" fmla="*/ 16934 w 7988356"/>
              <a:gd name="connsiteY4" fmla="*/ 4755230 h 5345173"/>
              <a:gd name="connsiteX5" fmla="*/ 0 w 7988356"/>
              <a:gd name="connsiteY5" fmla="*/ 210145 h 5345173"/>
              <a:gd name="connsiteX0" fmla="*/ 0 w 7988356"/>
              <a:gd name="connsiteY0" fmla="*/ 0 h 5135028"/>
              <a:gd name="connsiteX1" fmla="*/ 7988281 w 7988356"/>
              <a:gd name="connsiteY1" fmla="*/ 7569 h 5135028"/>
              <a:gd name="connsiteX2" fmla="*/ 7982550 w 7988356"/>
              <a:gd name="connsiteY2" fmla="*/ 5135028 h 5135028"/>
              <a:gd name="connsiteX3" fmla="*/ 596656 w 7988356"/>
              <a:gd name="connsiteY3" fmla="*/ 5124807 h 5135028"/>
              <a:gd name="connsiteX4" fmla="*/ 16934 w 7988356"/>
              <a:gd name="connsiteY4" fmla="*/ 4545085 h 5135028"/>
              <a:gd name="connsiteX5" fmla="*/ 0 w 7988356"/>
              <a:gd name="connsiteY5" fmla="*/ 0 h 5135028"/>
              <a:gd name="connsiteX0" fmla="*/ 0 w 7982550"/>
              <a:gd name="connsiteY0" fmla="*/ 0 h 5135028"/>
              <a:gd name="connsiteX1" fmla="*/ 6028853 w 7982550"/>
              <a:gd name="connsiteY1" fmla="*/ 7569 h 5135028"/>
              <a:gd name="connsiteX2" fmla="*/ 7982550 w 7982550"/>
              <a:gd name="connsiteY2" fmla="*/ 5135028 h 5135028"/>
              <a:gd name="connsiteX3" fmla="*/ 596656 w 7982550"/>
              <a:gd name="connsiteY3" fmla="*/ 5124807 h 5135028"/>
              <a:gd name="connsiteX4" fmla="*/ 16934 w 7982550"/>
              <a:gd name="connsiteY4" fmla="*/ 4545085 h 5135028"/>
              <a:gd name="connsiteX5" fmla="*/ 0 w 7982550"/>
              <a:gd name="connsiteY5" fmla="*/ 0 h 5135028"/>
              <a:gd name="connsiteX0" fmla="*/ 0 w 6037636"/>
              <a:gd name="connsiteY0" fmla="*/ 0 h 5135028"/>
              <a:gd name="connsiteX1" fmla="*/ 6028853 w 6037636"/>
              <a:gd name="connsiteY1" fmla="*/ 7569 h 5135028"/>
              <a:gd name="connsiteX2" fmla="*/ 6037636 w 6037636"/>
              <a:gd name="connsiteY2" fmla="*/ 5135028 h 5135028"/>
              <a:gd name="connsiteX3" fmla="*/ 596656 w 6037636"/>
              <a:gd name="connsiteY3" fmla="*/ 5124807 h 5135028"/>
              <a:gd name="connsiteX4" fmla="*/ 16934 w 6037636"/>
              <a:gd name="connsiteY4" fmla="*/ 4545085 h 5135028"/>
              <a:gd name="connsiteX5" fmla="*/ 0 w 6037636"/>
              <a:gd name="connsiteY5" fmla="*/ 0 h 5135028"/>
              <a:gd name="connsiteX0" fmla="*/ 0 w 6028853"/>
              <a:gd name="connsiteY0" fmla="*/ 0 h 5124807"/>
              <a:gd name="connsiteX1" fmla="*/ 6028853 w 6028853"/>
              <a:gd name="connsiteY1" fmla="*/ 7569 h 5124807"/>
              <a:gd name="connsiteX2" fmla="*/ 4063693 w 6028853"/>
              <a:gd name="connsiteY2" fmla="*/ 5105999 h 5124807"/>
              <a:gd name="connsiteX3" fmla="*/ 596656 w 6028853"/>
              <a:gd name="connsiteY3" fmla="*/ 5124807 h 5124807"/>
              <a:gd name="connsiteX4" fmla="*/ 16934 w 6028853"/>
              <a:gd name="connsiteY4" fmla="*/ 4545085 h 5124807"/>
              <a:gd name="connsiteX5" fmla="*/ 0 w 6028853"/>
              <a:gd name="connsiteY5" fmla="*/ 0 h 5124807"/>
              <a:gd name="connsiteX0" fmla="*/ 0 w 4069500"/>
              <a:gd name="connsiteY0" fmla="*/ 0 h 5124807"/>
              <a:gd name="connsiteX1" fmla="*/ 4069425 w 4069500"/>
              <a:gd name="connsiteY1" fmla="*/ 7569 h 5124807"/>
              <a:gd name="connsiteX2" fmla="*/ 4063693 w 4069500"/>
              <a:gd name="connsiteY2" fmla="*/ 5105999 h 5124807"/>
              <a:gd name="connsiteX3" fmla="*/ 596656 w 4069500"/>
              <a:gd name="connsiteY3" fmla="*/ 5124807 h 5124807"/>
              <a:gd name="connsiteX4" fmla="*/ 16934 w 4069500"/>
              <a:gd name="connsiteY4" fmla="*/ 4545085 h 5124807"/>
              <a:gd name="connsiteX5" fmla="*/ 0 w 4069500"/>
              <a:gd name="connsiteY5" fmla="*/ 0 h 5124807"/>
              <a:gd name="connsiteX0" fmla="*/ 0 w 4069500"/>
              <a:gd name="connsiteY0" fmla="*/ 6946 h 5131753"/>
              <a:gd name="connsiteX1" fmla="*/ 4069425 w 4069500"/>
              <a:gd name="connsiteY1" fmla="*/ 0 h 5131753"/>
              <a:gd name="connsiteX2" fmla="*/ 4063693 w 4069500"/>
              <a:gd name="connsiteY2" fmla="*/ 5112945 h 5131753"/>
              <a:gd name="connsiteX3" fmla="*/ 596656 w 4069500"/>
              <a:gd name="connsiteY3" fmla="*/ 5131753 h 5131753"/>
              <a:gd name="connsiteX4" fmla="*/ 16934 w 4069500"/>
              <a:gd name="connsiteY4" fmla="*/ 4552031 h 5131753"/>
              <a:gd name="connsiteX5" fmla="*/ 0 w 4069500"/>
              <a:gd name="connsiteY5" fmla="*/ 6946 h 5131753"/>
              <a:gd name="connsiteX0" fmla="*/ 0 w 4082753"/>
              <a:gd name="connsiteY0" fmla="*/ 2 h 6874096"/>
              <a:gd name="connsiteX1" fmla="*/ 4082678 w 4082753"/>
              <a:gd name="connsiteY1" fmla="*/ 1742343 h 6874096"/>
              <a:gd name="connsiteX2" fmla="*/ 4076946 w 4082753"/>
              <a:gd name="connsiteY2" fmla="*/ 6855288 h 6874096"/>
              <a:gd name="connsiteX3" fmla="*/ 609909 w 4082753"/>
              <a:gd name="connsiteY3" fmla="*/ 6874096 h 6874096"/>
              <a:gd name="connsiteX4" fmla="*/ 30187 w 4082753"/>
              <a:gd name="connsiteY4" fmla="*/ 6294374 h 6874096"/>
              <a:gd name="connsiteX5" fmla="*/ 0 w 4082753"/>
              <a:gd name="connsiteY5" fmla="*/ 2 h 6874096"/>
              <a:gd name="connsiteX0" fmla="*/ 0 w 4095958"/>
              <a:gd name="connsiteY0" fmla="*/ 6946 h 6881040"/>
              <a:gd name="connsiteX1" fmla="*/ 4095930 w 4095958"/>
              <a:gd name="connsiteY1" fmla="*/ 0 h 6881040"/>
              <a:gd name="connsiteX2" fmla="*/ 4076946 w 4095958"/>
              <a:gd name="connsiteY2" fmla="*/ 6862232 h 6881040"/>
              <a:gd name="connsiteX3" fmla="*/ 609909 w 4095958"/>
              <a:gd name="connsiteY3" fmla="*/ 6881040 h 6881040"/>
              <a:gd name="connsiteX4" fmla="*/ 30187 w 4095958"/>
              <a:gd name="connsiteY4" fmla="*/ 6301318 h 6881040"/>
              <a:gd name="connsiteX5" fmla="*/ 0 w 4095958"/>
              <a:gd name="connsiteY5" fmla="*/ 6946 h 6881040"/>
              <a:gd name="connsiteX0" fmla="*/ 0 w 4076946"/>
              <a:gd name="connsiteY0" fmla="*/ 0 h 6874094"/>
              <a:gd name="connsiteX1" fmla="*/ 3870643 w 4076946"/>
              <a:gd name="connsiteY1" fmla="*/ 191837 h 6874094"/>
              <a:gd name="connsiteX2" fmla="*/ 4076946 w 4076946"/>
              <a:gd name="connsiteY2" fmla="*/ 6855286 h 6874094"/>
              <a:gd name="connsiteX3" fmla="*/ 609909 w 4076946"/>
              <a:gd name="connsiteY3" fmla="*/ 6874094 h 6874094"/>
              <a:gd name="connsiteX4" fmla="*/ 30187 w 4076946"/>
              <a:gd name="connsiteY4" fmla="*/ 6294372 h 6874094"/>
              <a:gd name="connsiteX5" fmla="*/ 0 w 4076946"/>
              <a:gd name="connsiteY5" fmla="*/ 0 h 6874094"/>
              <a:gd name="connsiteX0" fmla="*/ 0 w 4076946"/>
              <a:gd name="connsiteY0" fmla="*/ 0 h 6874094"/>
              <a:gd name="connsiteX1" fmla="*/ 4069426 w 4076946"/>
              <a:gd name="connsiteY1" fmla="*/ 19559 h 6874094"/>
              <a:gd name="connsiteX2" fmla="*/ 4076946 w 4076946"/>
              <a:gd name="connsiteY2" fmla="*/ 6855286 h 6874094"/>
              <a:gd name="connsiteX3" fmla="*/ 609909 w 4076946"/>
              <a:gd name="connsiteY3" fmla="*/ 6874094 h 6874094"/>
              <a:gd name="connsiteX4" fmla="*/ 30187 w 4076946"/>
              <a:gd name="connsiteY4" fmla="*/ 6294372 h 6874094"/>
              <a:gd name="connsiteX5" fmla="*/ 0 w 4076946"/>
              <a:gd name="connsiteY5" fmla="*/ 0 h 6874094"/>
              <a:gd name="connsiteX0" fmla="*/ 0 w 4076946"/>
              <a:gd name="connsiteY0" fmla="*/ 99710 h 6854535"/>
              <a:gd name="connsiteX1" fmla="*/ 4069426 w 4076946"/>
              <a:gd name="connsiteY1" fmla="*/ 0 h 6854535"/>
              <a:gd name="connsiteX2" fmla="*/ 4076946 w 4076946"/>
              <a:gd name="connsiteY2" fmla="*/ 6835727 h 6854535"/>
              <a:gd name="connsiteX3" fmla="*/ 609909 w 4076946"/>
              <a:gd name="connsiteY3" fmla="*/ 6854535 h 6854535"/>
              <a:gd name="connsiteX4" fmla="*/ 30187 w 4076946"/>
              <a:gd name="connsiteY4" fmla="*/ 6274813 h 6854535"/>
              <a:gd name="connsiteX5" fmla="*/ 0 w 4076946"/>
              <a:gd name="connsiteY5" fmla="*/ 99710 h 6854535"/>
              <a:gd name="connsiteX0" fmla="*/ 0 w 4076946"/>
              <a:gd name="connsiteY0" fmla="*/ 0 h 6860842"/>
              <a:gd name="connsiteX1" fmla="*/ 4069426 w 4076946"/>
              <a:gd name="connsiteY1" fmla="*/ 6307 h 6860842"/>
              <a:gd name="connsiteX2" fmla="*/ 4076946 w 4076946"/>
              <a:gd name="connsiteY2" fmla="*/ 6842034 h 6860842"/>
              <a:gd name="connsiteX3" fmla="*/ 609909 w 4076946"/>
              <a:gd name="connsiteY3" fmla="*/ 6860842 h 6860842"/>
              <a:gd name="connsiteX4" fmla="*/ 30187 w 4076946"/>
              <a:gd name="connsiteY4" fmla="*/ 6281120 h 6860842"/>
              <a:gd name="connsiteX5" fmla="*/ 0 w 4076946"/>
              <a:gd name="connsiteY5" fmla="*/ 0 h 68608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076946" h="6860842">
                <a:moveTo>
                  <a:pt x="0" y="0"/>
                </a:moveTo>
                <a:lnTo>
                  <a:pt x="4069426" y="6307"/>
                </a:lnTo>
                <a:cubicBezTo>
                  <a:pt x="4070331" y="2153114"/>
                  <a:pt x="4076041" y="4695227"/>
                  <a:pt x="4076946" y="6842034"/>
                </a:cubicBezTo>
                <a:lnTo>
                  <a:pt x="609909" y="6860842"/>
                </a:lnTo>
                <a:cubicBezTo>
                  <a:pt x="289737" y="6860842"/>
                  <a:pt x="30187" y="6601292"/>
                  <a:pt x="30187" y="6281120"/>
                </a:cubicBezTo>
                <a:cubicBezTo>
                  <a:pt x="24542" y="4758683"/>
                  <a:pt x="5645" y="1522437"/>
                  <a:pt x="0" y="0"/>
                </a:cubicBezTo>
                <a:close/>
              </a:path>
            </a:pathLst>
          </a:custGeom>
          <a:noFill/>
        </p:spPr>
        <p:txBody>
          <a:bodyPr>
            <a:normAutofit/>
          </a:bodyPr>
          <a:lstStyle>
            <a:lvl1pPr marL="0" indent="0">
              <a:buNone/>
              <a:defRPr sz="1400">
                <a:solidFill>
                  <a:schemeClr val="tx1"/>
                </a:solidFill>
              </a:defRPr>
            </a:lvl1pPr>
          </a:lstStyle>
          <a:p>
            <a:r>
              <a:rPr lang="en-JP"/>
              <a:t>Insert Photo</a:t>
            </a:r>
          </a:p>
        </p:txBody>
      </p:sp>
      <p:sp>
        <p:nvSpPr>
          <p:cNvPr id="17" name="タイトル プレースホルダ 1">
            <a:extLst>
              <a:ext uri="{FF2B5EF4-FFF2-40B4-BE49-F238E27FC236}">
                <a16:creationId xmlns:a16="http://schemas.microsoft.com/office/drawing/2014/main" id="{6FB24DD6-99CB-CE43-A787-C9F60DC95F8F}"/>
              </a:ext>
            </a:extLst>
          </p:cNvPr>
          <p:cNvSpPr>
            <a:spLocks noGrp="1"/>
          </p:cNvSpPr>
          <p:nvPr>
            <p:ph type="title" hasCustomPrompt="1"/>
          </p:nvPr>
        </p:nvSpPr>
        <p:spPr>
          <a:xfrm>
            <a:off x="606079" y="161605"/>
            <a:ext cx="7368878" cy="685801"/>
          </a:xfrm>
          <a:prstGeom prst="rect">
            <a:avLst/>
          </a:prstGeom>
        </p:spPr>
        <p:txBody>
          <a:bodyPr vert="horz" lIns="0" tIns="0" rIns="0" bIns="0" rtlCol="0" anchor="ctr">
            <a:normAutofit/>
          </a:bodyPr>
          <a:lstStyle/>
          <a:p>
            <a:r>
              <a:rPr kumimoji="1" lang="en-US" altLang="ja-JP"/>
              <a:t>Click to add title</a:t>
            </a:r>
            <a:endParaRPr kumimoji="1" lang="ja-JP" altLang="en-US"/>
          </a:p>
        </p:txBody>
      </p:sp>
      <p:sp>
        <p:nvSpPr>
          <p:cNvPr id="18" name="Rectangle 17">
            <a:extLst>
              <a:ext uri="{FF2B5EF4-FFF2-40B4-BE49-F238E27FC236}">
                <a16:creationId xmlns:a16="http://schemas.microsoft.com/office/drawing/2014/main" id="{77130E5B-E573-584B-8C83-F8409492B14B}"/>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a:solidFill>
                <a:schemeClr val="accent1"/>
              </a:solidFill>
            </a:endParaRPr>
          </a:p>
        </p:txBody>
      </p:sp>
      <p:sp>
        <p:nvSpPr>
          <p:cNvPr id="21" name="スライド番号プレースホルダ 5">
            <a:extLst>
              <a:ext uri="{FF2B5EF4-FFF2-40B4-BE49-F238E27FC236}">
                <a16:creationId xmlns:a16="http://schemas.microsoft.com/office/drawing/2014/main" id="{C55CC856-2ADD-F44F-96B6-03734457CCF1}"/>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2" name="Text Placeholder 6">
            <a:extLst>
              <a:ext uri="{FF2B5EF4-FFF2-40B4-BE49-F238E27FC236}">
                <a16:creationId xmlns:a16="http://schemas.microsoft.com/office/drawing/2014/main" id="{DB94AACD-56D4-F146-AFC0-5CBE6630C5AA}"/>
              </a:ext>
            </a:extLst>
          </p:cNvPr>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Private and confidential. For internal use only.</a:t>
            </a:r>
          </a:p>
        </p:txBody>
      </p:sp>
      <p:sp>
        <p:nvSpPr>
          <p:cNvPr id="19" name="Text Placeholder 2">
            <a:extLst>
              <a:ext uri="{FF2B5EF4-FFF2-40B4-BE49-F238E27FC236}">
                <a16:creationId xmlns:a16="http://schemas.microsoft.com/office/drawing/2014/main" id="{73A8AA34-7C7D-A24F-AF24-5158DD2AB0ED}"/>
              </a:ext>
            </a:extLst>
          </p:cNvPr>
          <p:cNvSpPr>
            <a:spLocks noGrp="1"/>
          </p:cNvSpPr>
          <p:nvPr>
            <p:ph type="body" sz="quarter" idx="20" hasCustomPrompt="1"/>
          </p:nvPr>
        </p:nvSpPr>
        <p:spPr>
          <a:xfrm>
            <a:off x="311151" y="1491373"/>
            <a:ext cx="7660042" cy="1464957"/>
          </a:xfrm>
        </p:spPr>
        <p:txBody>
          <a:bodyPr tIns="0" rIns="0" bIns="0" numCol="1" spcCol="126000">
            <a:noAutofit/>
          </a:bodyPr>
          <a:lstStyle>
            <a:lvl1pPr marL="0" indent="0">
              <a:lnSpc>
                <a:spcPct val="100000"/>
              </a:lnSpc>
              <a:spcBef>
                <a:spcPts val="0"/>
              </a:spcBef>
              <a:buNone/>
              <a:defRPr sz="1600" b="1"/>
            </a:lvl1pPr>
            <a:lvl2pPr marL="457068" indent="0">
              <a:buNone/>
              <a:defRPr sz="1800" b="1"/>
            </a:lvl2pPr>
            <a:lvl3pPr marL="914149" indent="0">
              <a:buNone/>
              <a:defRPr sz="1800" b="1"/>
            </a:lvl3pPr>
            <a:lvl4pPr marL="1371219" indent="0">
              <a:buNone/>
              <a:defRPr sz="1800" b="1"/>
            </a:lvl4pPr>
            <a:lvl5pPr marL="1828290" indent="0">
              <a:buNone/>
              <a:defRPr sz="1800" b="1"/>
            </a:lvl5pPr>
          </a:lstStyle>
          <a:p>
            <a:pPr lvl="0"/>
            <a:r>
              <a:rPr lang="en-US"/>
              <a:t>This is your Primary Text.</a:t>
            </a:r>
            <a:endParaRPr lang="en-JP"/>
          </a:p>
        </p:txBody>
      </p:sp>
      <p:sp>
        <p:nvSpPr>
          <p:cNvPr id="20" name="Text Placeholder 6">
            <a:extLst>
              <a:ext uri="{FF2B5EF4-FFF2-40B4-BE49-F238E27FC236}">
                <a16:creationId xmlns:a16="http://schemas.microsoft.com/office/drawing/2014/main" id="{8F4B55CE-CF3E-7E44-A66A-599621CA5C5F}"/>
              </a:ext>
            </a:extLst>
          </p:cNvPr>
          <p:cNvSpPr>
            <a:spLocks noGrp="1"/>
          </p:cNvSpPr>
          <p:nvPr>
            <p:ph type="body" sz="quarter" idx="21" hasCustomPrompt="1"/>
          </p:nvPr>
        </p:nvSpPr>
        <p:spPr>
          <a:xfrm>
            <a:off x="311150" y="1093767"/>
            <a:ext cx="7660042" cy="272786"/>
          </a:xfrm>
        </p:spPr>
        <p:txBody>
          <a:bodyPr tIns="0" rIns="0" bIns="0" numCol="1">
            <a:noAutofit/>
          </a:bodyPr>
          <a:lstStyle>
            <a:lvl1pPr marL="0" indent="0">
              <a:lnSpc>
                <a:spcPct val="100000"/>
              </a:lnSpc>
              <a:spcBef>
                <a:spcPts val="0"/>
              </a:spcBef>
              <a:spcAft>
                <a:spcPts val="600"/>
              </a:spcAft>
              <a:buNone/>
              <a:defRPr sz="20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Primary Title</a:t>
            </a:r>
          </a:p>
        </p:txBody>
      </p:sp>
    </p:spTree>
    <p:extLst>
      <p:ext uri="{BB962C8B-B14F-4D97-AF65-F5344CB8AC3E}">
        <p14:creationId xmlns:p14="http://schemas.microsoft.com/office/powerpoint/2010/main" val="360342334"/>
      </p:ext>
    </p:extLst>
  </p:cSld>
  <p:clrMapOvr>
    <a:masterClrMapping/>
  </p:clrMapOvr>
  <p:transition spd="slow">
    <p:push dir="u"/>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Advanced Image 4-Column">
    <p:spTree>
      <p:nvGrpSpPr>
        <p:cNvPr id="1" name=""/>
        <p:cNvGrpSpPr/>
        <p:nvPr/>
      </p:nvGrpSpPr>
      <p:grpSpPr>
        <a:xfrm>
          <a:off x="0" y="0"/>
          <a:ext cx="0" cy="0"/>
          <a:chOff x="0" y="0"/>
          <a:chExt cx="0" cy="0"/>
        </a:xfrm>
      </p:grpSpPr>
      <p:sp>
        <p:nvSpPr>
          <p:cNvPr id="22" name="Picture Placeholder 9">
            <a:extLst>
              <a:ext uri="{FF2B5EF4-FFF2-40B4-BE49-F238E27FC236}">
                <a16:creationId xmlns:a16="http://schemas.microsoft.com/office/drawing/2014/main" id="{21DF8897-54F9-C24F-8261-0C5418827A6D}"/>
              </a:ext>
            </a:extLst>
          </p:cNvPr>
          <p:cNvSpPr>
            <a:spLocks noGrp="1"/>
          </p:cNvSpPr>
          <p:nvPr>
            <p:ph type="pic" sz="quarter" idx="10" hasCustomPrompt="1"/>
          </p:nvPr>
        </p:nvSpPr>
        <p:spPr>
          <a:xfrm>
            <a:off x="9110737" y="3076286"/>
            <a:ext cx="2772041" cy="3138969"/>
          </a:xfrm>
          <a:custGeom>
            <a:avLst/>
            <a:gdLst>
              <a:gd name="connsiteX0" fmla="*/ 0 w 10888662"/>
              <a:gd name="connsiteY0" fmla="*/ 579722 h 6442075"/>
              <a:gd name="connsiteX1" fmla="*/ 579722 w 10888662"/>
              <a:gd name="connsiteY1" fmla="*/ 0 h 6442075"/>
              <a:gd name="connsiteX2" fmla="*/ 10308940 w 10888662"/>
              <a:gd name="connsiteY2" fmla="*/ 0 h 6442075"/>
              <a:gd name="connsiteX3" fmla="*/ 10888662 w 10888662"/>
              <a:gd name="connsiteY3" fmla="*/ 579722 h 6442075"/>
              <a:gd name="connsiteX4" fmla="*/ 10888662 w 10888662"/>
              <a:gd name="connsiteY4" fmla="*/ 5862353 h 6442075"/>
              <a:gd name="connsiteX5" fmla="*/ 10308940 w 10888662"/>
              <a:gd name="connsiteY5" fmla="*/ 6442075 h 6442075"/>
              <a:gd name="connsiteX6" fmla="*/ 579722 w 10888662"/>
              <a:gd name="connsiteY6" fmla="*/ 6442075 h 6442075"/>
              <a:gd name="connsiteX7" fmla="*/ 0 w 10888662"/>
              <a:gd name="connsiteY7" fmla="*/ 5862353 h 6442075"/>
              <a:gd name="connsiteX8" fmla="*/ 0 w 10888662"/>
              <a:gd name="connsiteY8" fmla="*/ 579722 h 6442075"/>
              <a:gd name="connsiteX0" fmla="*/ 0 w 10888662"/>
              <a:gd name="connsiteY0" fmla="*/ 659657 h 6522010"/>
              <a:gd name="connsiteX1" fmla="*/ 10308940 w 10888662"/>
              <a:gd name="connsiteY1" fmla="*/ 79935 h 6522010"/>
              <a:gd name="connsiteX2" fmla="*/ 10888662 w 10888662"/>
              <a:gd name="connsiteY2" fmla="*/ 659657 h 6522010"/>
              <a:gd name="connsiteX3" fmla="*/ 10888662 w 10888662"/>
              <a:gd name="connsiteY3" fmla="*/ 5942288 h 6522010"/>
              <a:gd name="connsiteX4" fmla="*/ 10308940 w 10888662"/>
              <a:gd name="connsiteY4" fmla="*/ 6522010 h 6522010"/>
              <a:gd name="connsiteX5" fmla="*/ 579722 w 10888662"/>
              <a:gd name="connsiteY5" fmla="*/ 6522010 h 6522010"/>
              <a:gd name="connsiteX6" fmla="*/ 0 w 10888662"/>
              <a:gd name="connsiteY6" fmla="*/ 5942288 h 6522010"/>
              <a:gd name="connsiteX7" fmla="*/ 0 w 10888662"/>
              <a:gd name="connsiteY7" fmla="*/ 659657 h 6522010"/>
              <a:gd name="connsiteX0" fmla="*/ 0 w 10888662"/>
              <a:gd name="connsiteY0" fmla="*/ 579722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579722 h 6442075"/>
              <a:gd name="connsiteX0" fmla="*/ 0 w 10888662"/>
              <a:gd name="connsiteY0" fmla="*/ 129257 h 6569679"/>
              <a:gd name="connsiteX1" fmla="*/ 10308940 w 10888662"/>
              <a:gd name="connsiteY1" fmla="*/ 127604 h 6569679"/>
              <a:gd name="connsiteX2" fmla="*/ 10888662 w 10888662"/>
              <a:gd name="connsiteY2" fmla="*/ 707326 h 6569679"/>
              <a:gd name="connsiteX3" fmla="*/ 10888662 w 10888662"/>
              <a:gd name="connsiteY3" fmla="*/ 5989957 h 6569679"/>
              <a:gd name="connsiteX4" fmla="*/ 10308940 w 10888662"/>
              <a:gd name="connsiteY4" fmla="*/ 6569679 h 6569679"/>
              <a:gd name="connsiteX5" fmla="*/ 579722 w 10888662"/>
              <a:gd name="connsiteY5" fmla="*/ 6569679 h 6569679"/>
              <a:gd name="connsiteX6" fmla="*/ 0 w 10888662"/>
              <a:gd name="connsiteY6" fmla="*/ 5989957 h 6569679"/>
              <a:gd name="connsiteX7" fmla="*/ 0 w 10888662"/>
              <a:gd name="connsiteY7" fmla="*/ 129257 h 6569679"/>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9657299 w 10888662"/>
              <a:gd name="connsiteY4" fmla="*/ 55276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522010"/>
              <a:gd name="connsiteX1" fmla="*/ 10308940 w 10888662"/>
              <a:gd name="connsiteY1" fmla="*/ 0 h 6522010"/>
              <a:gd name="connsiteX2" fmla="*/ 10888662 w 10888662"/>
              <a:gd name="connsiteY2" fmla="*/ 579722 h 6522010"/>
              <a:gd name="connsiteX3" fmla="*/ 10888662 w 10888662"/>
              <a:gd name="connsiteY3" fmla="*/ 5862353 h 6522010"/>
              <a:gd name="connsiteX4" fmla="*/ 579722 w 10888662"/>
              <a:gd name="connsiteY4" fmla="*/ 6442075 h 6522010"/>
              <a:gd name="connsiteX5" fmla="*/ 0 w 10888662"/>
              <a:gd name="connsiteY5" fmla="*/ 5862353 h 6522010"/>
              <a:gd name="connsiteX6" fmla="*/ 0 w 10888662"/>
              <a:gd name="connsiteY6" fmla="*/ 1653 h 6522010"/>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579722 w 10888662"/>
              <a:gd name="connsiteY4" fmla="*/ 6442075 h 6442075"/>
              <a:gd name="connsiteX5" fmla="*/ 0 w 10888662"/>
              <a:gd name="connsiteY5" fmla="*/ 5862353 h 6442075"/>
              <a:gd name="connsiteX6" fmla="*/ 0 w 10888662"/>
              <a:gd name="connsiteY6" fmla="*/ 1653 h 6442075"/>
              <a:gd name="connsiteX0" fmla="*/ 0 w 10888662"/>
              <a:gd name="connsiteY0" fmla="*/ 1653 h 6585432"/>
              <a:gd name="connsiteX1" fmla="*/ 10308940 w 10888662"/>
              <a:gd name="connsiteY1" fmla="*/ 0 h 6585432"/>
              <a:gd name="connsiteX2" fmla="*/ 10888662 w 10888662"/>
              <a:gd name="connsiteY2" fmla="*/ 579722 h 6585432"/>
              <a:gd name="connsiteX3" fmla="*/ 10878151 w 10888662"/>
              <a:gd name="connsiteY3" fmla="*/ 6461442 h 6585432"/>
              <a:gd name="connsiteX4" fmla="*/ 579722 w 10888662"/>
              <a:gd name="connsiteY4" fmla="*/ 6442075 h 6585432"/>
              <a:gd name="connsiteX5" fmla="*/ 0 w 10888662"/>
              <a:gd name="connsiteY5" fmla="*/ 5862353 h 6585432"/>
              <a:gd name="connsiteX6" fmla="*/ 0 w 10888662"/>
              <a:gd name="connsiteY6" fmla="*/ 1653 h 6585432"/>
              <a:gd name="connsiteX0" fmla="*/ 0 w 10888662"/>
              <a:gd name="connsiteY0" fmla="*/ 1653 h 6577502"/>
              <a:gd name="connsiteX1" fmla="*/ 10308940 w 10888662"/>
              <a:gd name="connsiteY1" fmla="*/ 0 h 6577502"/>
              <a:gd name="connsiteX2" fmla="*/ 10888662 w 10888662"/>
              <a:gd name="connsiteY2" fmla="*/ 579722 h 6577502"/>
              <a:gd name="connsiteX3" fmla="*/ 10878151 w 10888662"/>
              <a:gd name="connsiteY3" fmla="*/ 6450932 h 6577502"/>
              <a:gd name="connsiteX4" fmla="*/ 579722 w 10888662"/>
              <a:gd name="connsiteY4" fmla="*/ 6442075 h 6577502"/>
              <a:gd name="connsiteX5" fmla="*/ 0 w 10888662"/>
              <a:gd name="connsiteY5" fmla="*/ 5862353 h 6577502"/>
              <a:gd name="connsiteX6" fmla="*/ 0 w 10888662"/>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0888662"/>
              <a:gd name="connsiteY0" fmla="*/ 1653 h 6450932"/>
              <a:gd name="connsiteX1" fmla="*/ 10308940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0999550"/>
              <a:gd name="connsiteY0" fmla="*/ 1653 h 6450932"/>
              <a:gd name="connsiteX1" fmla="*/ 10844968 w 10999550"/>
              <a:gd name="connsiteY1" fmla="*/ 0 h 6450932"/>
              <a:gd name="connsiteX2" fmla="*/ 10888662 w 10999550"/>
              <a:gd name="connsiteY2" fmla="*/ 579722 h 6450932"/>
              <a:gd name="connsiteX3" fmla="*/ 10878151 w 10999550"/>
              <a:gd name="connsiteY3" fmla="*/ 6450932 h 6450932"/>
              <a:gd name="connsiteX4" fmla="*/ 579722 w 10999550"/>
              <a:gd name="connsiteY4" fmla="*/ 6442075 h 6450932"/>
              <a:gd name="connsiteX5" fmla="*/ 0 w 10999550"/>
              <a:gd name="connsiteY5" fmla="*/ 5862353 h 6450932"/>
              <a:gd name="connsiteX6" fmla="*/ 0 w 10999550"/>
              <a:gd name="connsiteY6" fmla="*/ 1653 h 6450932"/>
              <a:gd name="connsiteX0" fmla="*/ 0 w 11022020"/>
              <a:gd name="connsiteY0" fmla="*/ 1653 h 6450932"/>
              <a:gd name="connsiteX1" fmla="*/ 10876499 w 11022020"/>
              <a:gd name="connsiteY1" fmla="*/ 0 h 6450932"/>
              <a:gd name="connsiteX2" fmla="*/ 10888662 w 11022020"/>
              <a:gd name="connsiteY2" fmla="*/ 579722 h 6450932"/>
              <a:gd name="connsiteX3" fmla="*/ 10878151 w 11022020"/>
              <a:gd name="connsiteY3" fmla="*/ 6450932 h 6450932"/>
              <a:gd name="connsiteX4" fmla="*/ 579722 w 11022020"/>
              <a:gd name="connsiteY4" fmla="*/ 6442075 h 6450932"/>
              <a:gd name="connsiteX5" fmla="*/ 0 w 11022020"/>
              <a:gd name="connsiteY5" fmla="*/ 5862353 h 6450932"/>
              <a:gd name="connsiteX6" fmla="*/ 0 w 11022020"/>
              <a:gd name="connsiteY6" fmla="*/ 1653 h 6450932"/>
              <a:gd name="connsiteX0" fmla="*/ 0 w 10888662"/>
              <a:gd name="connsiteY0" fmla="*/ 1653 h 6450932"/>
              <a:gd name="connsiteX1" fmla="*/ 10876499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2200990"/>
              <a:gd name="connsiteY0" fmla="*/ 1653 h 6450932"/>
              <a:gd name="connsiteX1" fmla="*/ 10876499 w 12200990"/>
              <a:gd name="connsiteY1" fmla="*/ 0 h 6450932"/>
              <a:gd name="connsiteX2" fmla="*/ 10878151 w 12200990"/>
              <a:gd name="connsiteY2" fmla="*/ 6450932 h 6450932"/>
              <a:gd name="connsiteX3" fmla="*/ 579722 w 12200990"/>
              <a:gd name="connsiteY3" fmla="*/ 6442075 h 6450932"/>
              <a:gd name="connsiteX4" fmla="*/ 0 w 12200990"/>
              <a:gd name="connsiteY4" fmla="*/ 5862353 h 6450932"/>
              <a:gd name="connsiteX5" fmla="*/ 0 w 12200990"/>
              <a:gd name="connsiteY5" fmla="*/ 1653 h 6450932"/>
              <a:gd name="connsiteX0" fmla="*/ 0 w 11640630"/>
              <a:gd name="connsiteY0" fmla="*/ 1653 h 6450932"/>
              <a:gd name="connsiteX1" fmla="*/ 10876499 w 11640630"/>
              <a:gd name="connsiteY1" fmla="*/ 0 h 6450932"/>
              <a:gd name="connsiteX2" fmla="*/ 10878151 w 11640630"/>
              <a:gd name="connsiteY2" fmla="*/ 6450932 h 6450932"/>
              <a:gd name="connsiteX3" fmla="*/ 579722 w 11640630"/>
              <a:gd name="connsiteY3" fmla="*/ 6442075 h 6450932"/>
              <a:gd name="connsiteX4" fmla="*/ 0 w 11640630"/>
              <a:gd name="connsiteY4" fmla="*/ 5862353 h 6450932"/>
              <a:gd name="connsiteX5" fmla="*/ 0 w 11640630"/>
              <a:gd name="connsiteY5" fmla="*/ 1653 h 6450932"/>
              <a:gd name="connsiteX0" fmla="*/ 0 w 10878151"/>
              <a:gd name="connsiteY0" fmla="*/ 1653 h 6450932"/>
              <a:gd name="connsiteX1" fmla="*/ 10876499 w 10878151"/>
              <a:gd name="connsiteY1" fmla="*/ 0 h 6450932"/>
              <a:gd name="connsiteX2" fmla="*/ 10878151 w 10878151"/>
              <a:gd name="connsiteY2" fmla="*/ 6450932 h 6450932"/>
              <a:gd name="connsiteX3" fmla="*/ 579722 w 10878151"/>
              <a:gd name="connsiteY3" fmla="*/ 6442075 h 6450932"/>
              <a:gd name="connsiteX4" fmla="*/ 0 w 10878151"/>
              <a:gd name="connsiteY4" fmla="*/ 5862353 h 6450932"/>
              <a:gd name="connsiteX5" fmla="*/ 0 w 10878151"/>
              <a:gd name="connsiteY5" fmla="*/ 1653 h 6450932"/>
              <a:gd name="connsiteX0" fmla="*/ 0 w 11843451"/>
              <a:gd name="connsiteY0" fmla="*/ 1653 h 6450932"/>
              <a:gd name="connsiteX1" fmla="*/ 11843451 w 11843451"/>
              <a:gd name="connsiteY1" fmla="*/ 0 h 6450932"/>
              <a:gd name="connsiteX2" fmla="*/ 10878151 w 11843451"/>
              <a:gd name="connsiteY2" fmla="*/ 6450932 h 6450932"/>
              <a:gd name="connsiteX3" fmla="*/ 579722 w 11843451"/>
              <a:gd name="connsiteY3" fmla="*/ 6442075 h 6450932"/>
              <a:gd name="connsiteX4" fmla="*/ 0 w 11843451"/>
              <a:gd name="connsiteY4" fmla="*/ 5862353 h 6450932"/>
              <a:gd name="connsiteX5" fmla="*/ 0 w 11843451"/>
              <a:gd name="connsiteY5" fmla="*/ 1653 h 6450932"/>
              <a:gd name="connsiteX0" fmla="*/ 0 w 11855613"/>
              <a:gd name="connsiteY0" fmla="*/ 1653 h 6450932"/>
              <a:gd name="connsiteX1" fmla="*/ 11843451 w 11855613"/>
              <a:gd name="connsiteY1" fmla="*/ 0 h 6450932"/>
              <a:gd name="connsiteX2" fmla="*/ 11855613 w 11855613"/>
              <a:gd name="connsiteY2" fmla="*/ 6450932 h 6450932"/>
              <a:gd name="connsiteX3" fmla="*/ 579722 w 11855613"/>
              <a:gd name="connsiteY3" fmla="*/ 6442075 h 6450932"/>
              <a:gd name="connsiteX4" fmla="*/ 0 w 11855613"/>
              <a:gd name="connsiteY4" fmla="*/ 5862353 h 6450932"/>
              <a:gd name="connsiteX5" fmla="*/ 0 w 11855613"/>
              <a:gd name="connsiteY5" fmla="*/ 1653 h 6450932"/>
              <a:gd name="connsiteX0" fmla="*/ 0 w 11864472"/>
              <a:gd name="connsiteY0" fmla="*/ 1653 h 6450932"/>
              <a:gd name="connsiteX1" fmla="*/ 11864472 w 11864472"/>
              <a:gd name="connsiteY1" fmla="*/ 0 h 6450932"/>
              <a:gd name="connsiteX2" fmla="*/ 11855613 w 11864472"/>
              <a:gd name="connsiteY2" fmla="*/ 6450932 h 6450932"/>
              <a:gd name="connsiteX3" fmla="*/ 579722 w 11864472"/>
              <a:gd name="connsiteY3" fmla="*/ 6442075 h 6450932"/>
              <a:gd name="connsiteX4" fmla="*/ 0 w 11864472"/>
              <a:gd name="connsiteY4" fmla="*/ 5862353 h 6450932"/>
              <a:gd name="connsiteX5" fmla="*/ 0 w 11864472"/>
              <a:gd name="connsiteY5" fmla="*/ 1653 h 6450932"/>
              <a:gd name="connsiteX0" fmla="*/ 0 w 11864472"/>
              <a:gd name="connsiteY0" fmla="*/ 1653 h 6442075"/>
              <a:gd name="connsiteX1" fmla="*/ 11864472 w 11864472"/>
              <a:gd name="connsiteY1" fmla="*/ 0 h 6442075"/>
              <a:gd name="connsiteX2" fmla="*/ 11855613 w 11864472"/>
              <a:gd name="connsiteY2" fmla="*/ 6440421 h 6442075"/>
              <a:gd name="connsiteX3" fmla="*/ 579722 w 11864472"/>
              <a:gd name="connsiteY3" fmla="*/ 6442075 h 6442075"/>
              <a:gd name="connsiteX4" fmla="*/ 0 w 11864472"/>
              <a:gd name="connsiteY4" fmla="*/ 5862353 h 6442075"/>
              <a:gd name="connsiteX5" fmla="*/ 0 w 11864472"/>
              <a:gd name="connsiteY5" fmla="*/ 1653 h 6442075"/>
              <a:gd name="connsiteX0" fmla="*/ 0 w 11855613"/>
              <a:gd name="connsiteY0" fmla="*/ 1653 h 6442075"/>
              <a:gd name="connsiteX1" fmla="*/ 8912928 w 11855613"/>
              <a:gd name="connsiteY1" fmla="*/ 0 h 6442075"/>
              <a:gd name="connsiteX2" fmla="*/ 11855613 w 11855613"/>
              <a:gd name="connsiteY2" fmla="*/ 6440421 h 6442075"/>
              <a:gd name="connsiteX3" fmla="*/ 579722 w 11855613"/>
              <a:gd name="connsiteY3" fmla="*/ 6442075 h 6442075"/>
              <a:gd name="connsiteX4" fmla="*/ 0 w 11855613"/>
              <a:gd name="connsiteY4" fmla="*/ 5862353 h 6442075"/>
              <a:gd name="connsiteX5" fmla="*/ 0 w 11855613"/>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74032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36077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1615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15642"/>
              <a:gd name="connsiteY0" fmla="*/ 1653 h 6442075"/>
              <a:gd name="connsiteX1" fmla="*/ 8912928 w 8915642"/>
              <a:gd name="connsiteY1" fmla="*/ 0 h 6442075"/>
              <a:gd name="connsiteX2" fmla="*/ 8915642 w 8915642"/>
              <a:gd name="connsiteY2" fmla="*/ 6440421 h 6442075"/>
              <a:gd name="connsiteX3" fmla="*/ 579722 w 8915642"/>
              <a:gd name="connsiteY3" fmla="*/ 6442075 h 6442075"/>
              <a:gd name="connsiteX4" fmla="*/ 0 w 8915642"/>
              <a:gd name="connsiteY4" fmla="*/ 5862353 h 6442075"/>
              <a:gd name="connsiteX5" fmla="*/ 0 w 8915642"/>
              <a:gd name="connsiteY5" fmla="*/ 1653 h 6442075"/>
              <a:gd name="connsiteX0" fmla="*/ 0 w 8915642"/>
              <a:gd name="connsiteY0" fmla="*/ 1 h 6618553"/>
              <a:gd name="connsiteX1" fmla="*/ 8912928 w 8915642"/>
              <a:gd name="connsiteY1" fmla="*/ 176478 h 6618553"/>
              <a:gd name="connsiteX2" fmla="*/ 8915642 w 8915642"/>
              <a:gd name="connsiteY2" fmla="*/ 6616899 h 6618553"/>
              <a:gd name="connsiteX3" fmla="*/ 579722 w 8915642"/>
              <a:gd name="connsiteY3" fmla="*/ 6618553 h 6618553"/>
              <a:gd name="connsiteX4" fmla="*/ 0 w 8915642"/>
              <a:gd name="connsiteY4" fmla="*/ 6038831 h 6618553"/>
              <a:gd name="connsiteX5" fmla="*/ 0 w 8915642"/>
              <a:gd name="connsiteY5" fmla="*/ 1 h 6618553"/>
              <a:gd name="connsiteX0" fmla="*/ 0 w 8915642"/>
              <a:gd name="connsiteY0" fmla="*/ 25404 h 6643956"/>
              <a:gd name="connsiteX1" fmla="*/ 6015348 w 8915642"/>
              <a:gd name="connsiteY1" fmla="*/ 0 h 6643956"/>
              <a:gd name="connsiteX2" fmla="*/ 8915642 w 8915642"/>
              <a:gd name="connsiteY2" fmla="*/ 6642302 h 6643956"/>
              <a:gd name="connsiteX3" fmla="*/ 579722 w 8915642"/>
              <a:gd name="connsiteY3" fmla="*/ 6643956 h 6643956"/>
              <a:gd name="connsiteX4" fmla="*/ 0 w 8915642"/>
              <a:gd name="connsiteY4" fmla="*/ 6064234 h 6643956"/>
              <a:gd name="connsiteX5" fmla="*/ 0 w 8915642"/>
              <a:gd name="connsiteY5" fmla="*/ 25404 h 6643956"/>
              <a:gd name="connsiteX0" fmla="*/ 0 w 8915642"/>
              <a:gd name="connsiteY0" fmla="*/ 1653 h 6620205"/>
              <a:gd name="connsiteX1" fmla="*/ 6003473 w 8915642"/>
              <a:gd name="connsiteY1" fmla="*/ 0 h 6620205"/>
              <a:gd name="connsiteX2" fmla="*/ 8915642 w 8915642"/>
              <a:gd name="connsiteY2" fmla="*/ 6618551 h 6620205"/>
              <a:gd name="connsiteX3" fmla="*/ 579722 w 8915642"/>
              <a:gd name="connsiteY3" fmla="*/ 6620205 h 6620205"/>
              <a:gd name="connsiteX4" fmla="*/ 0 w 8915642"/>
              <a:gd name="connsiteY4" fmla="*/ 6040483 h 6620205"/>
              <a:gd name="connsiteX5" fmla="*/ 0 w 8915642"/>
              <a:gd name="connsiteY5" fmla="*/ 1653 h 6620205"/>
              <a:gd name="connsiteX0" fmla="*/ 0 w 8915642"/>
              <a:gd name="connsiteY0" fmla="*/ 96656 h 6620205"/>
              <a:gd name="connsiteX1" fmla="*/ 6003473 w 8915642"/>
              <a:gd name="connsiteY1" fmla="*/ 0 h 6620205"/>
              <a:gd name="connsiteX2" fmla="*/ 8915642 w 8915642"/>
              <a:gd name="connsiteY2" fmla="*/ 6618551 h 6620205"/>
              <a:gd name="connsiteX3" fmla="*/ 579722 w 8915642"/>
              <a:gd name="connsiteY3" fmla="*/ 6620205 h 6620205"/>
              <a:gd name="connsiteX4" fmla="*/ 0 w 8915642"/>
              <a:gd name="connsiteY4" fmla="*/ 6040483 h 6620205"/>
              <a:gd name="connsiteX5" fmla="*/ 0 w 8915642"/>
              <a:gd name="connsiteY5" fmla="*/ 96656 h 6620205"/>
              <a:gd name="connsiteX0" fmla="*/ 0 w 8915642"/>
              <a:gd name="connsiteY0" fmla="*/ 0 h 6642302"/>
              <a:gd name="connsiteX1" fmla="*/ 6003473 w 8915642"/>
              <a:gd name="connsiteY1" fmla="*/ 22097 h 6642302"/>
              <a:gd name="connsiteX2" fmla="*/ 8915642 w 8915642"/>
              <a:gd name="connsiteY2" fmla="*/ 6640648 h 6642302"/>
              <a:gd name="connsiteX3" fmla="*/ 579722 w 8915642"/>
              <a:gd name="connsiteY3" fmla="*/ 6642302 h 6642302"/>
              <a:gd name="connsiteX4" fmla="*/ 0 w 8915642"/>
              <a:gd name="connsiteY4" fmla="*/ 6062580 h 6642302"/>
              <a:gd name="connsiteX5" fmla="*/ 0 w 8915642"/>
              <a:gd name="connsiteY5" fmla="*/ 0 h 6642302"/>
              <a:gd name="connsiteX0" fmla="*/ 0 w 8915642"/>
              <a:gd name="connsiteY0" fmla="*/ 0 h 6642302"/>
              <a:gd name="connsiteX1" fmla="*/ 5932221 w 8915642"/>
              <a:gd name="connsiteY1" fmla="*/ 152725 h 6642302"/>
              <a:gd name="connsiteX2" fmla="*/ 8915642 w 8915642"/>
              <a:gd name="connsiteY2" fmla="*/ 6640648 h 6642302"/>
              <a:gd name="connsiteX3" fmla="*/ 579722 w 8915642"/>
              <a:gd name="connsiteY3" fmla="*/ 6642302 h 6642302"/>
              <a:gd name="connsiteX4" fmla="*/ 0 w 8915642"/>
              <a:gd name="connsiteY4" fmla="*/ 6062580 h 6642302"/>
              <a:gd name="connsiteX5" fmla="*/ 0 w 8915642"/>
              <a:gd name="connsiteY5" fmla="*/ 0 h 6642302"/>
              <a:gd name="connsiteX0" fmla="*/ 0 w 8915642"/>
              <a:gd name="connsiteY0" fmla="*/ 1654 h 6643956"/>
              <a:gd name="connsiteX1" fmla="*/ 6003473 w 8915642"/>
              <a:gd name="connsiteY1" fmla="*/ 0 h 6643956"/>
              <a:gd name="connsiteX2" fmla="*/ 8915642 w 8915642"/>
              <a:gd name="connsiteY2" fmla="*/ 6642302 h 6643956"/>
              <a:gd name="connsiteX3" fmla="*/ 579722 w 8915642"/>
              <a:gd name="connsiteY3" fmla="*/ 6643956 h 6643956"/>
              <a:gd name="connsiteX4" fmla="*/ 0 w 8915642"/>
              <a:gd name="connsiteY4" fmla="*/ 6064234 h 6643956"/>
              <a:gd name="connsiteX5" fmla="*/ 0 w 8915642"/>
              <a:gd name="connsiteY5" fmla="*/ 1654 h 6643956"/>
              <a:gd name="connsiteX0" fmla="*/ 0 w 6018062"/>
              <a:gd name="connsiteY0" fmla="*/ 1654 h 6654178"/>
              <a:gd name="connsiteX1" fmla="*/ 6003473 w 6018062"/>
              <a:gd name="connsiteY1" fmla="*/ 0 h 6654178"/>
              <a:gd name="connsiteX2" fmla="*/ 6018062 w 6018062"/>
              <a:gd name="connsiteY2" fmla="*/ 6654178 h 6654178"/>
              <a:gd name="connsiteX3" fmla="*/ 579722 w 6018062"/>
              <a:gd name="connsiteY3" fmla="*/ 6643956 h 6654178"/>
              <a:gd name="connsiteX4" fmla="*/ 0 w 6018062"/>
              <a:gd name="connsiteY4" fmla="*/ 6064234 h 6654178"/>
              <a:gd name="connsiteX5" fmla="*/ 0 w 6018062"/>
              <a:gd name="connsiteY5" fmla="*/ 1654 h 6654178"/>
              <a:gd name="connsiteX0" fmla="*/ 0 w 6018062"/>
              <a:gd name="connsiteY0" fmla="*/ 203535 h 6654178"/>
              <a:gd name="connsiteX1" fmla="*/ 6003473 w 6018062"/>
              <a:gd name="connsiteY1" fmla="*/ 0 h 6654178"/>
              <a:gd name="connsiteX2" fmla="*/ 6018062 w 6018062"/>
              <a:gd name="connsiteY2" fmla="*/ 6654178 h 6654178"/>
              <a:gd name="connsiteX3" fmla="*/ 579722 w 6018062"/>
              <a:gd name="connsiteY3" fmla="*/ 6643956 h 6654178"/>
              <a:gd name="connsiteX4" fmla="*/ 0 w 6018062"/>
              <a:gd name="connsiteY4" fmla="*/ 6064234 h 6654178"/>
              <a:gd name="connsiteX5" fmla="*/ 0 w 6018062"/>
              <a:gd name="connsiteY5" fmla="*/ 203535 h 6654178"/>
              <a:gd name="connsiteX0" fmla="*/ 0 w 6018062"/>
              <a:gd name="connsiteY0" fmla="*/ 1655 h 6452298"/>
              <a:gd name="connsiteX1" fmla="*/ 4055920 w 6018062"/>
              <a:gd name="connsiteY1" fmla="*/ 0 h 6452298"/>
              <a:gd name="connsiteX2" fmla="*/ 6018062 w 6018062"/>
              <a:gd name="connsiteY2" fmla="*/ 6452298 h 6452298"/>
              <a:gd name="connsiteX3" fmla="*/ 579722 w 6018062"/>
              <a:gd name="connsiteY3" fmla="*/ 6442076 h 6452298"/>
              <a:gd name="connsiteX4" fmla="*/ 0 w 6018062"/>
              <a:gd name="connsiteY4" fmla="*/ 5862354 h 6452298"/>
              <a:gd name="connsiteX5" fmla="*/ 0 w 6018062"/>
              <a:gd name="connsiteY5" fmla="*/ 1655 h 6452298"/>
              <a:gd name="connsiteX0" fmla="*/ 0 w 4055973"/>
              <a:gd name="connsiteY0" fmla="*/ 1655 h 6452298"/>
              <a:gd name="connsiteX1" fmla="*/ 4055920 w 4055973"/>
              <a:gd name="connsiteY1" fmla="*/ 0 h 6452298"/>
              <a:gd name="connsiteX2" fmla="*/ 4046758 w 4055973"/>
              <a:gd name="connsiteY2" fmla="*/ 6452298 h 6452298"/>
              <a:gd name="connsiteX3" fmla="*/ 579722 w 4055973"/>
              <a:gd name="connsiteY3" fmla="*/ 6442076 h 6452298"/>
              <a:gd name="connsiteX4" fmla="*/ 0 w 4055973"/>
              <a:gd name="connsiteY4" fmla="*/ 5862354 h 6452298"/>
              <a:gd name="connsiteX5" fmla="*/ 0 w 4055973"/>
              <a:gd name="connsiteY5" fmla="*/ 1655 h 6452298"/>
              <a:gd name="connsiteX0" fmla="*/ 0 w 4055973"/>
              <a:gd name="connsiteY0" fmla="*/ 0 h 6652523"/>
              <a:gd name="connsiteX1" fmla="*/ 4055920 w 4055973"/>
              <a:gd name="connsiteY1" fmla="*/ 200225 h 6652523"/>
              <a:gd name="connsiteX2" fmla="*/ 4046758 w 4055973"/>
              <a:gd name="connsiteY2" fmla="*/ 6652523 h 6652523"/>
              <a:gd name="connsiteX3" fmla="*/ 579722 w 4055973"/>
              <a:gd name="connsiteY3" fmla="*/ 6642301 h 6652523"/>
              <a:gd name="connsiteX4" fmla="*/ 0 w 4055973"/>
              <a:gd name="connsiteY4" fmla="*/ 6062579 h 6652523"/>
              <a:gd name="connsiteX5" fmla="*/ 0 w 4055973"/>
              <a:gd name="connsiteY5" fmla="*/ 0 h 6652523"/>
              <a:gd name="connsiteX0" fmla="*/ 0 w 4046758"/>
              <a:gd name="connsiteY0" fmla="*/ 0 h 6652523"/>
              <a:gd name="connsiteX1" fmla="*/ 4044045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1655 h 6654178"/>
              <a:gd name="connsiteX1" fmla="*/ 3082144 w 4046758"/>
              <a:gd name="connsiteY1" fmla="*/ 0 h 6654178"/>
              <a:gd name="connsiteX2" fmla="*/ 4046758 w 4046758"/>
              <a:gd name="connsiteY2" fmla="*/ 6654178 h 6654178"/>
              <a:gd name="connsiteX3" fmla="*/ 579722 w 4046758"/>
              <a:gd name="connsiteY3" fmla="*/ 6643956 h 6654178"/>
              <a:gd name="connsiteX4" fmla="*/ 0 w 4046758"/>
              <a:gd name="connsiteY4" fmla="*/ 6064234 h 6654178"/>
              <a:gd name="connsiteX5" fmla="*/ 0 w 4046758"/>
              <a:gd name="connsiteY5" fmla="*/ 1655 h 6654178"/>
              <a:gd name="connsiteX0" fmla="*/ 0 w 4046758"/>
              <a:gd name="connsiteY0" fmla="*/ 0 h 6652523"/>
              <a:gd name="connsiteX1" fmla="*/ 2975266 w 4046758"/>
              <a:gd name="connsiteY1" fmla="*/ 93348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0 h 6652523"/>
              <a:gd name="connsiteX1" fmla="*/ 3070268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0 h 6652523"/>
              <a:gd name="connsiteX1" fmla="*/ 3082144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3082197"/>
              <a:gd name="connsiteY0" fmla="*/ 0 h 6652523"/>
              <a:gd name="connsiteX1" fmla="*/ 3082144 w 3082197"/>
              <a:gd name="connsiteY1" fmla="*/ 10220 h 6652523"/>
              <a:gd name="connsiteX2" fmla="*/ 3072982 w 3082197"/>
              <a:gd name="connsiteY2" fmla="*/ 6652523 h 6652523"/>
              <a:gd name="connsiteX3" fmla="*/ 579722 w 3082197"/>
              <a:gd name="connsiteY3" fmla="*/ 6642301 h 6652523"/>
              <a:gd name="connsiteX4" fmla="*/ 0 w 3082197"/>
              <a:gd name="connsiteY4" fmla="*/ 6062579 h 6652523"/>
              <a:gd name="connsiteX5" fmla="*/ 0 w 3082197"/>
              <a:gd name="connsiteY5" fmla="*/ 0 h 6652523"/>
              <a:gd name="connsiteX0" fmla="*/ 0 w 3072982"/>
              <a:gd name="connsiteY0" fmla="*/ 0 h 6652523"/>
              <a:gd name="connsiteX1" fmla="*/ 3010892 w 3072982"/>
              <a:gd name="connsiteY1" fmla="*/ 164599 h 6652523"/>
              <a:gd name="connsiteX2" fmla="*/ 3072982 w 3072982"/>
              <a:gd name="connsiteY2" fmla="*/ 6652523 h 6652523"/>
              <a:gd name="connsiteX3" fmla="*/ 579722 w 3072982"/>
              <a:gd name="connsiteY3" fmla="*/ 6642301 h 6652523"/>
              <a:gd name="connsiteX4" fmla="*/ 0 w 3072982"/>
              <a:gd name="connsiteY4" fmla="*/ 6062579 h 6652523"/>
              <a:gd name="connsiteX5" fmla="*/ 0 w 3072982"/>
              <a:gd name="connsiteY5" fmla="*/ 0 h 6652523"/>
              <a:gd name="connsiteX0" fmla="*/ 0 w 3082197"/>
              <a:gd name="connsiteY0" fmla="*/ 1656 h 6654179"/>
              <a:gd name="connsiteX1" fmla="*/ 3082144 w 3082197"/>
              <a:gd name="connsiteY1" fmla="*/ 0 h 6654179"/>
              <a:gd name="connsiteX2" fmla="*/ 3072982 w 3082197"/>
              <a:gd name="connsiteY2" fmla="*/ 6654179 h 6654179"/>
              <a:gd name="connsiteX3" fmla="*/ 579722 w 3082197"/>
              <a:gd name="connsiteY3" fmla="*/ 6643957 h 6654179"/>
              <a:gd name="connsiteX4" fmla="*/ 0 w 3082197"/>
              <a:gd name="connsiteY4" fmla="*/ 6064235 h 6654179"/>
              <a:gd name="connsiteX5" fmla="*/ 0 w 3082197"/>
              <a:gd name="connsiteY5" fmla="*/ 1656 h 6654179"/>
              <a:gd name="connsiteX0" fmla="*/ 0 w 3082197"/>
              <a:gd name="connsiteY0" fmla="*/ 1316107 h 6654179"/>
              <a:gd name="connsiteX1" fmla="*/ 3082144 w 3082197"/>
              <a:gd name="connsiteY1" fmla="*/ 0 h 6654179"/>
              <a:gd name="connsiteX2" fmla="*/ 3072982 w 3082197"/>
              <a:gd name="connsiteY2" fmla="*/ 6654179 h 6654179"/>
              <a:gd name="connsiteX3" fmla="*/ 579722 w 3082197"/>
              <a:gd name="connsiteY3" fmla="*/ 6643957 h 6654179"/>
              <a:gd name="connsiteX4" fmla="*/ 0 w 3082197"/>
              <a:gd name="connsiteY4" fmla="*/ 6064235 h 6654179"/>
              <a:gd name="connsiteX5" fmla="*/ 0 w 3082197"/>
              <a:gd name="connsiteY5" fmla="*/ 1316107 h 6654179"/>
              <a:gd name="connsiteX0" fmla="*/ 0 w 3082197"/>
              <a:gd name="connsiteY0" fmla="*/ 1657 h 5339729"/>
              <a:gd name="connsiteX1" fmla="*/ 3082144 w 3082197"/>
              <a:gd name="connsiteY1" fmla="*/ 0 h 5339729"/>
              <a:gd name="connsiteX2" fmla="*/ 3072982 w 3082197"/>
              <a:gd name="connsiteY2" fmla="*/ 5339729 h 5339729"/>
              <a:gd name="connsiteX3" fmla="*/ 579722 w 3082197"/>
              <a:gd name="connsiteY3" fmla="*/ 5329507 h 5339729"/>
              <a:gd name="connsiteX4" fmla="*/ 0 w 3082197"/>
              <a:gd name="connsiteY4" fmla="*/ 4749785 h 5339729"/>
              <a:gd name="connsiteX5" fmla="*/ 0 w 3082197"/>
              <a:gd name="connsiteY5" fmla="*/ 1657 h 5339729"/>
              <a:gd name="connsiteX0" fmla="*/ 0 w 3082197"/>
              <a:gd name="connsiteY0" fmla="*/ 2202416 h 5339729"/>
              <a:gd name="connsiteX1" fmla="*/ 3082144 w 3082197"/>
              <a:gd name="connsiteY1" fmla="*/ 0 h 5339729"/>
              <a:gd name="connsiteX2" fmla="*/ 3072982 w 3082197"/>
              <a:gd name="connsiteY2" fmla="*/ 5339729 h 5339729"/>
              <a:gd name="connsiteX3" fmla="*/ 579722 w 3082197"/>
              <a:gd name="connsiteY3" fmla="*/ 5329507 h 5339729"/>
              <a:gd name="connsiteX4" fmla="*/ 0 w 3082197"/>
              <a:gd name="connsiteY4" fmla="*/ 4749785 h 5339729"/>
              <a:gd name="connsiteX5" fmla="*/ 0 w 3082197"/>
              <a:gd name="connsiteY5" fmla="*/ 2202416 h 5339729"/>
              <a:gd name="connsiteX0" fmla="*/ 0 w 3082197"/>
              <a:gd name="connsiteY0" fmla="*/ 1656 h 3138969"/>
              <a:gd name="connsiteX1" fmla="*/ 3082144 w 3082197"/>
              <a:gd name="connsiteY1" fmla="*/ 0 h 3138969"/>
              <a:gd name="connsiteX2" fmla="*/ 3072982 w 3082197"/>
              <a:gd name="connsiteY2" fmla="*/ 3138969 h 3138969"/>
              <a:gd name="connsiteX3" fmla="*/ 579722 w 3082197"/>
              <a:gd name="connsiteY3" fmla="*/ 3128747 h 3138969"/>
              <a:gd name="connsiteX4" fmla="*/ 0 w 3082197"/>
              <a:gd name="connsiteY4" fmla="*/ 2549025 h 3138969"/>
              <a:gd name="connsiteX5" fmla="*/ 0 w 3082197"/>
              <a:gd name="connsiteY5" fmla="*/ 1656 h 3138969"/>
              <a:gd name="connsiteX0" fmla="*/ 0 w 3082145"/>
              <a:gd name="connsiteY0" fmla="*/ 1656 h 3150544"/>
              <a:gd name="connsiteX1" fmla="*/ 3082144 w 3082145"/>
              <a:gd name="connsiteY1" fmla="*/ 0 h 3150544"/>
              <a:gd name="connsiteX2" fmla="*/ 2772041 w 3082145"/>
              <a:gd name="connsiteY2" fmla="*/ 3150544 h 3150544"/>
              <a:gd name="connsiteX3" fmla="*/ 579722 w 3082145"/>
              <a:gd name="connsiteY3" fmla="*/ 3128747 h 3150544"/>
              <a:gd name="connsiteX4" fmla="*/ 0 w 3082145"/>
              <a:gd name="connsiteY4" fmla="*/ 2549025 h 3150544"/>
              <a:gd name="connsiteX5" fmla="*/ 0 w 3082145"/>
              <a:gd name="connsiteY5" fmla="*/ 1656 h 3150544"/>
              <a:gd name="connsiteX0" fmla="*/ 0 w 2772041"/>
              <a:gd name="connsiteY0" fmla="*/ 1656 h 3150544"/>
              <a:gd name="connsiteX1" fmla="*/ 2769627 w 2772041"/>
              <a:gd name="connsiteY1" fmla="*/ 0 h 3150544"/>
              <a:gd name="connsiteX2" fmla="*/ 2772041 w 2772041"/>
              <a:gd name="connsiteY2" fmla="*/ 3150544 h 3150544"/>
              <a:gd name="connsiteX3" fmla="*/ 579722 w 2772041"/>
              <a:gd name="connsiteY3" fmla="*/ 3128747 h 3150544"/>
              <a:gd name="connsiteX4" fmla="*/ 0 w 2772041"/>
              <a:gd name="connsiteY4" fmla="*/ 2549025 h 3150544"/>
              <a:gd name="connsiteX5" fmla="*/ 0 w 2772041"/>
              <a:gd name="connsiteY5" fmla="*/ 1656 h 3150544"/>
              <a:gd name="connsiteX0" fmla="*/ 0 w 2772041"/>
              <a:gd name="connsiteY0" fmla="*/ 1656 h 3138969"/>
              <a:gd name="connsiteX1" fmla="*/ 2769627 w 2772041"/>
              <a:gd name="connsiteY1" fmla="*/ 0 h 3138969"/>
              <a:gd name="connsiteX2" fmla="*/ 2772041 w 2772041"/>
              <a:gd name="connsiteY2" fmla="*/ 3138969 h 3138969"/>
              <a:gd name="connsiteX3" fmla="*/ 579722 w 2772041"/>
              <a:gd name="connsiteY3" fmla="*/ 3128747 h 3138969"/>
              <a:gd name="connsiteX4" fmla="*/ 0 w 2772041"/>
              <a:gd name="connsiteY4" fmla="*/ 2549025 h 3138969"/>
              <a:gd name="connsiteX5" fmla="*/ 0 w 2772041"/>
              <a:gd name="connsiteY5" fmla="*/ 1656 h 3138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2041" h="3138969">
                <a:moveTo>
                  <a:pt x="0" y="1656"/>
                </a:moveTo>
                <a:lnTo>
                  <a:pt x="2769627" y="0"/>
                </a:lnTo>
                <a:cubicBezTo>
                  <a:pt x="2770532" y="2146807"/>
                  <a:pt x="2771136" y="992162"/>
                  <a:pt x="2772041" y="3138969"/>
                </a:cubicBezTo>
                <a:lnTo>
                  <a:pt x="579722" y="3128747"/>
                </a:lnTo>
                <a:cubicBezTo>
                  <a:pt x="259550" y="3128747"/>
                  <a:pt x="0" y="2869197"/>
                  <a:pt x="0" y="2549025"/>
                </a:cubicBezTo>
                <a:lnTo>
                  <a:pt x="0" y="1656"/>
                </a:lnTo>
                <a:close/>
              </a:path>
            </a:pathLst>
          </a:custGeom>
          <a:noFill/>
        </p:spPr>
        <p:txBody>
          <a:bodyPr>
            <a:normAutofit/>
          </a:bodyPr>
          <a:lstStyle>
            <a:lvl1pPr marL="0" marR="0" indent="0" algn="l" defTabSz="914150" rtl="0" eaLnBrk="1" fontAlgn="auto" latinLnBrk="0" hangingPunct="1">
              <a:lnSpc>
                <a:spcPct val="100000"/>
              </a:lnSpc>
              <a:spcBef>
                <a:spcPct val="20000"/>
              </a:spcBef>
              <a:spcAft>
                <a:spcPts val="0"/>
              </a:spcAft>
              <a:buClr>
                <a:srgbClr val="4C4948"/>
              </a:buClr>
              <a:buSzTx/>
              <a:buFont typeface="Arial" panose="020B0604020202020204" pitchFamily="34" charset="0"/>
              <a:buNone/>
              <a:tabLst/>
              <a:defRPr sz="1400">
                <a:solidFill>
                  <a:schemeClr val="tx1"/>
                </a:solidFill>
              </a:defRPr>
            </a:lvl1pPr>
          </a:lstStyle>
          <a:p>
            <a:pPr marL="0" marR="0" lvl="0" indent="0" algn="l" defTabSz="914150" rtl="0" eaLnBrk="1" fontAlgn="auto" latinLnBrk="0" hangingPunct="1">
              <a:lnSpc>
                <a:spcPct val="100000"/>
              </a:lnSpc>
              <a:spcBef>
                <a:spcPct val="20000"/>
              </a:spcBef>
              <a:spcAft>
                <a:spcPts val="0"/>
              </a:spcAft>
              <a:buClr>
                <a:srgbClr val="4C4948"/>
              </a:buClr>
              <a:buSzTx/>
              <a:buFont typeface="Arial" panose="020B0604020202020204" pitchFamily="34" charset="0"/>
              <a:buNone/>
              <a:tabLst/>
              <a:defRPr/>
            </a:pPr>
            <a:r>
              <a:rPr lang="en-JP"/>
              <a:t>Insert Picture/Text Block</a:t>
            </a:r>
          </a:p>
          <a:p>
            <a:endParaRPr lang="en-JP"/>
          </a:p>
        </p:txBody>
      </p:sp>
      <p:sp>
        <p:nvSpPr>
          <p:cNvPr id="23" name="Picture Placeholder 9">
            <a:extLst>
              <a:ext uri="{FF2B5EF4-FFF2-40B4-BE49-F238E27FC236}">
                <a16:creationId xmlns:a16="http://schemas.microsoft.com/office/drawing/2014/main" id="{8D6B3691-FCAC-8A46-AA30-DEB2A719C7B2}"/>
              </a:ext>
            </a:extLst>
          </p:cNvPr>
          <p:cNvSpPr>
            <a:spLocks noGrp="1"/>
          </p:cNvSpPr>
          <p:nvPr>
            <p:ph type="pic" sz="quarter" idx="18" hasCustomPrompt="1"/>
          </p:nvPr>
        </p:nvSpPr>
        <p:spPr>
          <a:xfrm>
            <a:off x="311373" y="3076286"/>
            <a:ext cx="2772041" cy="3138969"/>
          </a:xfrm>
          <a:custGeom>
            <a:avLst/>
            <a:gdLst>
              <a:gd name="connsiteX0" fmla="*/ 0 w 10888662"/>
              <a:gd name="connsiteY0" fmla="*/ 579722 h 6442075"/>
              <a:gd name="connsiteX1" fmla="*/ 579722 w 10888662"/>
              <a:gd name="connsiteY1" fmla="*/ 0 h 6442075"/>
              <a:gd name="connsiteX2" fmla="*/ 10308940 w 10888662"/>
              <a:gd name="connsiteY2" fmla="*/ 0 h 6442075"/>
              <a:gd name="connsiteX3" fmla="*/ 10888662 w 10888662"/>
              <a:gd name="connsiteY3" fmla="*/ 579722 h 6442075"/>
              <a:gd name="connsiteX4" fmla="*/ 10888662 w 10888662"/>
              <a:gd name="connsiteY4" fmla="*/ 5862353 h 6442075"/>
              <a:gd name="connsiteX5" fmla="*/ 10308940 w 10888662"/>
              <a:gd name="connsiteY5" fmla="*/ 6442075 h 6442075"/>
              <a:gd name="connsiteX6" fmla="*/ 579722 w 10888662"/>
              <a:gd name="connsiteY6" fmla="*/ 6442075 h 6442075"/>
              <a:gd name="connsiteX7" fmla="*/ 0 w 10888662"/>
              <a:gd name="connsiteY7" fmla="*/ 5862353 h 6442075"/>
              <a:gd name="connsiteX8" fmla="*/ 0 w 10888662"/>
              <a:gd name="connsiteY8" fmla="*/ 579722 h 6442075"/>
              <a:gd name="connsiteX0" fmla="*/ 0 w 10888662"/>
              <a:gd name="connsiteY0" fmla="*/ 659657 h 6522010"/>
              <a:gd name="connsiteX1" fmla="*/ 10308940 w 10888662"/>
              <a:gd name="connsiteY1" fmla="*/ 79935 h 6522010"/>
              <a:gd name="connsiteX2" fmla="*/ 10888662 w 10888662"/>
              <a:gd name="connsiteY2" fmla="*/ 659657 h 6522010"/>
              <a:gd name="connsiteX3" fmla="*/ 10888662 w 10888662"/>
              <a:gd name="connsiteY3" fmla="*/ 5942288 h 6522010"/>
              <a:gd name="connsiteX4" fmla="*/ 10308940 w 10888662"/>
              <a:gd name="connsiteY4" fmla="*/ 6522010 h 6522010"/>
              <a:gd name="connsiteX5" fmla="*/ 579722 w 10888662"/>
              <a:gd name="connsiteY5" fmla="*/ 6522010 h 6522010"/>
              <a:gd name="connsiteX6" fmla="*/ 0 w 10888662"/>
              <a:gd name="connsiteY6" fmla="*/ 5942288 h 6522010"/>
              <a:gd name="connsiteX7" fmla="*/ 0 w 10888662"/>
              <a:gd name="connsiteY7" fmla="*/ 659657 h 6522010"/>
              <a:gd name="connsiteX0" fmla="*/ 0 w 10888662"/>
              <a:gd name="connsiteY0" fmla="*/ 579722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579722 h 6442075"/>
              <a:gd name="connsiteX0" fmla="*/ 0 w 10888662"/>
              <a:gd name="connsiteY0" fmla="*/ 129257 h 6569679"/>
              <a:gd name="connsiteX1" fmla="*/ 10308940 w 10888662"/>
              <a:gd name="connsiteY1" fmla="*/ 127604 h 6569679"/>
              <a:gd name="connsiteX2" fmla="*/ 10888662 w 10888662"/>
              <a:gd name="connsiteY2" fmla="*/ 707326 h 6569679"/>
              <a:gd name="connsiteX3" fmla="*/ 10888662 w 10888662"/>
              <a:gd name="connsiteY3" fmla="*/ 5989957 h 6569679"/>
              <a:gd name="connsiteX4" fmla="*/ 10308940 w 10888662"/>
              <a:gd name="connsiteY4" fmla="*/ 6569679 h 6569679"/>
              <a:gd name="connsiteX5" fmla="*/ 579722 w 10888662"/>
              <a:gd name="connsiteY5" fmla="*/ 6569679 h 6569679"/>
              <a:gd name="connsiteX6" fmla="*/ 0 w 10888662"/>
              <a:gd name="connsiteY6" fmla="*/ 5989957 h 6569679"/>
              <a:gd name="connsiteX7" fmla="*/ 0 w 10888662"/>
              <a:gd name="connsiteY7" fmla="*/ 129257 h 6569679"/>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9657299 w 10888662"/>
              <a:gd name="connsiteY4" fmla="*/ 55276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522010"/>
              <a:gd name="connsiteX1" fmla="*/ 10308940 w 10888662"/>
              <a:gd name="connsiteY1" fmla="*/ 0 h 6522010"/>
              <a:gd name="connsiteX2" fmla="*/ 10888662 w 10888662"/>
              <a:gd name="connsiteY2" fmla="*/ 579722 h 6522010"/>
              <a:gd name="connsiteX3" fmla="*/ 10888662 w 10888662"/>
              <a:gd name="connsiteY3" fmla="*/ 5862353 h 6522010"/>
              <a:gd name="connsiteX4" fmla="*/ 579722 w 10888662"/>
              <a:gd name="connsiteY4" fmla="*/ 6442075 h 6522010"/>
              <a:gd name="connsiteX5" fmla="*/ 0 w 10888662"/>
              <a:gd name="connsiteY5" fmla="*/ 5862353 h 6522010"/>
              <a:gd name="connsiteX6" fmla="*/ 0 w 10888662"/>
              <a:gd name="connsiteY6" fmla="*/ 1653 h 6522010"/>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579722 w 10888662"/>
              <a:gd name="connsiteY4" fmla="*/ 6442075 h 6442075"/>
              <a:gd name="connsiteX5" fmla="*/ 0 w 10888662"/>
              <a:gd name="connsiteY5" fmla="*/ 5862353 h 6442075"/>
              <a:gd name="connsiteX6" fmla="*/ 0 w 10888662"/>
              <a:gd name="connsiteY6" fmla="*/ 1653 h 6442075"/>
              <a:gd name="connsiteX0" fmla="*/ 0 w 10888662"/>
              <a:gd name="connsiteY0" fmla="*/ 1653 h 6585432"/>
              <a:gd name="connsiteX1" fmla="*/ 10308940 w 10888662"/>
              <a:gd name="connsiteY1" fmla="*/ 0 h 6585432"/>
              <a:gd name="connsiteX2" fmla="*/ 10888662 w 10888662"/>
              <a:gd name="connsiteY2" fmla="*/ 579722 h 6585432"/>
              <a:gd name="connsiteX3" fmla="*/ 10878151 w 10888662"/>
              <a:gd name="connsiteY3" fmla="*/ 6461442 h 6585432"/>
              <a:gd name="connsiteX4" fmla="*/ 579722 w 10888662"/>
              <a:gd name="connsiteY4" fmla="*/ 6442075 h 6585432"/>
              <a:gd name="connsiteX5" fmla="*/ 0 w 10888662"/>
              <a:gd name="connsiteY5" fmla="*/ 5862353 h 6585432"/>
              <a:gd name="connsiteX6" fmla="*/ 0 w 10888662"/>
              <a:gd name="connsiteY6" fmla="*/ 1653 h 6585432"/>
              <a:gd name="connsiteX0" fmla="*/ 0 w 10888662"/>
              <a:gd name="connsiteY0" fmla="*/ 1653 h 6577502"/>
              <a:gd name="connsiteX1" fmla="*/ 10308940 w 10888662"/>
              <a:gd name="connsiteY1" fmla="*/ 0 h 6577502"/>
              <a:gd name="connsiteX2" fmla="*/ 10888662 w 10888662"/>
              <a:gd name="connsiteY2" fmla="*/ 579722 h 6577502"/>
              <a:gd name="connsiteX3" fmla="*/ 10878151 w 10888662"/>
              <a:gd name="connsiteY3" fmla="*/ 6450932 h 6577502"/>
              <a:gd name="connsiteX4" fmla="*/ 579722 w 10888662"/>
              <a:gd name="connsiteY4" fmla="*/ 6442075 h 6577502"/>
              <a:gd name="connsiteX5" fmla="*/ 0 w 10888662"/>
              <a:gd name="connsiteY5" fmla="*/ 5862353 h 6577502"/>
              <a:gd name="connsiteX6" fmla="*/ 0 w 10888662"/>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0888662"/>
              <a:gd name="connsiteY0" fmla="*/ 1653 h 6450932"/>
              <a:gd name="connsiteX1" fmla="*/ 10308940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0999550"/>
              <a:gd name="connsiteY0" fmla="*/ 1653 h 6450932"/>
              <a:gd name="connsiteX1" fmla="*/ 10844968 w 10999550"/>
              <a:gd name="connsiteY1" fmla="*/ 0 h 6450932"/>
              <a:gd name="connsiteX2" fmla="*/ 10888662 w 10999550"/>
              <a:gd name="connsiteY2" fmla="*/ 579722 h 6450932"/>
              <a:gd name="connsiteX3" fmla="*/ 10878151 w 10999550"/>
              <a:gd name="connsiteY3" fmla="*/ 6450932 h 6450932"/>
              <a:gd name="connsiteX4" fmla="*/ 579722 w 10999550"/>
              <a:gd name="connsiteY4" fmla="*/ 6442075 h 6450932"/>
              <a:gd name="connsiteX5" fmla="*/ 0 w 10999550"/>
              <a:gd name="connsiteY5" fmla="*/ 5862353 h 6450932"/>
              <a:gd name="connsiteX6" fmla="*/ 0 w 10999550"/>
              <a:gd name="connsiteY6" fmla="*/ 1653 h 6450932"/>
              <a:gd name="connsiteX0" fmla="*/ 0 w 11022020"/>
              <a:gd name="connsiteY0" fmla="*/ 1653 h 6450932"/>
              <a:gd name="connsiteX1" fmla="*/ 10876499 w 11022020"/>
              <a:gd name="connsiteY1" fmla="*/ 0 h 6450932"/>
              <a:gd name="connsiteX2" fmla="*/ 10888662 w 11022020"/>
              <a:gd name="connsiteY2" fmla="*/ 579722 h 6450932"/>
              <a:gd name="connsiteX3" fmla="*/ 10878151 w 11022020"/>
              <a:gd name="connsiteY3" fmla="*/ 6450932 h 6450932"/>
              <a:gd name="connsiteX4" fmla="*/ 579722 w 11022020"/>
              <a:gd name="connsiteY4" fmla="*/ 6442075 h 6450932"/>
              <a:gd name="connsiteX5" fmla="*/ 0 w 11022020"/>
              <a:gd name="connsiteY5" fmla="*/ 5862353 h 6450932"/>
              <a:gd name="connsiteX6" fmla="*/ 0 w 11022020"/>
              <a:gd name="connsiteY6" fmla="*/ 1653 h 6450932"/>
              <a:gd name="connsiteX0" fmla="*/ 0 w 10888662"/>
              <a:gd name="connsiteY0" fmla="*/ 1653 h 6450932"/>
              <a:gd name="connsiteX1" fmla="*/ 10876499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2200990"/>
              <a:gd name="connsiteY0" fmla="*/ 1653 h 6450932"/>
              <a:gd name="connsiteX1" fmla="*/ 10876499 w 12200990"/>
              <a:gd name="connsiteY1" fmla="*/ 0 h 6450932"/>
              <a:gd name="connsiteX2" fmla="*/ 10878151 w 12200990"/>
              <a:gd name="connsiteY2" fmla="*/ 6450932 h 6450932"/>
              <a:gd name="connsiteX3" fmla="*/ 579722 w 12200990"/>
              <a:gd name="connsiteY3" fmla="*/ 6442075 h 6450932"/>
              <a:gd name="connsiteX4" fmla="*/ 0 w 12200990"/>
              <a:gd name="connsiteY4" fmla="*/ 5862353 h 6450932"/>
              <a:gd name="connsiteX5" fmla="*/ 0 w 12200990"/>
              <a:gd name="connsiteY5" fmla="*/ 1653 h 6450932"/>
              <a:gd name="connsiteX0" fmla="*/ 0 w 11640630"/>
              <a:gd name="connsiteY0" fmla="*/ 1653 h 6450932"/>
              <a:gd name="connsiteX1" fmla="*/ 10876499 w 11640630"/>
              <a:gd name="connsiteY1" fmla="*/ 0 h 6450932"/>
              <a:gd name="connsiteX2" fmla="*/ 10878151 w 11640630"/>
              <a:gd name="connsiteY2" fmla="*/ 6450932 h 6450932"/>
              <a:gd name="connsiteX3" fmla="*/ 579722 w 11640630"/>
              <a:gd name="connsiteY3" fmla="*/ 6442075 h 6450932"/>
              <a:gd name="connsiteX4" fmla="*/ 0 w 11640630"/>
              <a:gd name="connsiteY4" fmla="*/ 5862353 h 6450932"/>
              <a:gd name="connsiteX5" fmla="*/ 0 w 11640630"/>
              <a:gd name="connsiteY5" fmla="*/ 1653 h 6450932"/>
              <a:gd name="connsiteX0" fmla="*/ 0 w 10878151"/>
              <a:gd name="connsiteY0" fmla="*/ 1653 h 6450932"/>
              <a:gd name="connsiteX1" fmla="*/ 10876499 w 10878151"/>
              <a:gd name="connsiteY1" fmla="*/ 0 h 6450932"/>
              <a:gd name="connsiteX2" fmla="*/ 10878151 w 10878151"/>
              <a:gd name="connsiteY2" fmla="*/ 6450932 h 6450932"/>
              <a:gd name="connsiteX3" fmla="*/ 579722 w 10878151"/>
              <a:gd name="connsiteY3" fmla="*/ 6442075 h 6450932"/>
              <a:gd name="connsiteX4" fmla="*/ 0 w 10878151"/>
              <a:gd name="connsiteY4" fmla="*/ 5862353 h 6450932"/>
              <a:gd name="connsiteX5" fmla="*/ 0 w 10878151"/>
              <a:gd name="connsiteY5" fmla="*/ 1653 h 6450932"/>
              <a:gd name="connsiteX0" fmla="*/ 0 w 11843451"/>
              <a:gd name="connsiteY0" fmla="*/ 1653 h 6450932"/>
              <a:gd name="connsiteX1" fmla="*/ 11843451 w 11843451"/>
              <a:gd name="connsiteY1" fmla="*/ 0 h 6450932"/>
              <a:gd name="connsiteX2" fmla="*/ 10878151 w 11843451"/>
              <a:gd name="connsiteY2" fmla="*/ 6450932 h 6450932"/>
              <a:gd name="connsiteX3" fmla="*/ 579722 w 11843451"/>
              <a:gd name="connsiteY3" fmla="*/ 6442075 h 6450932"/>
              <a:gd name="connsiteX4" fmla="*/ 0 w 11843451"/>
              <a:gd name="connsiteY4" fmla="*/ 5862353 h 6450932"/>
              <a:gd name="connsiteX5" fmla="*/ 0 w 11843451"/>
              <a:gd name="connsiteY5" fmla="*/ 1653 h 6450932"/>
              <a:gd name="connsiteX0" fmla="*/ 0 w 11855613"/>
              <a:gd name="connsiteY0" fmla="*/ 1653 h 6450932"/>
              <a:gd name="connsiteX1" fmla="*/ 11843451 w 11855613"/>
              <a:gd name="connsiteY1" fmla="*/ 0 h 6450932"/>
              <a:gd name="connsiteX2" fmla="*/ 11855613 w 11855613"/>
              <a:gd name="connsiteY2" fmla="*/ 6450932 h 6450932"/>
              <a:gd name="connsiteX3" fmla="*/ 579722 w 11855613"/>
              <a:gd name="connsiteY3" fmla="*/ 6442075 h 6450932"/>
              <a:gd name="connsiteX4" fmla="*/ 0 w 11855613"/>
              <a:gd name="connsiteY4" fmla="*/ 5862353 h 6450932"/>
              <a:gd name="connsiteX5" fmla="*/ 0 w 11855613"/>
              <a:gd name="connsiteY5" fmla="*/ 1653 h 6450932"/>
              <a:gd name="connsiteX0" fmla="*/ 0 w 11864472"/>
              <a:gd name="connsiteY0" fmla="*/ 1653 h 6450932"/>
              <a:gd name="connsiteX1" fmla="*/ 11864472 w 11864472"/>
              <a:gd name="connsiteY1" fmla="*/ 0 h 6450932"/>
              <a:gd name="connsiteX2" fmla="*/ 11855613 w 11864472"/>
              <a:gd name="connsiteY2" fmla="*/ 6450932 h 6450932"/>
              <a:gd name="connsiteX3" fmla="*/ 579722 w 11864472"/>
              <a:gd name="connsiteY3" fmla="*/ 6442075 h 6450932"/>
              <a:gd name="connsiteX4" fmla="*/ 0 w 11864472"/>
              <a:gd name="connsiteY4" fmla="*/ 5862353 h 6450932"/>
              <a:gd name="connsiteX5" fmla="*/ 0 w 11864472"/>
              <a:gd name="connsiteY5" fmla="*/ 1653 h 6450932"/>
              <a:gd name="connsiteX0" fmla="*/ 0 w 11864472"/>
              <a:gd name="connsiteY0" fmla="*/ 1653 h 6442075"/>
              <a:gd name="connsiteX1" fmla="*/ 11864472 w 11864472"/>
              <a:gd name="connsiteY1" fmla="*/ 0 h 6442075"/>
              <a:gd name="connsiteX2" fmla="*/ 11855613 w 11864472"/>
              <a:gd name="connsiteY2" fmla="*/ 6440421 h 6442075"/>
              <a:gd name="connsiteX3" fmla="*/ 579722 w 11864472"/>
              <a:gd name="connsiteY3" fmla="*/ 6442075 h 6442075"/>
              <a:gd name="connsiteX4" fmla="*/ 0 w 11864472"/>
              <a:gd name="connsiteY4" fmla="*/ 5862353 h 6442075"/>
              <a:gd name="connsiteX5" fmla="*/ 0 w 11864472"/>
              <a:gd name="connsiteY5" fmla="*/ 1653 h 6442075"/>
              <a:gd name="connsiteX0" fmla="*/ 0 w 11855613"/>
              <a:gd name="connsiteY0" fmla="*/ 1653 h 6442075"/>
              <a:gd name="connsiteX1" fmla="*/ 8912928 w 11855613"/>
              <a:gd name="connsiteY1" fmla="*/ 0 h 6442075"/>
              <a:gd name="connsiteX2" fmla="*/ 11855613 w 11855613"/>
              <a:gd name="connsiteY2" fmla="*/ 6440421 h 6442075"/>
              <a:gd name="connsiteX3" fmla="*/ 579722 w 11855613"/>
              <a:gd name="connsiteY3" fmla="*/ 6442075 h 6442075"/>
              <a:gd name="connsiteX4" fmla="*/ 0 w 11855613"/>
              <a:gd name="connsiteY4" fmla="*/ 5862353 h 6442075"/>
              <a:gd name="connsiteX5" fmla="*/ 0 w 11855613"/>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74032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36077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1615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15642"/>
              <a:gd name="connsiteY0" fmla="*/ 1653 h 6442075"/>
              <a:gd name="connsiteX1" fmla="*/ 8912928 w 8915642"/>
              <a:gd name="connsiteY1" fmla="*/ 0 h 6442075"/>
              <a:gd name="connsiteX2" fmla="*/ 8915642 w 8915642"/>
              <a:gd name="connsiteY2" fmla="*/ 6440421 h 6442075"/>
              <a:gd name="connsiteX3" fmla="*/ 579722 w 8915642"/>
              <a:gd name="connsiteY3" fmla="*/ 6442075 h 6442075"/>
              <a:gd name="connsiteX4" fmla="*/ 0 w 8915642"/>
              <a:gd name="connsiteY4" fmla="*/ 5862353 h 6442075"/>
              <a:gd name="connsiteX5" fmla="*/ 0 w 8915642"/>
              <a:gd name="connsiteY5" fmla="*/ 1653 h 6442075"/>
              <a:gd name="connsiteX0" fmla="*/ 0 w 8915642"/>
              <a:gd name="connsiteY0" fmla="*/ 1 h 6618553"/>
              <a:gd name="connsiteX1" fmla="*/ 8912928 w 8915642"/>
              <a:gd name="connsiteY1" fmla="*/ 176478 h 6618553"/>
              <a:gd name="connsiteX2" fmla="*/ 8915642 w 8915642"/>
              <a:gd name="connsiteY2" fmla="*/ 6616899 h 6618553"/>
              <a:gd name="connsiteX3" fmla="*/ 579722 w 8915642"/>
              <a:gd name="connsiteY3" fmla="*/ 6618553 h 6618553"/>
              <a:gd name="connsiteX4" fmla="*/ 0 w 8915642"/>
              <a:gd name="connsiteY4" fmla="*/ 6038831 h 6618553"/>
              <a:gd name="connsiteX5" fmla="*/ 0 w 8915642"/>
              <a:gd name="connsiteY5" fmla="*/ 1 h 6618553"/>
              <a:gd name="connsiteX0" fmla="*/ 0 w 8915642"/>
              <a:gd name="connsiteY0" fmla="*/ 25404 h 6643956"/>
              <a:gd name="connsiteX1" fmla="*/ 6015348 w 8915642"/>
              <a:gd name="connsiteY1" fmla="*/ 0 h 6643956"/>
              <a:gd name="connsiteX2" fmla="*/ 8915642 w 8915642"/>
              <a:gd name="connsiteY2" fmla="*/ 6642302 h 6643956"/>
              <a:gd name="connsiteX3" fmla="*/ 579722 w 8915642"/>
              <a:gd name="connsiteY3" fmla="*/ 6643956 h 6643956"/>
              <a:gd name="connsiteX4" fmla="*/ 0 w 8915642"/>
              <a:gd name="connsiteY4" fmla="*/ 6064234 h 6643956"/>
              <a:gd name="connsiteX5" fmla="*/ 0 w 8915642"/>
              <a:gd name="connsiteY5" fmla="*/ 25404 h 6643956"/>
              <a:gd name="connsiteX0" fmla="*/ 0 w 8915642"/>
              <a:gd name="connsiteY0" fmla="*/ 1653 h 6620205"/>
              <a:gd name="connsiteX1" fmla="*/ 6003473 w 8915642"/>
              <a:gd name="connsiteY1" fmla="*/ 0 h 6620205"/>
              <a:gd name="connsiteX2" fmla="*/ 8915642 w 8915642"/>
              <a:gd name="connsiteY2" fmla="*/ 6618551 h 6620205"/>
              <a:gd name="connsiteX3" fmla="*/ 579722 w 8915642"/>
              <a:gd name="connsiteY3" fmla="*/ 6620205 h 6620205"/>
              <a:gd name="connsiteX4" fmla="*/ 0 w 8915642"/>
              <a:gd name="connsiteY4" fmla="*/ 6040483 h 6620205"/>
              <a:gd name="connsiteX5" fmla="*/ 0 w 8915642"/>
              <a:gd name="connsiteY5" fmla="*/ 1653 h 6620205"/>
              <a:gd name="connsiteX0" fmla="*/ 0 w 8915642"/>
              <a:gd name="connsiteY0" fmla="*/ 96656 h 6620205"/>
              <a:gd name="connsiteX1" fmla="*/ 6003473 w 8915642"/>
              <a:gd name="connsiteY1" fmla="*/ 0 h 6620205"/>
              <a:gd name="connsiteX2" fmla="*/ 8915642 w 8915642"/>
              <a:gd name="connsiteY2" fmla="*/ 6618551 h 6620205"/>
              <a:gd name="connsiteX3" fmla="*/ 579722 w 8915642"/>
              <a:gd name="connsiteY3" fmla="*/ 6620205 h 6620205"/>
              <a:gd name="connsiteX4" fmla="*/ 0 w 8915642"/>
              <a:gd name="connsiteY4" fmla="*/ 6040483 h 6620205"/>
              <a:gd name="connsiteX5" fmla="*/ 0 w 8915642"/>
              <a:gd name="connsiteY5" fmla="*/ 96656 h 6620205"/>
              <a:gd name="connsiteX0" fmla="*/ 0 w 8915642"/>
              <a:gd name="connsiteY0" fmla="*/ 0 h 6642302"/>
              <a:gd name="connsiteX1" fmla="*/ 6003473 w 8915642"/>
              <a:gd name="connsiteY1" fmla="*/ 22097 h 6642302"/>
              <a:gd name="connsiteX2" fmla="*/ 8915642 w 8915642"/>
              <a:gd name="connsiteY2" fmla="*/ 6640648 h 6642302"/>
              <a:gd name="connsiteX3" fmla="*/ 579722 w 8915642"/>
              <a:gd name="connsiteY3" fmla="*/ 6642302 h 6642302"/>
              <a:gd name="connsiteX4" fmla="*/ 0 w 8915642"/>
              <a:gd name="connsiteY4" fmla="*/ 6062580 h 6642302"/>
              <a:gd name="connsiteX5" fmla="*/ 0 w 8915642"/>
              <a:gd name="connsiteY5" fmla="*/ 0 h 6642302"/>
              <a:gd name="connsiteX0" fmla="*/ 0 w 8915642"/>
              <a:gd name="connsiteY0" fmla="*/ 0 h 6642302"/>
              <a:gd name="connsiteX1" fmla="*/ 5932221 w 8915642"/>
              <a:gd name="connsiteY1" fmla="*/ 152725 h 6642302"/>
              <a:gd name="connsiteX2" fmla="*/ 8915642 w 8915642"/>
              <a:gd name="connsiteY2" fmla="*/ 6640648 h 6642302"/>
              <a:gd name="connsiteX3" fmla="*/ 579722 w 8915642"/>
              <a:gd name="connsiteY3" fmla="*/ 6642302 h 6642302"/>
              <a:gd name="connsiteX4" fmla="*/ 0 w 8915642"/>
              <a:gd name="connsiteY4" fmla="*/ 6062580 h 6642302"/>
              <a:gd name="connsiteX5" fmla="*/ 0 w 8915642"/>
              <a:gd name="connsiteY5" fmla="*/ 0 h 6642302"/>
              <a:gd name="connsiteX0" fmla="*/ 0 w 8915642"/>
              <a:gd name="connsiteY0" fmla="*/ 1654 h 6643956"/>
              <a:gd name="connsiteX1" fmla="*/ 6003473 w 8915642"/>
              <a:gd name="connsiteY1" fmla="*/ 0 h 6643956"/>
              <a:gd name="connsiteX2" fmla="*/ 8915642 w 8915642"/>
              <a:gd name="connsiteY2" fmla="*/ 6642302 h 6643956"/>
              <a:gd name="connsiteX3" fmla="*/ 579722 w 8915642"/>
              <a:gd name="connsiteY3" fmla="*/ 6643956 h 6643956"/>
              <a:gd name="connsiteX4" fmla="*/ 0 w 8915642"/>
              <a:gd name="connsiteY4" fmla="*/ 6064234 h 6643956"/>
              <a:gd name="connsiteX5" fmla="*/ 0 w 8915642"/>
              <a:gd name="connsiteY5" fmla="*/ 1654 h 6643956"/>
              <a:gd name="connsiteX0" fmla="*/ 0 w 6018062"/>
              <a:gd name="connsiteY0" fmla="*/ 1654 h 6654178"/>
              <a:gd name="connsiteX1" fmla="*/ 6003473 w 6018062"/>
              <a:gd name="connsiteY1" fmla="*/ 0 h 6654178"/>
              <a:gd name="connsiteX2" fmla="*/ 6018062 w 6018062"/>
              <a:gd name="connsiteY2" fmla="*/ 6654178 h 6654178"/>
              <a:gd name="connsiteX3" fmla="*/ 579722 w 6018062"/>
              <a:gd name="connsiteY3" fmla="*/ 6643956 h 6654178"/>
              <a:gd name="connsiteX4" fmla="*/ 0 w 6018062"/>
              <a:gd name="connsiteY4" fmla="*/ 6064234 h 6654178"/>
              <a:gd name="connsiteX5" fmla="*/ 0 w 6018062"/>
              <a:gd name="connsiteY5" fmla="*/ 1654 h 6654178"/>
              <a:gd name="connsiteX0" fmla="*/ 0 w 6018062"/>
              <a:gd name="connsiteY0" fmla="*/ 203535 h 6654178"/>
              <a:gd name="connsiteX1" fmla="*/ 6003473 w 6018062"/>
              <a:gd name="connsiteY1" fmla="*/ 0 h 6654178"/>
              <a:gd name="connsiteX2" fmla="*/ 6018062 w 6018062"/>
              <a:gd name="connsiteY2" fmla="*/ 6654178 h 6654178"/>
              <a:gd name="connsiteX3" fmla="*/ 579722 w 6018062"/>
              <a:gd name="connsiteY3" fmla="*/ 6643956 h 6654178"/>
              <a:gd name="connsiteX4" fmla="*/ 0 w 6018062"/>
              <a:gd name="connsiteY4" fmla="*/ 6064234 h 6654178"/>
              <a:gd name="connsiteX5" fmla="*/ 0 w 6018062"/>
              <a:gd name="connsiteY5" fmla="*/ 203535 h 6654178"/>
              <a:gd name="connsiteX0" fmla="*/ 0 w 6018062"/>
              <a:gd name="connsiteY0" fmla="*/ 1655 h 6452298"/>
              <a:gd name="connsiteX1" fmla="*/ 4055920 w 6018062"/>
              <a:gd name="connsiteY1" fmla="*/ 0 h 6452298"/>
              <a:gd name="connsiteX2" fmla="*/ 6018062 w 6018062"/>
              <a:gd name="connsiteY2" fmla="*/ 6452298 h 6452298"/>
              <a:gd name="connsiteX3" fmla="*/ 579722 w 6018062"/>
              <a:gd name="connsiteY3" fmla="*/ 6442076 h 6452298"/>
              <a:gd name="connsiteX4" fmla="*/ 0 w 6018062"/>
              <a:gd name="connsiteY4" fmla="*/ 5862354 h 6452298"/>
              <a:gd name="connsiteX5" fmla="*/ 0 w 6018062"/>
              <a:gd name="connsiteY5" fmla="*/ 1655 h 6452298"/>
              <a:gd name="connsiteX0" fmla="*/ 0 w 4055973"/>
              <a:gd name="connsiteY0" fmla="*/ 1655 h 6452298"/>
              <a:gd name="connsiteX1" fmla="*/ 4055920 w 4055973"/>
              <a:gd name="connsiteY1" fmla="*/ 0 h 6452298"/>
              <a:gd name="connsiteX2" fmla="*/ 4046758 w 4055973"/>
              <a:gd name="connsiteY2" fmla="*/ 6452298 h 6452298"/>
              <a:gd name="connsiteX3" fmla="*/ 579722 w 4055973"/>
              <a:gd name="connsiteY3" fmla="*/ 6442076 h 6452298"/>
              <a:gd name="connsiteX4" fmla="*/ 0 w 4055973"/>
              <a:gd name="connsiteY4" fmla="*/ 5862354 h 6452298"/>
              <a:gd name="connsiteX5" fmla="*/ 0 w 4055973"/>
              <a:gd name="connsiteY5" fmla="*/ 1655 h 6452298"/>
              <a:gd name="connsiteX0" fmla="*/ 0 w 4055973"/>
              <a:gd name="connsiteY0" fmla="*/ 0 h 6652523"/>
              <a:gd name="connsiteX1" fmla="*/ 4055920 w 4055973"/>
              <a:gd name="connsiteY1" fmla="*/ 200225 h 6652523"/>
              <a:gd name="connsiteX2" fmla="*/ 4046758 w 4055973"/>
              <a:gd name="connsiteY2" fmla="*/ 6652523 h 6652523"/>
              <a:gd name="connsiteX3" fmla="*/ 579722 w 4055973"/>
              <a:gd name="connsiteY3" fmla="*/ 6642301 h 6652523"/>
              <a:gd name="connsiteX4" fmla="*/ 0 w 4055973"/>
              <a:gd name="connsiteY4" fmla="*/ 6062579 h 6652523"/>
              <a:gd name="connsiteX5" fmla="*/ 0 w 4055973"/>
              <a:gd name="connsiteY5" fmla="*/ 0 h 6652523"/>
              <a:gd name="connsiteX0" fmla="*/ 0 w 4046758"/>
              <a:gd name="connsiteY0" fmla="*/ 0 h 6652523"/>
              <a:gd name="connsiteX1" fmla="*/ 4044045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1655 h 6654178"/>
              <a:gd name="connsiteX1" fmla="*/ 3082144 w 4046758"/>
              <a:gd name="connsiteY1" fmla="*/ 0 h 6654178"/>
              <a:gd name="connsiteX2" fmla="*/ 4046758 w 4046758"/>
              <a:gd name="connsiteY2" fmla="*/ 6654178 h 6654178"/>
              <a:gd name="connsiteX3" fmla="*/ 579722 w 4046758"/>
              <a:gd name="connsiteY3" fmla="*/ 6643956 h 6654178"/>
              <a:gd name="connsiteX4" fmla="*/ 0 w 4046758"/>
              <a:gd name="connsiteY4" fmla="*/ 6064234 h 6654178"/>
              <a:gd name="connsiteX5" fmla="*/ 0 w 4046758"/>
              <a:gd name="connsiteY5" fmla="*/ 1655 h 6654178"/>
              <a:gd name="connsiteX0" fmla="*/ 0 w 4046758"/>
              <a:gd name="connsiteY0" fmla="*/ 0 h 6652523"/>
              <a:gd name="connsiteX1" fmla="*/ 2975266 w 4046758"/>
              <a:gd name="connsiteY1" fmla="*/ 93348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0 h 6652523"/>
              <a:gd name="connsiteX1" fmla="*/ 3070268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0 h 6652523"/>
              <a:gd name="connsiteX1" fmla="*/ 3082144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3082197"/>
              <a:gd name="connsiteY0" fmla="*/ 0 h 6652523"/>
              <a:gd name="connsiteX1" fmla="*/ 3082144 w 3082197"/>
              <a:gd name="connsiteY1" fmla="*/ 10220 h 6652523"/>
              <a:gd name="connsiteX2" fmla="*/ 3072982 w 3082197"/>
              <a:gd name="connsiteY2" fmla="*/ 6652523 h 6652523"/>
              <a:gd name="connsiteX3" fmla="*/ 579722 w 3082197"/>
              <a:gd name="connsiteY3" fmla="*/ 6642301 h 6652523"/>
              <a:gd name="connsiteX4" fmla="*/ 0 w 3082197"/>
              <a:gd name="connsiteY4" fmla="*/ 6062579 h 6652523"/>
              <a:gd name="connsiteX5" fmla="*/ 0 w 3082197"/>
              <a:gd name="connsiteY5" fmla="*/ 0 h 6652523"/>
              <a:gd name="connsiteX0" fmla="*/ 0 w 3072982"/>
              <a:gd name="connsiteY0" fmla="*/ 0 h 6652523"/>
              <a:gd name="connsiteX1" fmla="*/ 3010892 w 3072982"/>
              <a:gd name="connsiteY1" fmla="*/ 164599 h 6652523"/>
              <a:gd name="connsiteX2" fmla="*/ 3072982 w 3072982"/>
              <a:gd name="connsiteY2" fmla="*/ 6652523 h 6652523"/>
              <a:gd name="connsiteX3" fmla="*/ 579722 w 3072982"/>
              <a:gd name="connsiteY3" fmla="*/ 6642301 h 6652523"/>
              <a:gd name="connsiteX4" fmla="*/ 0 w 3072982"/>
              <a:gd name="connsiteY4" fmla="*/ 6062579 h 6652523"/>
              <a:gd name="connsiteX5" fmla="*/ 0 w 3072982"/>
              <a:gd name="connsiteY5" fmla="*/ 0 h 6652523"/>
              <a:gd name="connsiteX0" fmla="*/ 0 w 3082197"/>
              <a:gd name="connsiteY0" fmla="*/ 1656 h 6654179"/>
              <a:gd name="connsiteX1" fmla="*/ 3082144 w 3082197"/>
              <a:gd name="connsiteY1" fmla="*/ 0 h 6654179"/>
              <a:gd name="connsiteX2" fmla="*/ 3072982 w 3082197"/>
              <a:gd name="connsiteY2" fmla="*/ 6654179 h 6654179"/>
              <a:gd name="connsiteX3" fmla="*/ 579722 w 3082197"/>
              <a:gd name="connsiteY3" fmla="*/ 6643957 h 6654179"/>
              <a:gd name="connsiteX4" fmla="*/ 0 w 3082197"/>
              <a:gd name="connsiteY4" fmla="*/ 6064235 h 6654179"/>
              <a:gd name="connsiteX5" fmla="*/ 0 w 3082197"/>
              <a:gd name="connsiteY5" fmla="*/ 1656 h 6654179"/>
              <a:gd name="connsiteX0" fmla="*/ 0 w 3082197"/>
              <a:gd name="connsiteY0" fmla="*/ 1316107 h 6654179"/>
              <a:gd name="connsiteX1" fmla="*/ 3082144 w 3082197"/>
              <a:gd name="connsiteY1" fmla="*/ 0 h 6654179"/>
              <a:gd name="connsiteX2" fmla="*/ 3072982 w 3082197"/>
              <a:gd name="connsiteY2" fmla="*/ 6654179 h 6654179"/>
              <a:gd name="connsiteX3" fmla="*/ 579722 w 3082197"/>
              <a:gd name="connsiteY3" fmla="*/ 6643957 h 6654179"/>
              <a:gd name="connsiteX4" fmla="*/ 0 w 3082197"/>
              <a:gd name="connsiteY4" fmla="*/ 6064235 h 6654179"/>
              <a:gd name="connsiteX5" fmla="*/ 0 w 3082197"/>
              <a:gd name="connsiteY5" fmla="*/ 1316107 h 6654179"/>
              <a:gd name="connsiteX0" fmla="*/ 0 w 3082197"/>
              <a:gd name="connsiteY0" fmla="*/ 1657 h 5339729"/>
              <a:gd name="connsiteX1" fmla="*/ 3082144 w 3082197"/>
              <a:gd name="connsiteY1" fmla="*/ 0 h 5339729"/>
              <a:gd name="connsiteX2" fmla="*/ 3072982 w 3082197"/>
              <a:gd name="connsiteY2" fmla="*/ 5339729 h 5339729"/>
              <a:gd name="connsiteX3" fmla="*/ 579722 w 3082197"/>
              <a:gd name="connsiteY3" fmla="*/ 5329507 h 5339729"/>
              <a:gd name="connsiteX4" fmla="*/ 0 w 3082197"/>
              <a:gd name="connsiteY4" fmla="*/ 4749785 h 5339729"/>
              <a:gd name="connsiteX5" fmla="*/ 0 w 3082197"/>
              <a:gd name="connsiteY5" fmla="*/ 1657 h 5339729"/>
              <a:gd name="connsiteX0" fmla="*/ 0 w 3082197"/>
              <a:gd name="connsiteY0" fmla="*/ 2202416 h 5339729"/>
              <a:gd name="connsiteX1" fmla="*/ 3082144 w 3082197"/>
              <a:gd name="connsiteY1" fmla="*/ 0 h 5339729"/>
              <a:gd name="connsiteX2" fmla="*/ 3072982 w 3082197"/>
              <a:gd name="connsiteY2" fmla="*/ 5339729 h 5339729"/>
              <a:gd name="connsiteX3" fmla="*/ 579722 w 3082197"/>
              <a:gd name="connsiteY3" fmla="*/ 5329507 h 5339729"/>
              <a:gd name="connsiteX4" fmla="*/ 0 w 3082197"/>
              <a:gd name="connsiteY4" fmla="*/ 4749785 h 5339729"/>
              <a:gd name="connsiteX5" fmla="*/ 0 w 3082197"/>
              <a:gd name="connsiteY5" fmla="*/ 2202416 h 5339729"/>
              <a:gd name="connsiteX0" fmla="*/ 0 w 3082197"/>
              <a:gd name="connsiteY0" fmla="*/ 1656 h 3138969"/>
              <a:gd name="connsiteX1" fmla="*/ 3082144 w 3082197"/>
              <a:gd name="connsiteY1" fmla="*/ 0 h 3138969"/>
              <a:gd name="connsiteX2" fmla="*/ 3072982 w 3082197"/>
              <a:gd name="connsiteY2" fmla="*/ 3138969 h 3138969"/>
              <a:gd name="connsiteX3" fmla="*/ 579722 w 3082197"/>
              <a:gd name="connsiteY3" fmla="*/ 3128747 h 3138969"/>
              <a:gd name="connsiteX4" fmla="*/ 0 w 3082197"/>
              <a:gd name="connsiteY4" fmla="*/ 2549025 h 3138969"/>
              <a:gd name="connsiteX5" fmla="*/ 0 w 3082197"/>
              <a:gd name="connsiteY5" fmla="*/ 1656 h 3138969"/>
              <a:gd name="connsiteX0" fmla="*/ 0 w 3082145"/>
              <a:gd name="connsiteY0" fmla="*/ 1656 h 3150544"/>
              <a:gd name="connsiteX1" fmla="*/ 3082144 w 3082145"/>
              <a:gd name="connsiteY1" fmla="*/ 0 h 3150544"/>
              <a:gd name="connsiteX2" fmla="*/ 2772041 w 3082145"/>
              <a:gd name="connsiteY2" fmla="*/ 3150544 h 3150544"/>
              <a:gd name="connsiteX3" fmla="*/ 579722 w 3082145"/>
              <a:gd name="connsiteY3" fmla="*/ 3128747 h 3150544"/>
              <a:gd name="connsiteX4" fmla="*/ 0 w 3082145"/>
              <a:gd name="connsiteY4" fmla="*/ 2549025 h 3150544"/>
              <a:gd name="connsiteX5" fmla="*/ 0 w 3082145"/>
              <a:gd name="connsiteY5" fmla="*/ 1656 h 3150544"/>
              <a:gd name="connsiteX0" fmla="*/ 0 w 2772041"/>
              <a:gd name="connsiteY0" fmla="*/ 1656 h 3150544"/>
              <a:gd name="connsiteX1" fmla="*/ 2769627 w 2772041"/>
              <a:gd name="connsiteY1" fmla="*/ 0 h 3150544"/>
              <a:gd name="connsiteX2" fmla="*/ 2772041 w 2772041"/>
              <a:gd name="connsiteY2" fmla="*/ 3150544 h 3150544"/>
              <a:gd name="connsiteX3" fmla="*/ 579722 w 2772041"/>
              <a:gd name="connsiteY3" fmla="*/ 3128747 h 3150544"/>
              <a:gd name="connsiteX4" fmla="*/ 0 w 2772041"/>
              <a:gd name="connsiteY4" fmla="*/ 2549025 h 3150544"/>
              <a:gd name="connsiteX5" fmla="*/ 0 w 2772041"/>
              <a:gd name="connsiteY5" fmla="*/ 1656 h 3150544"/>
              <a:gd name="connsiteX0" fmla="*/ 0 w 2772041"/>
              <a:gd name="connsiteY0" fmla="*/ 1656 h 3138969"/>
              <a:gd name="connsiteX1" fmla="*/ 2769627 w 2772041"/>
              <a:gd name="connsiteY1" fmla="*/ 0 h 3138969"/>
              <a:gd name="connsiteX2" fmla="*/ 2772041 w 2772041"/>
              <a:gd name="connsiteY2" fmla="*/ 3138969 h 3138969"/>
              <a:gd name="connsiteX3" fmla="*/ 579722 w 2772041"/>
              <a:gd name="connsiteY3" fmla="*/ 3128747 h 3138969"/>
              <a:gd name="connsiteX4" fmla="*/ 0 w 2772041"/>
              <a:gd name="connsiteY4" fmla="*/ 2549025 h 3138969"/>
              <a:gd name="connsiteX5" fmla="*/ 0 w 2772041"/>
              <a:gd name="connsiteY5" fmla="*/ 1656 h 3138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2041" h="3138969">
                <a:moveTo>
                  <a:pt x="0" y="1656"/>
                </a:moveTo>
                <a:lnTo>
                  <a:pt x="2769627" y="0"/>
                </a:lnTo>
                <a:cubicBezTo>
                  <a:pt x="2770532" y="2146807"/>
                  <a:pt x="2771136" y="992162"/>
                  <a:pt x="2772041" y="3138969"/>
                </a:cubicBezTo>
                <a:lnTo>
                  <a:pt x="579722" y="3128747"/>
                </a:lnTo>
                <a:cubicBezTo>
                  <a:pt x="259550" y="3128747"/>
                  <a:pt x="0" y="2869197"/>
                  <a:pt x="0" y="2549025"/>
                </a:cubicBezTo>
                <a:lnTo>
                  <a:pt x="0" y="1656"/>
                </a:lnTo>
                <a:close/>
              </a:path>
            </a:pathLst>
          </a:custGeom>
          <a:noFill/>
        </p:spPr>
        <p:txBody>
          <a:bodyPr>
            <a:normAutofit/>
          </a:bodyPr>
          <a:lstStyle>
            <a:lvl1pPr marL="0" indent="0">
              <a:buNone/>
              <a:defRPr sz="1400">
                <a:solidFill>
                  <a:schemeClr val="tx1"/>
                </a:solidFill>
              </a:defRPr>
            </a:lvl1pPr>
          </a:lstStyle>
          <a:p>
            <a:r>
              <a:rPr lang="en-JP"/>
              <a:t>Insert Picture/Text Block</a:t>
            </a:r>
          </a:p>
        </p:txBody>
      </p:sp>
      <p:sp>
        <p:nvSpPr>
          <p:cNvPr id="24" name="Picture Placeholder 9">
            <a:extLst>
              <a:ext uri="{FF2B5EF4-FFF2-40B4-BE49-F238E27FC236}">
                <a16:creationId xmlns:a16="http://schemas.microsoft.com/office/drawing/2014/main" id="{AA8F528A-C9DE-0B46-881A-43E0F9B6F677}"/>
              </a:ext>
            </a:extLst>
          </p:cNvPr>
          <p:cNvSpPr>
            <a:spLocks noGrp="1"/>
          </p:cNvSpPr>
          <p:nvPr>
            <p:ph type="pic" sz="quarter" idx="19" hasCustomPrompt="1"/>
          </p:nvPr>
        </p:nvSpPr>
        <p:spPr>
          <a:xfrm>
            <a:off x="3244494" y="3076286"/>
            <a:ext cx="2772041" cy="3138969"/>
          </a:xfrm>
          <a:custGeom>
            <a:avLst/>
            <a:gdLst>
              <a:gd name="connsiteX0" fmla="*/ 0 w 10888662"/>
              <a:gd name="connsiteY0" fmla="*/ 579722 h 6442075"/>
              <a:gd name="connsiteX1" fmla="*/ 579722 w 10888662"/>
              <a:gd name="connsiteY1" fmla="*/ 0 h 6442075"/>
              <a:gd name="connsiteX2" fmla="*/ 10308940 w 10888662"/>
              <a:gd name="connsiteY2" fmla="*/ 0 h 6442075"/>
              <a:gd name="connsiteX3" fmla="*/ 10888662 w 10888662"/>
              <a:gd name="connsiteY3" fmla="*/ 579722 h 6442075"/>
              <a:gd name="connsiteX4" fmla="*/ 10888662 w 10888662"/>
              <a:gd name="connsiteY4" fmla="*/ 5862353 h 6442075"/>
              <a:gd name="connsiteX5" fmla="*/ 10308940 w 10888662"/>
              <a:gd name="connsiteY5" fmla="*/ 6442075 h 6442075"/>
              <a:gd name="connsiteX6" fmla="*/ 579722 w 10888662"/>
              <a:gd name="connsiteY6" fmla="*/ 6442075 h 6442075"/>
              <a:gd name="connsiteX7" fmla="*/ 0 w 10888662"/>
              <a:gd name="connsiteY7" fmla="*/ 5862353 h 6442075"/>
              <a:gd name="connsiteX8" fmla="*/ 0 w 10888662"/>
              <a:gd name="connsiteY8" fmla="*/ 579722 h 6442075"/>
              <a:gd name="connsiteX0" fmla="*/ 0 w 10888662"/>
              <a:gd name="connsiteY0" fmla="*/ 659657 h 6522010"/>
              <a:gd name="connsiteX1" fmla="*/ 10308940 w 10888662"/>
              <a:gd name="connsiteY1" fmla="*/ 79935 h 6522010"/>
              <a:gd name="connsiteX2" fmla="*/ 10888662 w 10888662"/>
              <a:gd name="connsiteY2" fmla="*/ 659657 h 6522010"/>
              <a:gd name="connsiteX3" fmla="*/ 10888662 w 10888662"/>
              <a:gd name="connsiteY3" fmla="*/ 5942288 h 6522010"/>
              <a:gd name="connsiteX4" fmla="*/ 10308940 w 10888662"/>
              <a:gd name="connsiteY4" fmla="*/ 6522010 h 6522010"/>
              <a:gd name="connsiteX5" fmla="*/ 579722 w 10888662"/>
              <a:gd name="connsiteY5" fmla="*/ 6522010 h 6522010"/>
              <a:gd name="connsiteX6" fmla="*/ 0 w 10888662"/>
              <a:gd name="connsiteY6" fmla="*/ 5942288 h 6522010"/>
              <a:gd name="connsiteX7" fmla="*/ 0 w 10888662"/>
              <a:gd name="connsiteY7" fmla="*/ 659657 h 6522010"/>
              <a:gd name="connsiteX0" fmla="*/ 0 w 10888662"/>
              <a:gd name="connsiteY0" fmla="*/ 579722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579722 h 6442075"/>
              <a:gd name="connsiteX0" fmla="*/ 0 w 10888662"/>
              <a:gd name="connsiteY0" fmla="*/ 129257 h 6569679"/>
              <a:gd name="connsiteX1" fmla="*/ 10308940 w 10888662"/>
              <a:gd name="connsiteY1" fmla="*/ 127604 h 6569679"/>
              <a:gd name="connsiteX2" fmla="*/ 10888662 w 10888662"/>
              <a:gd name="connsiteY2" fmla="*/ 707326 h 6569679"/>
              <a:gd name="connsiteX3" fmla="*/ 10888662 w 10888662"/>
              <a:gd name="connsiteY3" fmla="*/ 5989957 h 6569679"/>
              <a:gd name="connsiteX4" fmla="*/ 10308940 w 10888662"/>
              <a:gd name="connsiteY4" fmla="*/ 6569679 h 6569679"/>
              <a:gd name="connsiteX5" fmla="*/ 579722 w 10888662"/>
              <a:gd name="connsiteY5" fmla="*/ 6569679 h 6569679"/>
              <a:gd name="connsiteX6" fmla="*/ 0 w 10888662"/>
              <a:gd name="connsiteY6" fmla="*/ 5989957 h 6569679"/>
              <a:gd name="connsiteX7" fmla="*/ 0 w 10888662"/>
              <a:gd name="connsiteY7" fmla="*/ 129257 h 6569679"/>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9657299 w 10888662"/>
              <a:gd name="connsiteY4" fmla="*/ 55276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522010"/>
              <a:gd name="connsiteX1" fmla="*/ 10308940 w 10888662"/>
              <a:gd name="connsiteY1" fmla="*/ 0 h 6522010"/>
              <a:gd name="connsiteX2" fmla="*/ 10888662 w 10888662"/>
              <a:gd name="connsiteY2" fmla="*/ 579722 h 6522010"/>
              <a:gd name="connsiteX3" fmla="*/ 10888662 w 10888662"/>
              <a:gd name="connsiteY3" fmla="*/ 5862353 h 6522010"/>
              <a:gd name="connsiteX4" fmla="*/ 579722 w 10888662"/>
              <a:gd name="connsiteY4" fmla="*/ 6442075 h 6522010"/>
              <a:gd name="connsiteX5" fmla="*/ 0 w 10888662"/>
              <a:gd name="connsiteY5" fmla="*/ 5862353 h 6522010"/>
              <a:gd name="connsiteX6" fmla="*/ 0 w 10888662"/>
              <a:gd name="connsiteY6" fmla="*/ 1653 h 6522010"/>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579722 w 10888662"/>
              <a:gd name="connsiteY4" fmla="*/ 6442075 h 6442075"/>
              <a:gd name="connsiteX5" fmla="*/ 0 w 10888662"/>
              <a:gd name="connsiteY5" fmla="*/ 5862353 h 6442075"/>
              <a:gd name="connsiteX6" fmla="*/ 0 w 10888662"/>
              <a:gd name="connsiteY6" fmla="*/ 1653 h 6442075"/>
              <a:gd name="connsiteX0" fmla="*/ 0 w 10888662"/>
              <a:gd name="connsiteY0" fmla="*/ 1653 h 6585432"/>
              <a:gd name="connsiteX1" fmla="*/ 10308940 w 10888662"/>
              <a:gd name="connsiteY1" fmla="*/ 0 h 6585432"/>
              <a:gd name="connsiteX2" fmla="*/ 10888662 w 10888662"/>
              <a:gd name="connsiteY2" fmla="*/ 579722 h 6585432"/>
              <a:gd name="connsiteX3" fmla="*/ 10878151 w 10888662"/>
              <a:gd name="connsiteY3" fmla="*/ 6461442 h 6585432"/>
              <a:gd name="connsiteX4" fmla="*/ 579722 w 10888662"/>
              <a:gd name="connsiteY4" fmla="*/ 6442075 h 6585432"/>
              <a:gd name="connsiteX5" fmla="*/ 0 w 10888662"/>
              <a:gd name="connsiteY5" fmla="*/ 5862353 h 6585432"/>
              <a:gd name="connsiteX6" fmla="*/ 0 w 10888662"/>
              <a:gd name="connsiteY6" fmla="*/ 1653 h 6585432"/>
              <a:gd name="connsiteX0" fmla="*/ 0 w 10888662"/>
              <a:gd name="connsiteY0" fmla="*/ 1653 h 6577502"/>
              <a:gd name="connsiteX1" fmla="*/ 10308940 w 10888662"/>
              <a:gd name="connsiteY1" fmla="*/ 0 h 6577502"/>
              <a:gd name="connsiteX2" fmla="*/ 10888662 w 10888662"/>
              <a:gd name="connsiteY2" fmla="*/ 579722 h 6577502"/>
              <a:gd name="connsiteX3" fmla="*/ 10878151 w 10888662"/>
              <a:gd name="connsiteY3" fmla="*/ 6450932 h 6577502"/>
              <a:gd name="connsiteX4" fmla="*/ 579722 w 10888662"/>
              <a:gd name="connsiteY4" fmla="*/ 6442075 h 6577502"/>
              <a:gd name="connsiteX5" fmla="*/ 0 w 10888662"/>
              <a:gd name="connsiteY5" fmla="*/ 5862353 h 6577502"/>
              <a:gd name="connsiteX6" fmla="*/ 0 w 10888662"/>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0888662"/>
              <a:gd name="connsiteY0" fmla="*/ 1653 h 6450932"/>
              <a:gd name="connsiteX1" fmla="*/ 10308940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0999550"/>
              <a:gd name="connsiteY0" fmla="*/ 1653 h 6450932"/>
              <a:gd name="connsiteX1" fmla="*/ 10844968 w 10999550"/>
              <a:gd name="connsiteY1" fmla="*/ 0 h 6450932"/>
              <a:gd name="connsiteX2" fmla="*/ 10888662 w 10999550"/>
              <a:gd name="connsiteY2" fmla="*/ 579722 h 6450932"/>
              <a:gd name="connsiteX3" fmla="*/ 10878151 w 10999550"/>
              <a:gd name="connsiteY3" fmla="*/ 6450932 h 6450932"/>
              <a:gd name="connsiteX4" fmla="*/ 579722 w 10999550"/>
              <a:gd name="connsiteY4" fmla="*/ 6442075 h 6450932"/>
              <a:gd name="connsiteX5" fmla="*/ 0 w 10999550"/>
              <a:gd name="connsiteY5" fmla="*/ 5862353 h 6450932"/>
              <a:gd name="connsiteX6" fmla="*/ 0 w 10999550"/>
              <a:gd name="connsiteY6" fmla="*/ 1653 h 6450932"/>
              <a:gd name="connsiteX0" fmla="*/ 0 w 11022020"/>
              <a:gd name="connsiteY0" fmla="*/ 1653 h 6450932"/>
              <a:gd name="connsiteX1" fmla="*/ 10876499 w 11022020"/>
              <a:gd name="connsiteY1" fmla="*/ 0 h 6450932"/>
              <a:gd name="connsiteX2" fmla="*/ 10888662 w 11022020"/>
              <a:gd name="connsiteY2" fmla="*/ 579722 h 6450932"/>
              <a:gd name="connsiteX3" fmla="*/ 10878151 w 11022020"/>
              <a:gd name="connsiteY3" fmla="*/ 6450932 h 6450932"/>
              <a:gd name="connsiteX4" fmla="*/ 579722 w 11022020"/>
              <a:gd name="connsiteY4" fmla="*/ 6442075 h 6450932"/>
              <a:gd name="connsiteX5" fmla="*/ 0 w 11022020"/>
              <a:gd name="connsiteY5" fmla="*/ 5862353 h 6450932"/>
              <a:gd name="connsiteX6" fmla="*/ 0 w 11022020"/>
              <a:gd name="connsiteY6" fmla="*/ 1653 h 6450932"/>
              <a:gd name="connsiteX0" fmla="*/ 0 w 10888662"/>
              <a:gd name="connsiteY0" fmla="*/ 1653 h 6450932"/>
              <a:gd name="connsiteX1" fmla="*/ 10876499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2200990"/>
              <a:gd name="connsiteY0" fmla="*/ 1653 h 6450932"/>
              <a:gd name="connsiteX1" fmla="*/ 10876499 w 12200990"/>
              <a:gd name="connsiteY1" fmla="*/ 0 h 6450932"/>
              <a:gd name="connsiteX2" fmla="*/ 10878151 w 12200990"/>
              <a:gd name="connsiteY2" fmla="*/ 6450932 h 6450932"/>
              <a:gd name="connsiteX3" fmla="*/ 579722 w 12200990"/>
              <a:gd name="connsiteY3" fmla="*/ 6442075 h 6450932"/>
              <a:gd name="connsiteX4" fmla="*/ 0 w 12200990"/>
              <a:gd name="connsiteY4" fmla="*/ 5862353 h 6450932"/>
              <a:gd name="connsiteX5" fmla="*/ 0 w 12200990"/>
              <a:gd name="connsiteY5" fmla="*/ 1653 h 6450932"/>
              <a:gd name="connsiteX0" fmla="*/ 0 w 11640630"/>
              <a:gd name="connsiteY0" fmla="*/ 1653 h 6450932"/>
              <a:gd name="connsiteX1" fmla="*/ 10876499 w 11640630"/>
              <a:gd name="connsiteY1" fmla="*/ 0 h 6450932"/>
              <a:gd name="connsiteX2" fmla="*/ 10878151 w 11640630"/>
              <a:gd name="connsiteY2" fmla="*/ 6450932 h 6450932"/>
              <a:gd name="connsiteX3" fmla="*/ 579722 w 11640630"/>
              <a:gd name="connsiteY3" fmla="*/ 6442075 h 6450932"/>
              <a:gd name="connsiteX4" fmla="*/ 0 w 11640630"/>
              <a:gd name="connsiteY4" fmla="*/ 5862353 h 6450932"/>
              <a:gd name="connsiteX5" fmla="*/ 0 w 11640630"/>
              <a:gd name="connsiteY5" fmla="*/ 1653 h 6450932"/>
              <a:gd name="connsiteX0" fmla="*/ 0 w 10878151"/>
              <a:gd name="connsiteY0" fmla="*/ 1653 h 6450932"/>
              <a:gd name="connsiteX1" fmla="*/ 10876499 w 10878151"/>
              <a:gd name="connsiteY1" fmla="*/ 0 h 6450932"/>
              <a:gd name="connsiteX2" fmla="*/ 10878151 w 10878151"/>
              <a:gd name="connsiteY2" fmla="*/ 6450932 h 6450932"/>
              <a:gd name="connsiteX3" fmla="*/ 579722 w 10878151"/>
              <a:gd name="connsiteY3" fmla="*/ 6442075 h 6450932"/>
              <a:gd name="connsiteX4" fmla="*/ 0 w 10878151"/>
              <a:gd name="connsiteY4" fmla="*/ 5862353 h 6450932"/>
              <a:gd name="connsiteX5" fmla="*/ 0 w 10878151"/>
              <a:gd name="connsiteY5" fmla="*/ 1653 h 6450932"/>
              <a:gd name="connsiteX0" fmla="*/ 0 w 11843451"/>
              <a:gd name="connsiteY0" fmla="*/ 1653 h 6450932"/>
              <a:gd name="connsiteX1" fmla="*/ 11843451 w 11843451"/>
              <a:gd name="connsiteY1" fmla="*/ 0 h 6450932"/>
              <a:gd name="connsiteX2" fmla="*/ 10878151 w 11843451"/>
              <a:gd name="connsiteY2" fmla="*/ 6450932 h 6450932"/>
              <a:gd name="connsiteX3" fmla="*/ 579722 w 11843451"/>
              <a:gd name="connsiteY3" fmla="*/ 6442075 h 6450932"/>
              <a:gd name="connsiteX4" fmla="*/ 0 w 11843451"/>
              <a:gd name="connsiteY4" fmla="*/ 5862353 h 6450932"/>
              <a:gd name="connsiteX5" fmla="*/ 0 w 11843451"/>
              <a:gd name="connsiteY5" fmla="*/ 1653 h 6450932"/>
              <a:gd name="connsiteX0" fmla="*/ 0 w 11855613"/>
              <a:gd name="connsiteY0" fmla="*/ 1653 h 6450932"/>
              <a:gd name="connsiteX1" fmla="*/ 11843451 w 11855613"/>
              <a:gd name="connsiteY1" fmla="*/ 0 h 6450932"/>
              <a:gd name="connsiteX2" fmla="*/ 11855613 w 11855613"/>
              <a:gd name="connsiteY2" fmla="*/ 6450932 h 6450932"/>
              <a:gd name="connsiteX3" fmla="*/ 579722 w 11855613"/>
              <a:gd name="connsiteY3" fmla="*/ 6442075 h 6450932"/>
              <a:gd name="connsiteX4" fmla="*/ 0 w 11855613"/>
              <a:gd name="connsiteY4" fmla="*/ 5862353 h 6450932"/>
              <a:gd name="connsiteX5" fmla="*/ 0 w 11855613"/>
              <a:gd name="connsiteY5" fmla="*/ 1653 h 6450932"/>
              <a:gd name="connsiteX0" fmla="*/ 0 w 11864472"/>
              <a:gd name="connsiteY0" fmla="*/ 1653 h 6450932"/>
              <a:gd name="connsiteX1" fmla="*/ 11864472 w 11864472"/>
              <a:gd name="connsiteY1" fmla="*/ 0 h 6450932"/>
              <a:gd name="connsiteX2" fmla="*/ 11855613 w 11864472"/>
              <a:gd name="connsiteY2" fmla="*/ 6450932 h 6450932"/>
              <a:gd name="connsiteX3" fmla="*/ 579722 w 11864472"/>
              <a:gd name="connsiteY3" fmla="*/ 6442075 h 6450932"/>
              <a:gd name="connsiteX4" fmla="*/ 0 w 11864472"/>
              <a:gd name="connsiteY4" fmla="*/ 5862353 h 6450932"/>
              <a:gd name="connsiteX5" fmla="*/ 0 w 11864472"/>
              <a:gd name="connsiteY5" fmla="*/ 1653 h 6450932"/>
              <a:gd name="connsiteX0" fmla="*/ 0 w 11864472"/>
              <a:gd name="connsiteY0" fmla="*/ 1653 h 6442075"/>
              <a:gd name="connsiteX1" fmla="*/ 11864472 w 11864472"/>
              <a:gd name="connsiteY1" fmla="*/ 0 h 6442075"/>
              <a:gd name="connsiteX2" fmla="*/ 11855613 w 11864472"/>
              <a:gd name="connsiteY2" fmla="*/ 6440421 h 6442075"/>
              <a:gd name="connsiteX3" fmla="*/ 579722 w 11864472"/>
              <a:gd name="connsiteY3" fmla="*/ 6442075 h 6442075"/>
              <a:gd name="connsiteX4" fmla="*/ 0 w 11864472"/>
              <a:gd name="connsiteY4" fmla="*/ 5862353 h 6442075"/>
              <a:gd name="connsiteX5" fmla="*/ 0 w 11864472"/>
              <a:gd name="connsiteY5" fmla="*/ 1653 h 6442075"/>
              <a:gd name="connsiteX0" fmla="*/ 0 w 11855613"/>
              <a:gd name="connsiteY0" fmla="*/ 1653 h 6442075"/>
              <a:gd name="connsiteX1" fmla="*/ 8912928 w 11855613"/>
              <a:gd name="connsiteY1" fmla="*/ 0 h 6442075"/>
              <a:gd name="connsiteX2" fmla="*/ 11855613 w 11855613"/>
              <a:gd name="connsiteY2" fmla="*/ 6440421 h 6442075"/>
              <a:gd name="connsiteX3" fmla="*/ 579722 w 11855613"/>
              <a:gd name="connsiteY3" fmla="*/ 6442075 h 6442075"/>
              <a:gd name="connsiteX4" fmla="*/ 0 w 11855613"/>
              <a:gd name="connsiteY4" fmla="*/ 5862353 h 6442075"/>
              <a:gd name="connsiteX5" fmla="*/ 0 w 11855613"/>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74032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36077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1615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15642"/>
              <a:gd name="connsiteY0" fmla="*/ 1653 h 6442075"/>
              <a:gd name="connsiteX1" fmla="*/ 8912928 w 8915642"/>
              <a:gd name="connsiteY1" fmla="*/ 0 h 6442075"/>
              <a:gd name="connsiteX2" fmla="*/ 8915642 w 8915642"/>
              <a:gd name="connsiteY2" fmla="*/ 6440421 h 6442075"/>
              <a:gd name="connsiteX3" fmla="*/ 579722 w 8915642"/>
              <a:gd name="connsiteY3" fmla="*/ 6442075 h 6442075"/>
              <a:gd name="connsiteX4" fmla="*/ 0 w 8915642"/>
              <a:gd name="connsiteY4" fmla="*/ 5862353 h 6442075"/>
              <a:gd name="connsiteX5" fmla="*/ 0 w 8915642"/>
              <a:gd name="connsiteY5" fmla="*/ 1653 h 6442075"/>
              <a:gd name="connsiteX0" fmla="*/ 0 w 8915642"/>
              <a:gd name="connsiteY0" fmla="*/ 1 h 6618553"/>
              <a:gd name="connsiteX1" fmla="*/ 8912928 w 8915642"/>
              <a:gd name="connsiteY1" fmla="*/ 176478 h 6618553"/>
              <a:gd name="connsiteX2" fmla="*/ 8915642 w 8915642"/>
              <a:gd name="connsiteY2" fmla="*/ 6616899 h 6618553"/>
              <a:gd name="connsiteX3" fmla="*/ 579722 w 8915642"/>
              <a:gd name="connsiteY3" fmla="*/ 6618553 h 6618553"/>
              <a:gd name="connsiteX4" fmla="*/ 0 w 8915642"/>
              <a:gd name="connsiteY4" fmla="*/ 6038831 h 6618553"/>
              <a:gd name="connsiteX5" fmla="*/ 0 w 8915642"/>
              <a:gd name="connsiteY5" fmla="*/ 1 h 6618553"/>
              <a:gd name="connsiteX0" fmla="*/ 0 w 8915642"/>
              <a:gd name="connsiteY0" fmla="*/ 25404 h 6643956"/>
              <a:gd name="connsiteX1" fmla="*/ 6015348 w 8915642"/>
              <a:gd name="connsiteY1" fmla="*/ 0 h 6643956"/>
              <a:gd name="connsiteX2" fmla="*/ 8915642 w 8915642"/>
              <a:gd name="connsiteY2" fmla="*/ 6642302 h 6643956"/>
              <a:gd name="connsiteX3" fmla="*/ 579722 w 8915642"/>
              <a:gd name="connsiteY3" fmla="*/ 6643956 h 6643956"/>
              <a:gd name="connsiteX4" fmla="*/ 0 w 8915642"/>
              <a:gd name="connsiteY4" fmla="*/ 6064234 h 6643956"/>
              <a:gd name="connsiteX5" fmla="*/ 0 w 8915642"/>
              <a:gd name="connsiteY5" fmla="*/ 25404 h 6643956"/>
              <a:gd name="connsiteX0" fmla="*/ 0 w 8915642"/>
              <a:gd name="connsiteY0" fmla="*/ 1653 h 6620205"/>
              <a:gd name="connsiteX1" fmla="*/ 6003473 w 8915642"/>
              <a:gd name="connsiteY1" fmla="*/ 0 h 6620205"/>
              <a:gd name="connsiteX2" fmla="*/ 8915642 w 8915642"/>
              <a:gd name="connsiteY2" fmla="*/ 6618551 h 6620205"/>
              <a:gd name="connsiteX3" fmla="*/ 579722 w 8915642"/>
              <a:gd name="connsiteY3" fmla="*/ 6620205 h 6620205"/>
              <a:gd name="connsiteX4" fmla="*/ 0 w 8915642"/>
              <a:gd name="connsiteY4" fmla="*/ 6040483 h 6620205"/>
              <a:gd name="connsiteX5" fmla="*/ 0 w 8915642"/>
              <a:gd name="connsiteY5" fmla="*/ 1653 h 6620205"/>
              <a:gd name="connsiteX0" fmla="*/ 0 w 8915642"/>
              <a:gd name="connsiteY0" fmla="*/ 96656 h 6620205"/>
              <a:gd name="connsiteX1" fmla="*/ 6003473 w 8915642"/>
              <a:gd name="connsiteY1" fmla="*/ 0 h 6620205"/>
              <a:gd name="connsiteX2" fmla="*/ 8915642 w 8915642"/>
              <a:gd name="connsiteY2" fmla="*/ 6618551 h 6620205"/>
              <a:gd name="connsiteX3" fmla="*/ 579722 w 8915642"/>
              <a:gd name="connsiteY3" fmla="*/ 6620205 h 6620205"/>
              <a:gd name="connsiteX4" fmla="*/ 0 w 8915642"/>
              <a:gd name="connsiteY4" fmla="*/ 6040483 h 6620205"/>
              <a:gd name="connsiteX5" fmla="*/ 0 w 8915642"/>
              <a:gd name="connsiteY5" fmla="*/ 96656 h 6620205"/>
              <a:gd name="connsiteX0" fmla="*/ 0 w 8915642"/>
              <a:gd name="connsiteY0" fmla="*/ 0 h 6642302"/>
              <a:gd name="connsiteX1" fmla="*/ 6003473 w 8915642"/>
              <a:gd name="connsiteY1" fmla="*/ 22097 h 6642302"/>
              <a:gd name="connsiteX2" fmla="*/ 8915642 w 8915642"/>
              <a:gd name="connsiteY2" fmla="*/ 6640648 h 6642302"/>
              <a:gd name="connsiteX3" fmla="*/ 579722 w 8915642"/>
              <a:gd name="connsiteY3" fmla="*/ 6642302 h 6642302"/>
              <a:gd name="connsiteX4" fmla="*/ 0 w 8915642"/>
              <a:gd name="connsiteY4" fmla="*/ 6062580 h 6642302"/>
              <a:gd name="connsiteX5" fmla="*/ 0 w 8915642"/>
              <a:gd name="connsiteY5" fmla="*/ 0 h 6642302"/>
              <a:gd name="connsiteX0" fmla="*/ 0 w 8915642"/>
              <a:gd name="connsiteY0" fmla="*/ 0 h 6642302"/>
              <a:gd name="connsiteX1" fmla="*/ 5932221 w 8915642"/>
              <a:gd name="connsiteY1" fmla="*/ 152725 h 6642302"/>
              <a:gd name="connsiteX2" fmla="*/ 8915642 w 8915642"/>
              <a:gd name="connsiteY2" fmla="*/ 6640648 h 6642302"/>
              <a:gd name="connsiteX3" fmla="*/ 579722 w 8915642"/>
              <a:gd name="connsiteY3" fmla="*/ 6642302 h 6642302"/>
              <a:gd name="connsiteX4" fmla="*/ 0 w 8915642"/>
              <a:gd name="connsiteY4" fmla="*/ 6062580 h 6642302"/>
              <a:gd name="connsiteX5" fmla="*/ 0 w 8915642"/>
              <a:gd name="connsiteY5" fmla="*/ 0 h 6642302"/>
              <a:gd name="connsiteX0" fmla="*/ 0 w 8915642"/>
              <a:gd name="connsiteY0" fmla="*/ 1654 h 6643956"/>
              <a:gd name="connsiteX1" fmla="*/ 6003473 w 8915642"/>
              <a:gd name="connsiteY1" fmla="*/ 0 h 6643956"/>
              <a:gd name="connsiteX2" fmla="*/ 8915642 w 8915642"/>
              <a:gd name="connsiteY2" fmla="*/ 6642302 h 6643956"/>
              <a:gd name="connsiteX3" fmla="*/ 579722 w 8915642"/>
              <a:gd name="connsiteY3" fmla="*/ 6643956 h 6643956"/>
              <a:gd name="connsiteX4" fmla="*/ 0 w 8915642"/>
              <a:gd name="connsiteY4" fmla="*/ 6064234 h 6643956"/>
              <a:gd name="connsiteX5" fmla="*/ 0 w 8915642"/>
              <a:gd name="connsiteY5" fmla="*/ 1654 h 6643956"/>
              <a:gd name="connsiteX0" fmla="*/ 0 w 6018062"/>
              <a:gd name="connsiteY0" fmla="*/ 1654 h 6654178"/>
              <a:gd name="connsiteX1" fmla="*/ 6003473 w 6018062"/>
              <a:gd name="connsiteY1" fmla="*/ 0 h 6654178"/>
              <a:gd name="connsiteX2" fmla="*/ 6018062 w 6018062"/>
              <a:gd name="connsiteY2" fmla="*/ 6654178 h 6654178"/>
              <a:gd name="connsiteX3" fmla="*/ 579722 w 6018062"/>
              <a:gd name="connsiteY3" fmla="*/ 6643956 h 6654178"/>
              <a:gd name="connsiteX4" fmla="*/ 0 w 6018062"/>
              <a:gd name="connsiteY4" fmla="*/ 6064234 h 6654178"/>
              <a:gd name="connsiteX5" fmla="*/ 0 w 6018062"/>
              <a:gd name="connsiteY5" fmla="*/ 1654 h 6654178"/>
              <a:gd name="connsiteX0" fmla="*/ 0 w 6018062"/>
              <a:gd name="connsiteY0" fmla="*/ 203535 h 6654178"/>
              <a:gd name="connsiteX1" fmla="*/ 6003473 w 6018062"/>
              <a:gd name="connsiteY1" fmla="*/ 0 h 6654178"/>
              <a:gd name="connsiteX2" fmla="*/ 6018062 w 6018062"/>
              <a:gd name="connsiteY2" fmla="*/ 6654178 h 6654178"/>
              <a:gd name="connsiteX3" fmla="*/ 579722 w 6018062"/>
              <a:gd name="connsiteY3" fmla="*/ 6643956 h 6654178"/>
              <a:gd name="connsiteX4" fmla="*/ 0 w 6018062"/>
              <a:gd name="connsiteY4" fmla="*/ 6064234 h 6654178"/>
              <a:gd name="connsiteX5" fmla="*/ 0 w 6018062"/>
              <a:gd name="connsiteY5" fmla="*/ 203535 h 6654178"/>
              <a:gd name="connsiteX0" fmla="*/ 0 w 6018062"/>
              <a:gd name="connsiteY0" fmla="*/ 1655 h 6452298"/>
              <a:gd name="connsiteX1" fmla="*/ 4055920 w 6018062"/>
              <a:gd name="connsiteY1" fmla="*/ 0 h 6452298"/>
              <a:gd name="connsiteX2" fmla="*/ 6018062 w 6018062"/>
              <a:gd name="connsiteY2" fmla="*/ 6452298 h 6452298"/>
              <a:gd name="connsiteX3" fmla="*/ 579722 w 6018062"/>
              <a:gd name="connsiteY3" fmla="*/ 6442076 h 6452298"/>
              <a:gd name="connsiteX4" fmla="*/ 0 w 6018062"/>
              <a:gd name="connsiteY4" fmla="*/ 5862354 h 6452298"/>
              <a:gd name="connsiteX5" fmla="*/ 0 w 6018062"/>
              <a:gd name="connsiteY5" fmla="*/ 1655 h 6452298"/>
              <a:gd name="connsiteX0" fmla="*/ 0 w 4055973"/>
              <a:gd name="connsiteY0" fmla="*/ 1655 h 6452298"/>
              <a:gd name="connsiteX1" fmla="*/ 4055920 w 4055973"/>
              <a:gd name="connsiteY1" fmla="*/ 0 h 6452298"/>
              <a:gd name="connsiteX2" fmla="*/ 4046758 w 4055973"/>
              <a:gd name="connsiteY2" fmla="*/ 6452298 h 6452298"/>
              <a:gd name="connsiteX3" fmla="*/ 579722 w 4055973"/>
              <a:gd name="connsiteY3" fmla="*/ 6442076 h 6452298"/>
              <a:gd name="connsiteX4" fmla="*/ 0 w 4055973"/>
              <a:gd name="connsiteY4" fmla="*/ 5862354 h 6452298"/>
              <a:gd name="connsiteX5" fmla="*/ 0 w 4055973"/>
              <a:gd name="connsiteY5" fmla="*/ 1655 h 6452298"/>
              <a:gd name="connsiteX0" fmla="*/ 0 w 4055973"/>
              <a:gd name="connsiteY0" fmla="*/ 0 h 6652523"/>
              <a:gd name="connsiteX1" fmla="*/ 4055920 w 4055973"/>
              <a:gd name="connsiteY1" fmla="*/ 200225 h 6652523"/>
              <a:gd name="connsiteX2" fmla="*/ 4046758 w 4055973"/>
              <a:gd name="connsiteY2" fmla="*/ 6652523 h 6652523"/>
              <a:gd name="connsiteX3" fmla="*/ 579722 w 4055973"/>
              <a:gd name="connsiteY3" fmla="*/ 6642301 h 6652523"/>
              <a:gd name="connsiteX4" fmla="*/ 0 w 4055973"/>
              <a:gd name="connsiteY4" fmla="*/ 6062579 h 6652523"/>
              <a:gd name="connsiteX5" fmla="*/ 0 w 4055973"/>
              <a:gd name="connsiteY5" fmla="*/ 0 h 6652523"/>
              <a:gd name="connsiteX0" fmla="*/ 0 w 4046758"/>
              <a:gd name="connsiteY0" fmla="*/ 0 h 6652523"/>
              <a:gd name="connsiteX1" fmla="*/ 4044045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1655 h 6654178"/>
              <a:gd name="connsiteX1" fmla="*/ 3082144 w 4046758"/>
              <a:gd name="connsiteY1" fmla="*/ 0 h 6654178"/>
              <a:gd name="connsiteX2" fmla="*/ 4046758 w 4046758"/>
              <a:gd name="connsiteY2" fmla="*/ 6654178 h 6654178"/>
              <a:gd name="connsiteX3" fmla="*/ 579722 w 4046758"/>
              <a:gd name="connsiteY3" fmla="*/ 6643956 h 6654178"/>
              <a:gd name="connsiteX4" fmla="*/ 0 w 4046758"/>
              <a:gd name="connsiteY4" fmla="*/ 6064234 h 6654178"/>
              <a:gd name="connsiteX5" fmla="*/ 0 w 4046758"/>
              <a:gd name="connsiteY5" fmla="*/ 1655 h 6654178"/>
              <a:gd name="connsiteX0" fmla="*/ 0 w 4046758"/>
              <a:gd name="connsiteY0" fmla="*/ 0 h 6652523"/>
              <a:gd name="connsiteX1" fmla="*/ 2975266 w 4046758"/>
              <a:gd name="connsiteY1" fmla="*/ 93348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0 h 6652523"/>
              <a:gd name="connsiteX1" fmla="*/ 3070268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0 h 6652523"/>
              <a:gd name="connsiteX1" fmla="*/ 3082144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3082197"/>
              <a:gd name="connsiteY0" fmla="*/ 0 h 6652523"/>
              <a:gd name="connsiteX1" fmla="*/ 3082144 w 3082197"/>
              <a:gd name="connsiteY1" fmla="*/ 10220 h 6652523"/>
              <a:gd name="connsiteX2" fmla="*/ 3072982 w 3082197"/>
              <a:gd name="connsiteY2" fmla="*/ 6652523 h 6652523"/>
              <a:gd name="connsiteX3" fmla="*/ 579722 w 3082197"/>
              <a:gd name="connsiteY3" fmla="*/ 6642301 h 6652523"/>
              <a:gd name="connsiteX4" fmla="*/ 0 w 3082197"/>
              <a:gd name="connsiteY4" fmla="*/ 6062579 h 6652523"/>
              <a:gd name="connsiteX5" fmla="*/ 0 w 3082197"/>
              <a:gd name="connsiteY5" fmla="*/ 0 h 6652523"/>
              <a:gd name="connsiteX0" fmla="*/ 0 w 3072982"/>
              <a:gd name="connsiteY0" fmla="*/ 0 h 6652523"/>
              <a:gd name="connsiteX1" fmla="*/ 3010892 w 3072982"/>
              <a:gd name="connsiteY1" fmla="*/ 164599 h 6652523"/>
              <a:gd name="connsiteX2" fmla="*/ 3072982 w 3072982"/>
              <a:gd name="connsiteY2" fmla="*/ 6652523 h 6652523"/>
              <a:gd name="connsiteX3" fmla="*/ 579722 w 3072982"/>
              <a:gd name="connsiteY3" fmla="*/ 6642301 h 6652523"/>
              <a:gd name="connsiteX4" fmla="*/ 0 w 3072982"/>
              <a:gd name="connsiteY4" fmla="*/ 6062579 h 6652523"/>
              <a:gd name="connsiteX5" fmla="*/ 0 w 3072982"/>
              <a:gd name="connsiteY5" fmla="*/ 0 h 6652523"/>
              <a:gd name="connsiteX0" fmla="*/ 0 w 3082197"/>
              <a:gd name="connsiteY0" fmla="*/ 1656 h 6654179"/>
              <a:gd name="connsiteX1" fmla="*/ 3082144 w 3082197"/>
              <a:gd name="connsiteY1" fmla="*/ 0 h 6654179"/>
              <a:gd name="connsiteX2" fmla="*/ 3072982 w 3082197"/>
              <a:gd name="connsiteY2" fmla="*/ 6654179 h 6654179"/>
              <a:gd name="connsiteX3" fmla="*/ 579722 w 3082197"/>
              <a:gd name="connsiteY3" fmla="*/ 6643957 h 6654179"/>
              <a:gd name="connsiteX4" fmla="*/ 0 w 3082197"/>
              <a:gd name="connsiteY4" fmla="*/ 6064235 h 6654179"/>
              <a:gd name="connsiteX5" fmla="*/ 0 w 3082197"/>
              <a:gd name="connsiteY5" fmla="*/ 1656 h 6654179"/>
              <a:gd name="connsiteX0" fmla="*/ 0 w 3082197"/>
              <a:gd name="connsiteY0" fmla="*/ 1316107 h 6654179"/>
              <a:gd name="connsiteX1" fmla="*/ 3082144 w 3082197"/>
              <a:gd name="connsiteY1" fmla="*/ 0 h 6654179"/>
              <a:gd name="connsiteX2" fmla="*/ 3072982 w 3082197"/>
              <a:gd name="connsiteY2" fmla="*/ 6654179 h 6654179"/>
              <a:gd name="connsiteX3" fmla="*/ 579722 w 3082197"/>
              <a:gd name="connsiteY3" fmla="*/ 6643957 h 6654179"/>
              <a:gd name="connsiteX4" fmla="*/ 0 w 3082197"/>
              <a:gd name="connsiteY4" fmla="*/ 6064235 h 6654179"/>
              <a:gd name="connsiteX5" fmla="*/ 0 w 3082197"/>
              <a:gd name="connsiteY5" fmla="*/ 1316107 h 6654179"/>
              <a:gd name="connsiteX0" fmla="*/ 0 w 3082197"/>
              <a:gd name="connsiteY0" fmla="*/ 1657 h 5339729"/>
              <a:gd name="connsiteX1" fmla="*/ 3082144 w 3082197"/>
              <a:gd name="connsiteY1" fmla="*/ 0 h 5339729"/>
              <a:gd name="connsiteX2" fmla="*/ 3072982 w 3082197"/>
              <a:gd name="connsiteY2" fmla="*/ 5339729 h 5339729"/>
              <a:gd name="connsiteX3" fmla="*/ 579722 w 3082197"/>
              <a:gd name="connsiteY3" fmla="*/ 5329507 h 5339729"/>
              <a:gd name="connsiteX4" fmla="*/ 0 w 3082197"/>
              <a:gd name="connsiteY4" fmla="*/ 4749785 h 5339729"/>
              <a:gd name="connsiteX5" fmla="*/ 0 w 3082197"/>
              <a:gd name="connsiteY5" fmla="*/ 1657 h 5339729"/>
              <a:gd name="connsiteX0" fmla="*/ 0 w 3082197"/>
              <a:gd name="connsiteY0" fmla="*/ 2202416 h 5339729"/>
              <a:gd name="connsiteX1" fmla="*/ 3082144 w 3082197"/>
              <a:gd name="connsiteY1" fmla="*/ 0 h 5339729"/>
              <a:gd name="connsiteX2" fmla="*/ 3072982 w 3082197"/>
              <a:gd name="connsiteY2" fmla="*/ 5339729 h 5339729"/>
              <a:gd name="connsiteX3" fmla="*/ 579722 w 3082197"/>
              <a:gd name="connsiteY3" fmla="*/ 5329507 h 5339729"/>
              <a:gd name="connsiteX4" fmla="*/ 0 w 3082197"/>
              <a:gd name="connsiteY4" fmla="*/ 4749785 h 5339729"/>
              <a:gd name="connsiteX5" fmla="*/ 0 w 3082197"/>
              <a:gd name="connsiteY5" fmla="*/ 2202416 h 5339729"/>
              <a:gd name="connsiteX0" fmla="*/ 0 w 3082197"/>
              <a:gd name="connsiteY0" fmla="*/ 1656 h 3138969"/>
              <a:gd name="connsiteX1" fmla="*/ 3082144 w 3082197"/>
              <a:gd name="connsiteY1" fmla="*/ 0 h 3138969"/>
              <a:gd name="connsiteX2" fmla="*/ 3072982 w 3082197"/>
              <a:gd name="connsiteY2" fmla="*/ 3138969 h 3138969"/>
              <a:gd name="connsiteX3" fmla="*/ 579722 w 3082197"/>
              <a:gd name="connsiteY3" fmla="*/ 3128747 h 3138969"/>
              <a:gd name="connsiteX4" fmla="*/ 0 w 3082197"/>
              <a:gd name="connsiteY4" fmla="*/ 2549025 h 3138969"/>
              <a:gd name="connsiteX5" fmla="*/ 0 w 3082197"/>
              <a:gd name="connsiteY5" fmla="*/ 1656 h 3138969"/>
              <a:gd name="connsiteX0" fmla="*/ 0 w 3082145"/>
              <a:gd name="connsiteY0" fmla="*/ 1656 h 3150544"/>
              <a:gd name="connsiteX1" fmla="*/ 3082144 w 3082145"/>
              <a:gd name="connsiteY1" fmla="*/ 0 h 3150544"/>
              <a:gd name="connsiteX2" fmla="*/ 2772041 w 3082145"/>
              <a:gd name="connsiteY2" fmla="*/ 3150544 h 3150544"/>
              <a:gd name="connsiteX3" fmla="*/ 579722 w 3082145"/>
              <a:gd name="connsiteY3" fmla="*/ 3128747 h 3150544"/>
              <a:gd name="connsiteX4" fmla="*/ 0 w 3082145"/>
              <a:gd name="connsiteY4" fmla="*/ 2549025 h 3150544"/>
              <a:gd name="connsiteX5" fmla="*/ 0 w 3082145"/>
              <a:gd name="connsiteY5" fmla="*/ 1656 h 3150544"/>
              <a:gd name="connsiteX0" fmla="*/ 0 w 2772041"/>
              <a:gd name="connsiteY0" fmla="*/ 1656 h 3150544"/>
              <a:gd name="connsiteX1" fmla="*/ 2769627 w 2772041"/>
              <a:gd name="connsiteY1" fmla="*/ 0 h 3150544"/>
              <a:gd name="connsiteX2" fmla="*/ 2772041 w 2772041"/>
              <a:gd name="connsiteY2" fmla="*/ 3150544 h 3150544"/>
              <a:gd name="connsiteX3" fmla="*/ 579722 w 2772041"/>
              <a:gd name="connsiteY3" fmla="*/ 3128747 h 3150544"/>
              <a:gd name="connsiteX4" fmla="*/ 0 w 2772041"/>
              <a:gd name="connsiteY4" fmla="*/ 2549025 h 3150544"/>
              <a:gd name="connsiteX5" fmla="*/ 0 w 2772041"/>
              <a:gd name="connsiteY5" fmla="*/ 1656 h 3150544"/>
              <a:gd name="connsiteX0" fmla="*/ 0 w 2772041"/>
              <a:gd name="connsiteY0" fmla="*/ 1656 h 3138969"/>
              <a:gd name="connsiteX1" fmla="*/ 2769627 w 2772041"/>
              <a:gd name="connsiteY1" fmla="*/ 0 h 3138969"/>
              <a:gd name="connsiteX2" fmla="*/ 2772041 w 2772041"/>
              <a:gd name="connsiteY2" fmla="*/ 3138969 h 3138969"/>
              <a:gd name="connsiteX3" fmla="*/ 579722 w 2772041"/>
              <a:gd name="connsiteY3" fmla="*/ 3128747 h 3138969"/>
              <a:gd name="connsiteX4" fmla="*/ 0 w 2772041"/>
              <a:gd name="connsiteY4" fmla="*/ 2549025 h 3138969"/>
              <a:gd name="connsiteX5" fmla="*/ 0 w 2772041"/>
              <a:gd name="connsiteY5" fmla="*/ 1656 h 3138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2041" h="3138969">
                <a:moveTo>
                  <a:pt x="0" y="1656"/>
                </a:moveTo>
                <a:lnTo>
                  <a:pt x="2769627" y="0"/>
                </a:lnTo>
                <a:cubicBezTo>
                  <a:pt x="2770532" y="2146807"/>
                  <a:pt x="2771136" y="992162"/>
                  <a:pt x="2772041" y="3138969"/>
                </a:cubicBezTo>
                <a:lnTo>
                  <a:pt x="579722" y="3128747"/>
                </a:lnTo>
                <a:cubicBezTo>
                  <a:pt x="259550" y="3128747"/>
                  <a:pt x="0" y="2869197"/>
                  <a:pt x="0" y="2549025"/>
                </a:cubicBezTo>
                <a:lnTo>
                  <a:pt x="0" y="1656"/>
                </a:lnTo>
                <a:close/>
              </a:path>
            </a:pathLst>
          </a:custGeom>
          <a:noFill/>
        </p:spPr>
        <p:txBody>
          <a:bodyPr>
            <a:normAutofit/>
          </a:bodyPr>
          <a:lstStyle>
            <a:lvl1pPr marL="0" indent="0">
              <a:buNone/>
              <a:defRPr sz="1400">
                <a:solidFill>
                  <a:schemeClr val="tx1"/>
                </a:solidFill>
              </a:defRPr>
            </a:lvl1pPr>
          </a:lstStyle>
          <a:p>
            <a:r>
              <a:rPr lang="en-JP"/>
              <a:t>Insert Picture/Text Block</a:t>
            </a:r>
          </a:p>
        </p:txBody>
      </p:sp>
      <p:sp>
        <p:nvSpPr>
          <p:cNvPr id="25" name="Picture Placeholder 9">
            <a:extLst>
              <a:ext uri="{FF2B5EF4-FFF2-40B4-BE49-F238E27FC236}">
                <a16:creationId xmlns:a16="http://schemas.microsoft.com/office/drawing/2014/main" id="{E01CF285-75D7-154A-ACF2-9393FB0B38D0}"/>
              </a:ext>
            </a:extLst>
          </p:cNvPr>
          <p:cNvSpPr>
            <a:spLocks noGrp="1"/>
          </p:cNvSpPr>
          <p:nvPr>
            <p:ph type="pic" sz="quarter" idx="20" hasCustomPrompt="1"/>
          </p:nvPr>
        </p:nvSpPr>
        <p:spPr>
          <a:xfrm>
            <a:off x="6177615" y="3076286"/>
            <a:ext cx="2772041" cy="3138969"/>
          </a:xfrm>
          <a:custGeom>
            <a:avLst/>
            <a:gdLst>
              <a:gd name="connsiteX0" fmla="*/ 0 w 10888662"/>
              <a:gd name="connsiteY0" fmla="*/ 579722 h 6442075"/>
              <a:gd name="connsiteX1" fmla="*/ 579722 w 10888662"/>
              <a:gd name="connsiteY1" fmla="*/ 0 h 6442075"/>
              <a:gd name="connsiteX2" fmla="*/ 10308940 w 10888662"/>
              <a:gd name="connsiteY2" fmla="*/ 0 h 6442075"/>
              <a:gd name="connsiteX3" fmla="*/ 10888662 w 10888662"/>
              <a:gd name="connsiteY3" fmla="*/ 579722 h 6442075"/>
              <a:gd name="connsiteX4" fmla="*/ 10888662 w 10888662"/>
              <a:gd name="connsiteY4" fmla="*/ 5862353 h 6442075"/>
              <a:gd name="connsiteX5" fmla="*/ 10308940 w 10888662"/>
              <a:gd name="connsiteY5" fmla="*/ 6442075 h 6442075"/>
              <a:gd name="connsiteX6" fmla="*/ 579722 w 10888662"/>
              <a:gd name="connsiteY6" fmla="*/ 6442075 h 6442075"/>
              <a:gd name="connsiteX7" fmla="*/ 0 w 10888662"/>
              <a:gd name="connsiteY7" fmla="*/ 5862353 h 6442075"/>
              <a:gd name="connsiteX8" fmla="*/ 0 w 10888662"/>
              <a:gd name="connsiteY8" fmla="*/ 579722 h 6442075"/>
              <a:gd name="connsiteX0" fmla="*/ 0 w 10888662"/>
              <a:gd name="connsiteY0" fmla="*/ 659657 h 6522010"/>
              <a:gd name="connsiteX1" fmla="*/ 10308940 w 10888662"/>
              <a:gd name="connsiteY1" fmla="*/ 79935 h 6522010"/>
              <a:gd name="connsiteX2" fmla="*/ 10888662 w 10888662"/>
              <a:gd name="connsiteY2" fmla="*/ 659657 h 6522010"/>
              <a:gd name="connsiteX3" fmla="*/ 10888662 w 10888662"/>
              <a:gd name="connsiteY3" fmla="*/ 5942288 h 6522010"/>
              <a:gd name="connsiteX4" fmla="*/ 10308940 w 10888662"/>
              <a:gd name="connsiteY4" fmla="*/ 6522010 h 6522010"/>
              <a:gd name="connsiteX5" fmla="*/ 579722 w 10888662"/>
              <a:gd name="connsiteY5" fmla="*/ 6522010 h 6522010"/>
              <a:gd name="connsiteX6" fmla="*/ 0 w 10888662"/>
              <a:gd name="connsiteY6" fmla="*/ 5942288 h 6522010"/>
              <a:gd name="connsiteX7" fmla="*/ 0 w 10888662"/>
              <a:gd name="connsiteY7" fmla="*/ 659657 h 6522010"/>
              <a:gd name="connsiteX0" fmla="*/ 0 w 10888662"/>
              <a:gd name="connsiteY0" fmla="*/ 579722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579722 h 6442075"/>
              <a:gd name="connsiteX0" fmla="*/ 0 w 10888662"/>
              <a:gd name="connsiteY0" fmla="*/ 129257 h 6569679"/>
              <a:gd name="connsiteX1" fmla="*/ 10308940 w 10888662"/>
              <a:gd name="connsiteY1" fmla="*/ 127604 h 6569679"/>
              <a:gd name="connsiteX2" fmla="*/ 10888662 w 10888662"/>
              <a:gd name="connsiteY2" fmla="*/ 707326 h 6569679"/>
              <a:gd name="connsiteX3" fmla="*/ 10888662 w 10888662"/>
              <a:gd name="connsiteY3" fmla="*/ 5989957 h 6569679"/>
              <a:gd name="connsiteX4" fmla="*/ 10308940 w 10888662"/>
              <a:gd name="connsiteY4" fmla="*/ 6569679 h 6569679"/>
              <a:gd name="connsiteX5" fmla="*/ 579722 w 10888662"/>
              <a:gd name="connsiteY5" fmla="*/ 6569679 h 6569679"/>
              <a:gd name="connsiteX6" fmla="*/ 0 w 10888662"/>
              <a:gd name="connsiteY6" fmla="*/ 5989957 h 6569679"/>
              <a:gd name="connsiteX7" fmla="*/ 0 w 10888662"/>
              <a:gd name="connsiteY7" fmla="*/ 129257 h 6569679"/>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9657299 w 10888662"/>
              <a:gd name="connsiteY4" fmla="*/ 55276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522010"/>
              <a:gd name="connsiteX1" fmla="*/ 10308940 w 10888662"/>
              <a:gd name="connsiteY1" fmla="*/ 0 h 6522010"/>
              <a:gd name="connsiteX2" fmla="*/ 10888662 w 10888662"/>
              <a:gd name="connsiteY2" fmla="*/ 579722 h 6522010"/>
              <a:gd name="connsiteX3" fmla="*/ 10888662 w 10888662"/>
              <a:gd name="connsiteY3" fmla="*/ 5862353 h 6522010"/>
              <a:gd name="connsiteX4" fmla="*/ 579722 w 10888662"/>
              <a:gd name="connsiteY4" fmla="*/ 6442075 h 6522010"/>
              <a:gd name="connsiteX5" fmla="*/ 0 w 10888662"/>
              <a:gd name="connsiteY5" fmla="*/ 5862353 h 6522010"/>
              <a:gd name="connsiteX6" fmla="*/ 0 w 10888662"/>
              <a:gd name="connsiteY6" fmla="*/ 1653 h 6522010"/>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579722 w 10888662"/>
              <a:gd name="connsiteY4" fmla="*/ 6442075 h 6442075"/>
              <a:gd name="connsiteX5" fmla="*/ 0 w 10888662"/>
              <a:gd name="connsiteY5" fmla="*/ 5862353 h 6442075"/>
              <a:gd name="connsiteX6" fmla="*/ 0 w 10888662"/>
              <a:gd name="connsiteY6" fmla="*/ 1653 h 6442075"/>
              <a:gd name="connsiteX0" fmla="*/ 0 w 10888662"/>
              <a:gd name="connsiteY0" fmla="*/ 1653 h 6585432"/>
              <a:gd name="connsiteX1" fmla="*/ 10308940 w 10888662"/>
              <a:gd name="connsiteY1" fmla="*/ 0 h 6585432"/>
              <a:gd name="connsiteX2" fmla="*/ 10888662 w 10888662"/>
              <a:gd name="connsiteY2" fmla="*/ 579722 h 6585432"/>
              <a:gd name="connsiteX3" fmla="*/ 10878151 w 10888662"/>
              <a:gd name="connsiteY3" fmla="*/ 6461442 h 6585432"/>
              <a:gd name="connsiteX4" fmla="*/ 579722 w 10888662"/>
              <a:gd name="connsiteY4" fmla="*/ 6442075 h 6585432"/>
              <a:gd name="connsiteX5" fmla="*/ 0 w 10888662"/>
              <a:gd name="connsiteY5" fmla="*/ 5862353 h 6585432"/>
              <a:gd name="connsiteX6" fmla="*/ 0 w 10888662"/>
              <a:gd name="connsiteY6" fmla="*/ 1653 h 6585432"/>
              <a:gd name="connsiteX0" fmla="*/ 0 w 10888662"/>
              <a:gd name="connsiteY0" fmla="*/ 1653 h 6577502"/>
              <a:gd name="connsiteX1" fmla="*/ 10308940 w 10888662"/>
              <a:gd name="connsiteY1" fmla="*/ 0 h 6577502"/>
              <a:gd name="connsiteX2" fmla="*/ 10888662 w 10888662"/>
              <a:gd name="connsiteY2" fmla="*/ 579722 h 6577502"/>
              <a:gd name="connsiteX3" fmla="*/ 10878151 w 10888662"/>
              <a:gd name="connsiteY3" fmla="*/ 6450932 h 6577502"/>
              <a:gd name="connsiteX4" fmla="*/ 579722 w 10888662"/>
              <a:gd name="connsiteY4" fmla="*/ 6442075 h 6577502"/>
              <a:gd name="connsiteX5" fmla="*/ 0 w 10888662"/>
              <a:gd name="connsiteY5" fmla="*/ 5862353 h 6577502"/>
              <a:gd name="connsiteX6" fmla="*/ 0 w 10888662"/>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0888662"/>
              <a:gd name="connsiteY0" fmla="*/ 1653 h 6450932"/>
              <a:gd name="connsiteX1" fmla="*/ 10308940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0999550"/>
              <a:gd name="connsiteY0" fmla="*/ 1653 h 6450932"/>
              <a:gd name="connsiteX1" fmla="*/ 10844968 w 10999550"/>
              <a:gd name="connsiteY1" fmla="*/ 0 h 6450932"/>
              <a:gd name="connsiteX2" fmla="*/ 10888662 w 10999550"/>
              <a:gd name="connsiteY2" fmla="*/ 579722 h 6450932"/>
              <a:gd name="connsiteX3" fmla="*/ 10878151 w 10999550"/>
              <a:gd name="connsiteY3" fmla="*/ 6450932 h 6450932"/>
              <a:gd name="connsiteX4" fmla="*/ 579722 w 10999550"/>
              <a:gd name="connsiteY4" fmla="*/ 6442075 h 6450932"/>
              <a:gd name="connsiteX5" fmla="*/ 0 w 10999550"/>
              <a:gd name="connsiteY5" fmla="*/ 5862353 h 6450932"/>
              <a:gd name="connsiteX6" fmla="*/ 0 w 10999550"/>
              <a:gd name="connsiteY6" fmla="*/ 1653 h 6450932"/>
              <a:gd name="connsiteX0" fmla="*/ 0 w 11022020"/>
              <a:gd name="connsiteY0" fmla="*/ 1653 h 6450932"/>
              <a:gd name="connsiteX1" fmla="*/ 10876499 w 11022020"/>
              <a:gd name="connsiteY1" fmla="*/ 0 h 6450932"/>
              <a:gd name="connsiteX2" fmla="*/ 10888662 w 11022020"/>
              <a:gd name="connsiteY2" fmla="*/ 579722 h 6450932"/>
              <a:gd name="connsiteX3" fmla="*/ 10878151 w 11022020"/>
              <a:gd name="connsiteY3" fmla="*/ 6450932 h 6450932"/>
              <a:gd name="connsiteX4" fmla="*/ 579722 w 11022020"/>
              <a:gd name="connsiteY4" fmla="*/ 6442075 h 6450932"/>
              <a:gd name="connsiteX5" fmla="*/ 0 w 11022020"/>
              <a:gd name="connsiteY5" fmla="*/ 5862353 h 6450932"/>
              <a:gd name="connsiteX6" fmla="*/ 0 w 11022020"/>
              <a:gd name="connsiteY6" fmla="*/ 1653 h 6450932"/>
              <a:gd name="connsiteX0" fmla="*/ 0 w 10888662"/>
              <a:gd name="connsiteY0" fmla="*/ 1653 h 6450932"/>
              <a:gd name="connsiteX1" fmla="*/ 10876499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2200990"/>
              <a:gd name="connsiteY0" fmla="*/ 1653 h 6450932"/>
              <a:gd name="connsiteX1" fmla="*/ 10876499 w 12200990"/>
              <a:gd name="connsiteY1" fmla="*/ 0 h 6450932"/>
              <a:gd name="connsiteX2" fmla="*/ 10878151 w 12200990"/>
              <a:gd name="connsiteY2" fmla="*/ 6450932 h 6450932"/>
              <a:gd name="connsiteX3" fmla="*/ 579722 w 12200990"/>
              <a:gd name="connsiteY3" fmla="*/ 6442075 h 6450932"/>
              <a:gd name="connsiteX4" fmla="*/ 0 w 12200990"/>
              <a:gd name="connsiteY4" fmla="*/ 5862353 h 6450932"/>
              <a:gd name="connsiteX5" fmla="*/ 0 w 12200990"/>
              <a:gd name="connsiteY5" fmla="*/ 1653 h 6450932"/>
              <a:gd name="connsiteX0" fmla="*/ 0 w 11640630"/>
              <a:gd name="connsiteY0" fmla="*/ 1653 h 6450932"/>
              <a:gd name="connsiteX1" fmla="*/ 10876499 w 11640630"/>
              <a:gd name="connsiteY1" fmla="*/ 0 h 6450932"/>
              <a:gd name="connsiteX2" fmla="*/ 10878151 w 11640630"/>
              <a:gd name="connsiteY2" fmla="*/ 6450932 h 6450932"/>
              <a:gd name="connsiteX3" fmla="*/ 579722 w 11640630"/>
              <a:gd name="connsiteY3" fmla="*/ 6442075 h 6450932"/>
              <a:gd name="connsiteX4" fmla="*/ 0 w 11640630"/>
              <a:gd name="connsiteY4" fmla="*/ 5862353 h 6450932"/>
              <a:gd name="connsiteX5" fmla="*/ 0 w 11640630"/>
              <a:gd name="connsiteY5" fmla="*/ 1653 h 6450932"/>
              <a:gd name="connsiteX0" fmla="*/ 0 w 10878151"/>
              <a:gd name="connsiteY0" fmla="*/ 1653 h 6450932"/>
              <a:gd name="connsiteX1" fmla="*/ 10876499 w 10878151"/>
              <a:gd name="connsiteY1" fmla="*/ 0 h 6450932"/>
              <a:gd name="connsiteX2" fmla="*/ 10878151 w 10878151"/>
              <a:gd name="connsiteY2" fmla="*/ 6450932 h 6450932"/>
              <a:gd name="connsiteX3" fmla="*/ 579722 w 10878151"/>
              <a:gd name="connsiteY3" fmla="*/ 6442075 h 6450932"/>
              <a:gd name="connsiteX4" fmla="*/ 0 w 10878151"/>
              <a:gd name="connsiteY4" fmla="*/ 5862353 h 6450932"/>
              <a:gd name="connsiteX5" fmla="*/ 0 w 10878151"/>
              <a:gd name="connsiteY5" fmla="*/ 1653 h 6450932"/>
              <a:gd name="connsiteX0" fmla="*/ 0 w 11843451"/>
              <a:gd name="connsiteY0" fmla="*/ 1653 h 6450932"/>
              <a:gd name="connsiteX1" fmla="*/ 11843451 w 11843451"/>
              <a:gd name="connsiteY1" fmla="*/ 0 h 6450932"/>
              <a:gd name="connsiteX2" fmla="*/ 10878151 w 11843451"/>
              <a:gd name="connsiteY2" fmla="*/ 6450932 h 6450932"/>
              <a:gd name="connsiteX3" fmla="*/ 579722 w 11843451"/>
              <a:gd name="connsiteY3" fmla="*/ 6442075 h 6450932"/>
              <a:gd name="connsiteX4" fmla="*/ 0 w 11843451"/>
              <a:gd name="connsiteY4" fmla="*/ 5862353 h 6450932"/>
              <a:gd name="connsiteX5" fmla="*/ 0 w 11843451"/>
              <a:gd name="connsiteY5" fmla="*/ 1653 h 6450932"/>
              <a:gd name="connsiteX0" fmla="*/ 0 w 11855613"/>
              <a:gd name="connsiteY0" fmla="*/ 1653 h 6450932"/>
              <a:gd name="connsiteX1" fmla="*/ 11843451 w 11855613"/>
              <a:gd name="connsiteY1" fmla="*/ 0 h 6450932"/>
              <a:gd name="connsiteX2" fmla="*/ 11855613 w 11855613"/>
              <a:gd name="connsiteY2" fmla="*/ 6450932 h 6450932"/>
              <a:gd name="connsiteX3" fmla="*/ 579722 w 11855613"/>
              <a:gd name="connsiteY3" fmla="*/ 6442075 h 6450932"/>
              <a:gd name="connsiteX4" fmla="*/ 0 w 11855613"/>
              <a:gd name="connsiteY4" fmla="*/ 5862353 h 6450932"/>
              <a:gd name="connsiteX5" fmla="*/ 0 w 11855613"/>
              <a:gd name="connsiteY5" fmla="*/ 1653 h 6450932"/>
              <a:gd name="connsiteX0" fmla="*/ 0 w 11864472"/>
              <a:gd name="connsiteY0" fmla="*/ 1653 h 6450932"/>
              <a:gd name="connsiteX1" fmla="*/ 11864472 w 11864472"/>
              <a:gd name="connsiteY1" fmla="*/ 0 h 6450932"/>
              <a:gd name="connsiteX2" fmla="*/ 11855613 w 11864472"/>
              <a:gd name="connsiteY2" fmla="*/ 6450932 h 6450932"/>
              <a:gd name="connsiteX3" fmla="*/ 579722 w 11864472"/>
              <a:gd name="connsiteY3" fmla="*/ 6442075 h 6450932"/>
              <a:gd name="connsiteX4" fmla="*/ 0 w 11864472"/>
              <a:gd name="connsiteY4" fmla="*/ 5862353 h 6450932"/>
              <a:gd name="connsiteX5" fmla="*/ 0 w 11864472"/>
              <a:gd name="connsiteY5" fmla="*/ 1653 h 6450932"/>
              <a:gd name="connsiteX0" fmla="*/ 0 w 11864472"/>
              <a:gd name="connsiteY0" fmla="*/ 1653 h 6442075"/>
              <a:gd name="connsiteX1" fmla="*/ 11864472 w 11864472"/>
              <a:gd name="connsiteY1" fmla="*/ 0 h 6442075"/>
              <a:gd name="connsiteX2" fmla="*/ 11855613 w 11864472"/>
              <a:gd name="connsiteY2" fmla="*/ 6440421 h 6442075"/>
              <a:gd name="connsiteX3" fmla="*/ 579722 w 11864472"/>
              <a:gd name="connsiteY3" fmla="*/ 6442075 h 6442075"/>
              <a:gd name="connsiteX4" fmla="*/ 0 w 11864472"/>
              <a:gd name="connsiteY4" fmla="*/ 5862353 h 6442075"/>
              <a:gd name="connsiteX5" fmla="*/ 0 w 11864472"/>
              <a:gd name="connsiteY5" fmla="*/ 1653 h 6442075"/>
              <a:gd name="connsiteX0" fmla="*/ 0 w 11855613"/>
              <a:gd name="connsiteY0" fmla="*/ 1653 h 6442075"/>
              <a:gd name="connsiteX1" fmla="*/ 8912928 w 11855613"/>
              <a:gd name="connsiteY1" fmla="*/ 0 h 6442075"/>
              <a:gd name="connsiteX2" fmla="*/ 11855613 w 11855613"/>
              <a:gd name="connsiteY2" fmla="*/ 6440421 h 6442075"/>
              <a:gd name="connsiteX3" fmla="*/ 579722 w 11855613"/>
              <a:gd name="connsiteY3" fmla="*/ 6442075 h 6442075"/>
              <a:gd name="connsiteX4" fmla="*/ 0 w 11855613"/>
              <a:gd name="connsiteY4" fmla="*/ 5862353 h 6442075"/>
              <a:gd name="connsiteX5" fmla="*/ 0 w 11855613"/>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74032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36077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1615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15642"/>
              <a:gd name="connsiteY0" fmla="*/ 1653 h 6442075"/>
              <a:gd name="connsiteX1" fmla="*/ 8912928 w 8915642"/>
              <a:gd name="connsiteY1" fmla="*/ 0 h 6442075"/>
              <a:gd name="connsiteX2" fmla="*/ 8915642 w 8915642"/>
              <a:gd name="connsiteY2" fmla="*/ 6440421 h 6442075"/>
              <a:gd name="connsiteX3" fmla="*/ 579722 w 8915642"/>
              <a:gd name="connsiteY3" fmla="*/ 6442075 h 6442075"/>
              <a:gd name="connsiteX4" fmla="*/ 0 w 8915642"/>
              <a:gd name="connsiteY4" fmla="*/ 5862353 h 6442075"/>
              <a:gd name="connsiteX5" fmla="*/ 0 w 8915642"/>
              <a:gd name="connsiteY5" fmla="*/ 1653 h 6442075"/>
              <a:gd name="connsiteX0" fmla="*/ 0 w 8915642"/>
              <a:gd name="connsiteY0" fmla="*/ 1 h 6618553"/>
              <a:gd name="connsiteX1" fmla="*/ 8912928 w 8915642"/>
              <a:gd name="connsiteY1" fmla="*/ 176478 h 6618553"/>
              <a:gd name="connsiteX2" fmla="*/ 8915642 w 8915642"/>
              <a:gd name="connsiteY2" fmla="*/ 6616899 h 6618553"/>
              <a:gd name="connsiteX3" fmla="*/ 579722 w 8915642"/>
              <a:gd name="connsiteY3" fmla="*/ 6618553 h 6618553"/>
              <a:gd name="connsiteX4" fmla="*/ 0 w 8915642"/>
              <a:gd name="connsiteY4" fmla="*/ 6038831 h 6618553"/>
              <a:gd name="connsiteX5" fmla="*/ 0 w 8915642"/>
              <a:gd name="connsiteY5" fmla="*/ 1 h 6618553"/>
              <a:gd name="connsiteX0" fmla="*/ 0 w 8915642"/>
              <a:gd name="connsiteY0" fmla="*/ 25404 h 6643956"/>
              <a:gd name="connsiteX1" fmla="*/ 6015348 w 8915642"/>
              <a:gd name="connsiteY1" fmla="*/ 0 h 6643956"/>
              <a:gd name="connsiteX2" fmla="*/ 8915642 w 8915642"/>
              <a:gd name="connsiteY2" fmla="*/ 6642302 h 6643956"/>
              <a:gd name="connsiteX3" fmla="*/ 579722 w 8915642"/>
              <a:gd name="connsiteY3" fmla="*/ 6643956 h 6643956"/>
              <a:gd name="connsiteX4" fmla="*/ 0 w 8915642"/>
              <a:gd name="connsiteY4" fmla="*/ 6064234 h 6643956"/>
              <a:gd name="connsiteX5" fmla="*/ 0 w 8915642"/>
              <a:gd name="connsiteY5" fmla="*/ 25404 h 6643956"/>
              <a:gd name="connsiteX0" fmla="*/ 0 w 8915642"/>
              <a:gd name="connsiteY0" fmla="*/ 1653 h 6620205"/>
              <a:gd name="connsiteX1" fmla="*/ 6003473 w 8915642"/>
              <a:gd name="connsiteY1" fmla="*/ 0 h 6620205"/>
              <a:gd name="connsiteX2" fmla="*/ 8915642 w 8915642"/>
              <a:gd name="connsiteY2" fmla="*/ 6618551 h 6620205"/>
              <a:gd name="connsiteX3" fmla="*/ 579722 w 8915642"/>
              <a:gd name="connsiteY3" fmla="*/ 6620205 h 6620205"/>
              <a:gd name="connsiteX4" fmla="*/ 0 w 8915642"/>
              <a:gd name="connsiteY4" fmla="*/ 6040483 h 6620205"/>
              <a:gd name="connsiteX5" fmla="*/ 0 w 8915642"/>
              <a:gd name="connsiteY5" fmla="*/ 1653 h 6620205"/>
              <a:gd name="connsiteX0" fmla="*/ 0 w 8915642"/>
              <a:gd name="connsiteY0" fmla="*/ 96656 h 6620205"/>
              <a:gd name="connsiteX1" fmla="*/ 6003473 w 8915642"/>
              <a:gd name="connsiteY1" fmla="*/ 0 h 6620205"/>
              <a:gd name="connsiteX2" fmla="*/ 8915642 w 8915642"/>
              <a:gd name="connsiteY2" fmla="*/ 6618551 h 6620205"/>
              <a:gd name="connsiteX3" fmla="*/ 579722 w 8915642"/>
              <a:gd name="connsiteY3" fmla="*/ 6620205 h 6620205"/>
              <a:gd name="connsiteX4" fmla="*/ 0 w 8915642"/>
              <a:gd name="connsiteY4" fmla="*/ 6040483 h 6620205"/>
              <a:gd name="connsiteX5" fmla="*/ 0 w 8915642"/>
              <a:gd name="connsiteY5" fmla="*/ 96656 h 6620205"/>
              <a:gd name="connsiteX0" fmla="*/ 0 w 8915642"/>
              <a:gd name="connsiteY0" fmla="*/ 0 h 6642302"/>
              <a:gd name="connsiteX1" fmla="*/ 6003473 w 8915642"/>
              <a:gd name="connsiteY1" fmla="*/ 22097 h 6642302"/>
              <a:gd name="connsiteX2" fmla="*/ 8915642 w 8915642"/>
              <a:gd name="connsiteY2" fmla="*/ 6640648 h 6642302"/>
              <a:gd name="connsiteX3" fmla="*/ 579722 w 8915642"/>
              <a:gd name="connsiteY3" fmla="*/ 6642302 h 6642302"/>
              <a:gd name="connsiteX4" fmla="*/ 0 w 8915642"/>
              <a:gd name="connsiteY4" fmla="*/ 6062580 h 6642302"/>
              <a:gd name="connsiteX5" fmla="*/ 0 w 8915642"/>
              <a:gd name="connsiteY5" fmla="*/ 0 h 6642302"/>
              <a:gd name="connsiteX0" fmla="*/ 0 w 8915642"/>
              <a:gd name="connsiteY0" fmla="*/ 0 h 6642302"/>
              <a:gd name="connsiteX1" fmla="*/ 5932221 w 8915642"/>
              <a:gd name="connsiteY1" fmla="*/ 152725 h 6642302"/>
              <a:gd name="connsiteX2" fmla="*/ 8915642 w 8915642"/>
              <a:gd name="connsiteY2" fmla="*/ 6640648 h 6642302"/>
              <a:gd name="connsiteX3" fmla="*/ 579722 w 8915642"/>
              <a:gd name="connsiteY3" fmla="*/ 6642302 h 6642302"/>
              <a:gd name="connsiteX4" fmla="*/ 0 w 8915642"/>
              <a:gd name="connsiteY4" fmla="*/ 6062580 h 6642302"/>
              <a:gd name="connsiteX5" fmla="*/ 0 w 8915642"/>
              <a:gd name="connsiteY5" fmla="*/ 0 h 6642302"/>
              <a:gd name="connsiteX0" fmla="*/ 0 w 8915642"/>
              <a:gd name="connsiteY0" fmla="*/ 1654 h 6643956"/>
              <a:gd name="connsiteX1" fmla="*/ 6003473 w 8915642"/>
              <a:gd name="connsiteY1" fmla="*/ 0 h 6643956"/>
              <a:gd name="connsiteX2" fmla="*/ 8915642 w 8915642"/>
              <a:gd name="connsiteY2" fmla="*/ 6642302 h 6643956"/>
              <a:gd name="connsiteX3" fmla="*/ 579722 w 8915642"/>
              <a:gd name="connsiteY3" fmla="*/ 6643956 h 6643956"/>
              <a:gd name="connsiteX4" fmla="*/ 0 w 8915642"/>
              <a:gd name="connsiteY4" fmla="*/ 6064234 h 6643956"/>
              <a:gd name="connsiteX5" fmla="*/ 0 w 8915642"/>
              <a:gd name="connsiteY5" fmla="*/ 1654 h 6643956"/>
              <a:gd name="connsiteX0" fmla="*/ 0 w 6018062"/>
              <a:gd name="connsiteY0" fmla="*/ 1654 h 6654178"/>
              <a:gd name="connsiteX1" fmla="*/ 6003473 w 6018062"/>
              <a:gd name="connsiteY1" fmla="*/ 0 h 6654178"/>
              <a:gd name="connsiteX2" fmla="*/ 6018062 w 6018062"/>
              <a:gd name="connsiteY2" fmla="*/ 6654178 h 6654178"/>
              <a:gd name="connsiteX3" fmla="*/ 579722 w 6018062"/>
              <a:gd name="connsiteY3" fmla="*/ 6643956 h 6654178"/>
              <a:gd name="connsiteX4" fmla="*/ 0 w 6018062"/>
              <a:gd name="connsiteY4" fmla="*/ 6064234 h 6654178"/>
              <a:gd name="connsiteX5" fmla="*/ 0 w 6018062"/>
              <a:gd name="connsiteY5" fmla="*/ 1654 h 6654178"/>
              <a:gd name="connsiteX0" fmla="*/ 0 w 6018062"/>
              <a:gd name="connsiteY0" fmla="*/ 203535 h 6654178"/>
              <a:gd name="connsiteX1" fmla="*/ 6003473 w 6018062"/>
              <a:gd name="connsiteY1" fmla="*/ 0 h 6654178"/>
              <a:gd name="connsiteX2" fmla="*/ 6018062 w 6018062"/>
              <a:gd name="connsiteY2" fmla="*/ 6654178 h 6654178"/>
              <a:gd name="connsiteX3" fmla="*/ 579722 w 6018062"/>
              <a:gd name="connsiteY3" fmla="*/ 6643956 h 6654178"/>
              <a:gd name="connsiteX4" fmla="*/ 0 w 6018062"/>
              <a:gd name="connsiteY4" fmla="*/ 6064234 h 6654178"/>
              <a:gd name="connsiteX5" fmla="*/ 0 w 6018062"/>
              <a:gd name="connsiteY5" fmla="*/ 203535 h 6654178"/>
              <a:gd name="connsiteX0" fmla="*/ 0 w 6018062"/>
              <a:gd name="connsiteY0" fmla="*/ 1655 h 6452298"/>
              <a:gd name="connsiteX1" fmla="*/ 4055920 w 6018062"/>
              <a:gd name="connsiteY1" fmla="*/ 0 h 6452298"/>
              <a:gd name="connsiteX2" fmla="*/ 6018062 w 6018062"/>
              <a:gd name="connsiteY2" fmla="*/ 6452298 h 6452298"/>
              <a:gd name="connsiteX3" fmla="*/ 579722 w 6018062"/>
              <a:gd name="connsiteY3" fmla="*/ 6442076 h 6452298"/>
              <a:gd name="connsiteX4" fmla="*/ 0 w 6018062"/>
              <a:gd name="connsiteY4" fmla="*/ 5862354 h 6452298"/>
              <a:gd name="connsiteX5" fmla="*/ 0 w 6018062"/>
              <a:gd name="connsiteY5" fmla="*/ 1655 h 6452298"/>
              <a:gd name="connsiteX0" fmla="*/ 0 w 4055973"/>
              <a:gd name="connsiteY0" fmla="*/ 1655 h 6452298"/>
              <a:gd name="connsiteX1" fmla="*/ 4055920 w 4055973"/>
              <a:gd name="connsiteY1" fmla="*/ 0 h 6452298"/>
              <a:gd name="connsiteX2" fmla="*/ 4046758 w 4055973"/>
              <a:gd name="connsiteY2" fmla="*/ 6452298 h 6452298"/>
              <a:gd name="connsiteX3" fmla="*/ 579722 w 4055973"/>
              <a:gd name="connsiteY3" fmla="*/ 6442076 h 6452298"/>
              <a:gd name="connsiteX4" fmla="*/ 0 w 4055973"/>
              <a:gd name="connsiteY4" fmla="*/ 5862354 h 6452298"/>
              <a:gd name="connsiteX5" fmla="*/ 0 w 4055973"/>
              <a:gd name="connsiteY5" fmla="*/ 1655 h 6452298"/>
              <a:gd name="connsiteX0" fmla="*/ 0 w 4055973"/>
              <a:gd name="connsiteY0" fmla="*/ 0 h 6652523"/>
              <a:gd name="connsiteX1" fmla="*/ 4055920 w 4055973"/>
              <a:gd name="connsiteY1" fmla="*/ 200225 h 6652523"/>
              <a:gd name="connsiteX2" fmla="*/ 4046758 w 4055973"/>
              <a:gd name="connsiteY2" fmla="*/ 6652523 h 6652523"/>
              <a:gd name="connsiteX3" fmla="*/ 579722 w 4055973"/>
              <a:gd name="connsiteY3" fmla="*/ 6642301 h 6652523"/>
              <a:gd name="connsiteX4" fmla="*/ 0 w 4055973"/>
              <a:gd name="connsiteY4" fmla="*/ 6062579 h 6652523"/>
              <a:gd name="connsiteX5" fmla="*/ 0 w 4055973"/>
              <a:gd name="connsiteY5" fmla="*/ 0 h 6652523"/>
              <a:gd name="connsiteX0" fmla="*/ 0 w 4046758"/>
              <a:gd name="connsiteY0" fmla="*/ 0 h 6652523"/>
              <a:gd name="connsiteX1" fmla="*/ 4044045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1655 h 6654178"/>
              <a:gd name="connsiteX1" fmla="*/ 3082144 w 4046758"/>
              <a:gd name="connsiteY1" fmla="*/ 0 h 6654178"/>
              <a:gd name="connsiteX2" fmla="*/ 4046758 w 4046758"/>
              <a:gd name="connsiteY2" fmla="*/ 6654178 h 6654178"/>
              <a:gd name="connsiteX3" fmla="*/ 579722 w 4046758"/>
              <a:gd name="connsiteY3" fmla="*/ 6643956 h 6654178"/>
              <a:gd name="connsiteX4" fmla="*/ 0 w 4046758"/>
              <a:gd name="connsiteY4" fmla="*/ 6064234 h 6654178"/>
              <a:gd name="connsiteX5" fmla="*/ 0 w 4046758"/>
              <a:gd name="connsiteY5" fmla="*/ 1655 h 6654178"/>
              <a:gd name="connsiteX0" fmla="*/ 0 w 4046758"/>
              <a:gd name="connsiteY0" fmla="*/ 0 h 6652523"/>
              <a:gd name="connsiteX1" fmla="*/ 2975266 w 4046758"/>
              <a:gd name="connsiteY1" fmla="*/ 93348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0 h 6652523"/>
              <a:gd name="connsiteX1" fmla="*/ 3070268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0 h 6652523"/>
              <a:gd name="connsiteX1" fmla="*/ 3082144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3082197"/>
              <a:gd name="connsiteY0" fmla="*/ 0 h 6652523"/>
              <a:gd name="connsiteX1" fmla="*/ 3082144 w 3082197"/>
              <a:gd name="connsiteY1" fmla="*/ 10220 h 6652523"/>
              <a:gd name="connsiteX2" fmla="*/ 3072982 w 3082197"/>
              <a:gd name="connsiteY2" fmla="*/ 6652523 h 6652523"/>
              <a:gd name="connsiteX3" fmla="*/ 579722 w 3082197"/>
              <a:gd name="connsiteY3" fmla="*/ 6642301 h 6652523"/>
              <a:gd name="connsiteX4" fmla="*/ 0 w 3082197"/>
              <a:gd name="connsiteY4" fmla="*/ 6062579 h 6652523"/>
              <a:gd name="connsiteX5" fmla="*/ 0 w 3082197"/>
              <a:gd name="connsiteY5" fmla="*/ 0 h 6652523"/>
              <a:gd name="connsiteX0" fmla="*/ 0 w 3072982"/>
              <a:gd name="connsiteY0" fmla="*/ 0 h 6652523"/>
              <a:gd name="connsiteX1" fmla="*/ 3010892 w 3072982"/>
              <a:gd name="connsiteY1" fmla="*/ 164599 h 6652523"/>
              <a:gd name="connsiteX2" fmla="*/ 3072982 w 3072982"/>
              <a:gd name="connsiteY2" fmla="*/ 6652523 h 6652523"/>
              <a:gd name="connsiteX3" fmla="*/ 579722 w 3072982"/>
              <a:gd name="connsiteY3" fmla="*/ 6642301 h 6652523"/>
              <a:gd name="connsiteX4" fmla="*/ 0 w 3072982"/>
              <a:gd name="connsiteY4" fmla="*/ 6062579 h 6652523"/>
              <a:gd name="connsiteX5" fmla="*/ 0 w 3072982"/>
              <a:gd name="connsiteY5" fmla="*/ 0 h 6652523"/>
              <a:gd name="connsiteX0" fmla="*/ 0 w 3082197"/>
              <a:gd name="connsiteY0" fmla="*/ 1656 h 6654179"/>
              <a:gd name="connsiteX1" fmla="*/ 3082144 w 3082197"/>
              <a:gd name="connsiteY1" fmla="*/ 0 h 6654179"/>
              <a:gd name="connsiteX2" fmla="*/ 3072982 w 3082197"/>
              <a:gd name="connsiteY2" fmla="*/ 6654179 h 6654179"/>
              <a:gd name="connsiteX3" fmla="*/ 579722 w 3082197"/>
              <a:gd name="connsiteY3" fmla="*/ 6643957 h 6654179"/>
              <a:gd name="connsiteX4" fmla="*/ 0 w 3082197"/>
              <a:gd name="connsiteY4" fmla="*/ 6064235 h 6654179"/>
              <a:gd name="connsiteX5" fmla="*/ 0 w 3082197"/>
              <a:gd name="connsiteY5" fmla="*/ 1656 h 6654179"/>
              <a:gd name="connsiteX0" fmla="*/ 0 w 3082197"/>
              <a:gd name="connsiteY0" fmla="*/ 1316107 h 6654179"/>
              <a:gd name="connsiteX1" fmla="*/ 3082144 w 3082197"/>
              <a:gd name="connsiteY1" fmla="*/ 0 h 6654179"/>
              <a:gd name="connsiteX2" fmla="*/ 3072982 w 3082197"/>
              <a:gd name="connsiteY2" fmla="*/ 6654179 h 6654179"/>
              <a:gd name="connsiteX3" fmla="*/ 579722 w 3082197"/>
              <a:gd name="connsiteY3" fmla="*/ 6643957 h 6654179"/>
              <a:gd name="connsiteX4" fmla="*/ 0 w 3082197"/>
              <a:gd name="connsiteY4" fmla="*/ 6064235 h 6654179"/>
              <a:gd name="connsiteX5" fmla="*/ 0 w 3082197"/>
              <a:gd name="connsiteY5" fmla="*/ 1316107 h 6654179"/>
              <a:gd name="connsiteX0" fmla="*/ 0 w 3082197"/>
              <a:gd name="connsiteY0" fmla="*/ 1657 h 5339729"/>
              <a:gd name="connsiteX1" fmla="*/ 3082144 w 3082197"/>
              <a:gd name="connsiteY1" fmla="*/ 0 h 5339729"/>
              <a:gd name="connsiteX2" fmla="*/ 3072982 w 3082197"/>
              <a:gd name="connsiteY2" fmla="*/ 5339729 h 5339729"/>
              <a:gd name="connsiteX3" fmla="*/ 579722 w 3082197"/>
              <a:gd name="connsiteY3" fmla="*/ 5329507 h 5339729"/>
              <a:gd name="connsiteX4" fmla="*/ 0 w 3082197"/>
              <a:gd name="connsiteY4" fmla="*/ 4749785 h 5339729"/>
              <a:gd name="connsiteX5" fmla="*/ 0 w 3082197"/>
              <a:gd name="connsiteY5" fmla="*/ 1657 h 5339729"/>
              <a:gd name="connsiteX0" fmla="*/ 0 w 3082197"/>
              <a:gd name="connsiteY0" fmla="*/ 2202416 h 5339729"/>
              <a:gd name="connsiteX1" fmla="*/ 3082144 w 3082197"/>
              <a:gd name="connsiteY1" fmla="*/ 0 h 5339729"/>
              <a:gd name="connsiteX2" fmla="*/ 3072982 w 3082197"/>
              <a:gd name="connsiteY2" fmla="*/ 5339729 h 5339729"/>
              <a:gd name="connsiteX3" fmla="*/ 579722 w 3082197"/>
              <a:gd name="connsiteY3" fmla="*/ 5329507 h 5339729"/>
              <a:gd name="connsiteX4" fmla="*/ 0 w 3082197"/>
              <a:gd name="connsiteY4" fmla="*/ 4749785 h 5339729"/>
              <a:gd name="connsiteX5" fmla="*/ 0 w 3082197"/>
              <a:gd name="connsiteY5" fmla="*/ 2202416 h 5339729"/>
              <a:gd name="connsiteX0" fmla="*/ 0 w 3082197"/>
              <a:gd name="connsiteY0" fmla="*/ 1656 h 3138969"/>
              <a:gd name="connsiteX1" fmla="*/ 3082144 w 3082197"/>
              <a:gd name="connsiteY1" fmla="*/ 0 h 3138969"/>
              <a:gd name="connsiteX2" fmla="*/ 3072982 w 3082197"/>
              <a:gd name="connsiteY2" fmla="*/ 3138969 h 3138969"/>
              <a:gd name="connsiteX3" fmla="*/ 579722 w 3082197"/>
              <a:gd name="connsiteY3" fmla="*/ 3128747 h 3138969"/>
              <a:gd name="connsiteX4" fmla="*/ 0 w 3082197"/>
              <a:gd name="connsiteY4" fmla="*/ 2549025 h 3138969"/>
              <a:gd name="connsiteX5" fmla="*/ 0 w 3082197"/>
              <a:gd name="connsiteY5" fmla="*/ 1656 h 3138969"/>
              <a:gd name="connsiteX0" fmla="*/ 0 w 3082145"/>
              <a:gd name="connsiteY0" fmla="*/ 1656 h 3150544"/>
              <a:gd name="connsiteX1" fmla="*/ 3082144 w 3082145"/>
              <a:gd name="connsiteY1" fmla="*/ 0 h 3150544"/>
              <a:gd name="connsiteX2" fmla="*/ 2772041 w 3082145"/>
              <a:gd name="connsiteY2" fmla="*/ 3150544 h 3150544"/>
              <a:gd name="connsiteX3" fmla="*/ 579722 w 3082145"/>
              <a:gd name="connsiteY3" fmla="*/ 3128747 h 3150544"/>
              <a:gd name="connsiteX4" fmla="*/ 0 w 3082145"/>
              <a:gd name="connsiteY4" fmla="*/ 2549025 h 3150544"/>
              <a:gd name="connsiteX5" fmla="*/ 0 w 3082145"/>
              <a:gd name="connsiteY5" fmla="*/ 1656 h 3150544"/>
              <a:gd name="connsiteX0" fmla="*/ 0 w 2772041"/>
              <a:gd name="connsiteY0" fmla="*/ 1656 h 3150544"/>
              <a:gd name="connsiteX1" fmla="*/ 2769627 w 2772041"/>
              <a:gd name="connsiteY1" fmla="*/ 0 h 3150544"/>
              <a:gd name="connsiteX2" fmla="*/ 2772041 w 2772041"/>
              <a:gd name="connsiteY2" fmla="*/ 3150544 h 3150544"/>
              <a:gd name="connsiteX3" fmla="*/ 579722 w 2772041"/>
              <a:gd name="connsiteY3" fmla="*/ 3128747 h 3150544"/>
              <a:gd name="connsiteX4" fmla="*/ 0 w 2772041"/>
              <a:gd name="connsiteY4" fmla="*/ 2549025 h 3150544"/>
              <a:gd name="connsiteX5" fmla="*/ 0 w 2772041"/>
              <a:gd name="connsiteY5" fmla="*/ 1656 h 3150544"/>
              <a:gd name="connsiteX0" fmla="*/ 0 w 2772041"/>
              <a:gd name="connsiteY0" fmla="*/ 1656 h 3138969"/>
              <a:gd name="connsiteX1" fmla="*/ 2769627 w 2772041"/>
              <a:gd name="connsiteY1" fmla="*/ 0 h 3138969"/>
              <a:gd name="connsiteX2" fmla="*/ 2772041 w 2772041"/>
              <a:gd name="connsiteY2" fmla="*/ 3138969 h 3138969"/>
              <a:gd name="connsiteX3" fmla="*/ 579722 w 2772041"/>
              <a:gd name="connsiteY3" fmla="*/ 3128747 h 3138969"/>
              <a:gd name="connsiteX4" fmla="*/ 0 w 2772041"/>
              <a:gd name="connsiteY4" fmla="*/ 2549025 h 3138969"/>
              <a:gd name="connsiteX5" fmla="*/ 0 w 2772041"/>
              <a:gd name="connsiteY5" fmla="*/ 1656 h 3138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2041" h="3138969">
                <a:moveTo>
                  <a:pt x="0" y="1656"/>
                </a:moveTo>
                <a:lnTo>
                  <a:pt x="2769627" y="0"/>
                </a:lnTo>
                <a:cubicBezTo>
                  <a:pt x="2770532" y="2146807"/>
                  <a:pt x="2771136" y="992162"/>
                  <a:pt x="2772041" y="3138969"/>
                </a:cubicBezTo>
                <a:lnTo>
                  <a:pt x="579722" y="3128747"/>
                </a:lnTo>
                <a:cubicBezTo>
                  <a:pt x="259550" y="3128747"/>
                  <a:pt x="0" y="2869197"/>
                  <a:pt x="0" y="2549025"/>
                </a:cubicBezTo>
                <a:lnTo>
                  <a:pt x="0" y="1656"/>
                </a:lnTo>
                <a:close/>
              </a:path>
            </a:pathLst>
          </a:custGeom>
          <a:noFill/>
        </p:spPr>
        <p:txBody>
          <a:bodyPr>
            <a:normAutofit/>
          </a:bodyPr>
          <a:lstStyle>
            <a:lvl1pPr marL="0" indent="0">
              <a:buNone/>
              <a:defRPr sz="1400">
                <a:solidFill>
                  <a:schemeClr val="tx1"/>
                </a:solidFill>
              </a:defRPr>
            </a:lvl1pPr>
          </a:lstStyle>
          <a:p>
            <a:r>
              <a:rPr lang="en-US"/>
              <a:t>Insert Picture/Text Block</a:t>
            </a:r>
          </a:p>
          <a:p>
            <a:endParaRPr lang="en-US"/>
          </a:p>
          <a:p>
            <a:endParaRPr lang="en-JP"/>
          </a:p>
        </p:txBody>
      </p:sp>
      <p:pic>
        <p:nvPicPr>
          <p:cNvPr id="14" name="Picture 13" descr="Takeda">
            <a:extLst>
              <a:ext uri="{FF2B5EF4-FFF2-40B4-BE49-F238E27FC236}">
                <a16:creationId xmlns:a16="http://schemas.microsoft.com/office/drawing/2014/main" id="{47FD433F-488A-9D46-BDF0-87D0F082AE4B}"/>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46331" y="-1615"/>
            <a:ext cx="1696232" cy="940780"/>
          </a:xfrm>
          <a:prstGeom prst="rect">
            <a:avLst/>
          </a:prstGeom>
        </p:spPr>
      </p:pic>
      <p:sp>
        <p:nvSpPr>
          <p:cNvPr id="18" name="タイトル プレースホルダ 1">
            <a:extLst>
              <a:ext uri="{FF2B5EF4-FFF2-40B4-BE49-F238E27FC236}">
                <a16:creationId xmlns:a16="http://schemas.microsoft.com/office/drawing/2014/main" id="{4FBB8310-69E6-7C4E-A4B1-C022B6FEE2CE}"/>
              </a:ext>
            </a:extLst>
          </p:cNvPr>
          <p:cNvSpPr>
            <a:spLocks noGrp="1"/>
          </p:cNvSpPr>
          <p:nvPr>
            <p:ph type="title" hasCustomPrompt="1"/>
          </p:nvPr>
        </p:nvSpPr>
        <p:spPr>
          <a:xfrm>
            <a:off x="606078" y="161605"/>
            <a:ext cx="9940253" cy="685801"/>
          </a:xfrm>
          <a:prstGeom prst="rect">
            <a:avLst/>
          </a:prstGeom>
        </p:spPr>
        <p:txBody>
          <a:bodyPr vert="horz" lIns="0" tIns="0" rIns="0" bIns="0" rtlCol="0" anchor="ctr">
            <a:normAutofit/>
          </a:bodyPr>
          <a:lstStyle/>
          <a:p>
            <a:r>
              <a:rPr kumimoji="1" lang="en-US" altLang="ja-JP"/>
              <a:t>Click to add title</a:t>
            </a:r>
            <a:endParaRPr kumimoji="1" lang="ja-JP" altLang="en-US"/>
          </a:p>
        </p:txBody>
      </p:sp>
      <p:sp>
        <p:nvSpPr>
          <p:cNvPr id="17" name="Footer Placeholder 8">
            <a:extLst>
              <a:ext uri="{FF2B5EF4-FFF2-40B4-BE49-F238E27FC236}">
                <a16:creationId xmlns:a16="http://schemas.microsoft.com/office/drawing/2014/main" id="{4EF39473-C435-3C4E-9C7B-048D52C3CC92}"/>
              </a:ext>
            </a:extLst>
          </p:cNvPr>
          <p:cNvSpPr>
            <a:spLocks noGrp="1"/>
          </p:cNvSpPr>
          <p:nvPr>
            <p:ph type="ftr" sz="quarter" idx="3"/>
          </p:nvPr>
        </p:nvSpPr>
        <p:spPr>
          <a:xfrm>
            <a:off x="7766050" y="6523001"/>
            <a:ext cx="4114800" cy="196131"/>
          </a:xfrm>
          <a:prstGeom prst="rect">
            <a:avLst/>
          </a:prstGeom>
        </p:spPr>
        <p:txBody>
          <a:bodyPr vert="horz" lIns="91440" tIns="45720" rIns="0" bIns="45720" rtlCol="0" anchor="ctr"/>
          <a:lstStyle>
            <a:lvl1pPr algn="r">
              <a:defRPr sz="800" b="1" spc="100" baseline="0">
                <a:solidFill>
                  <a:schemeClr val="tx1"/>
                </a:solidFill>
              </a:defRPr>
            </a:lvl1pPr>
          </a:lstStyle>
          <a:p>
            <a:r>
              <a:rPr lang="en-US"/>
              <a:t> </a:t>
            </a:r>
            <a:endParaRPr lang="en-JP"/>
          </a:p>
        </p:txBody>
      </p:sp>
      <p:sp>
        <p:nvSpPr>
          <p:cNvPr id="21" name="Rectangle 20">
            <a:extLst>
              <a:ext uri="{FF2B5EF4-FFF2-40B4-BE49-F238E27FC236}">
                <a16:creationId xmlns:a16="http://schemas.microsoft.com/office/drawing/2014/main" id="{0FEF9AE6-D84E-9F43-9506-6676EC51B210}"/>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a:solidFill>
                <a:schemeClr val="accent1"/>
              </a:solidFill>
            </a:endParaRPr>
          </a:p>
        </p:txBody>
      </p:sp>
      <p:sp>
        <p:nvSpPr>
          <p:cNvPr id="28" name="スライド番号プレースホルダ 5">
            <a:extLst>
              <a:ext uri="{FF2B5EF4-FFF2-40B4-BE49-F238E27FC236}">
                <a16:creationId xmlns:a16="http://schemas.microsoft.com/office/drawing/2014/main" id="{F964ADE6-9B0D-EC45-959C-FEEA5CDDFBA9}"/>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9" name="Text Placeholder 6">
            <a:extLst>
              <a:ext uri="{FF2B5EF4-FFF2-40B4-BE49-F238E27FC236}">
                <a16:creationId xmlns:a16="http://schemas.microsoft.com/office/drawing/2014/main" id="{870D8562-3CE7-7044-9BB0-2068A81BF5CB}"/>
              </a:ext>
            </a:extLst>
          </p:cNvPr>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Private and confidential. For internal use only.</a:t>
            </a:r>
          </a:p>
        </p:txBody>
      </p:sp>
      <p:sp>
        <p:nvSpPr>
          <p:cNvPr id="19" name="Text Placeholder 2">
            <a:extLst>
              <a:ext uri="{FF2B5EF4-FFF2-40B4-BE49-F238E27FC236}">
                <a16:creationId xmlns:a16="http://schemas.microsoft.com/office/drawing/2014/main" id="{099C450B-0755-7D4A-9672-E700D6F2E50A}"/>
              </a:ext>
            </a:extLst>
          </p:cNvPr>
          <p:cNvSpPr>
            <a:spLocks noGrp="1"/>
          </p:cNvSpPr>
          <p:nvPr>
            <p:ph type="body" sz="quarter" idx="21" hasCustomPrompt="1"/>
          </p:nvPr>
        </p:nvSpPr>
        <p:spPr>
          <a:xfrm>
            <a:off x="311150" y="1491373"/>
            <a:ext cx="11569699" cy="1464957"/>
          </a:xfrm>
        </p:spPr>
        <p:txBody>
          <a:bodyPr tIns="0" rIns="0" bIns="0" numCol="1" spcCol="126000">
            <a:noAutofit/>
          </a:bodyPr>
          <a:lstStyle>
            <a:lvl1pPr marL="0" indent="0">
              <a:lnSpc>
                <a:spcPct val="100000"/>
              </a:lnSpc>
              <a:spcBef>
                <a:spcPts val="0"/>
              </a:spcBef>
              <a:buNone/>
              <a:defRPr sz="1600" b="1"/>
            </a:lvl1pPr>
            <a:lvl2pPr marL="457068" indent="0">
              <a:buNone/>
              <a:defRPr sz="1800" b="1"/>
            </a:lvl2pPr>
            <a:lvl3pPr marL="914149" indent="0">
              <a:buNone/>
              <a:defRPr sz="1800" b="1"/>
            </a:lvl3pPr>
            <a:lvl4pPr marL="1371219" indent="0">
              <a:buNone/>
              <a:defRPr sz="1800" b="1"/>
            </a:lvl4pPr>
            <a:lvl5pPr marL="1828290" indent="0">
              <a:buNone/>
              <a:defRPr sz="1800" b="1"/>
            </a:lvl5pPr>
          </a:lstStyle>
          <a:p>
            <a:pPr lvl="0"/>
            <a:r>
              <a:rPr lang="en-US"/>
              <a:t>This is your Primary Text.</a:t>
            </a:r>
            <a:endParaRPr lang="en-JP"/>
          </a:p>
        </p:txBody>
      </p:sp>
      <p:sp>
        <p:nvSpPr>
          <p:cNvPr id="20" name="Text Placeholder 6">
            <a:extLst>
              <a:ext uri="{FF2B5EF4-FFF2-40B4-BE49-F238E27FC236}">
                <a16:creationId xmlns:a16="http://schemas.microsoft.com/office/drawing/2014/main" id="{705B1BEB-AC9F-9643-A446-ABE1DDB96144}"/>
              </a:ext>
            </a:extLst>
          </p:cNvPr>
          <p:cNvSpPr>
            <a:spLocks noGrp="1"/>
          </p:cNvSpPr>
          <p:nvPr>
            <p:ph type="body" sz="quarter" idx="22" hasCustomPrompt="1"/>
          </p:nvPr>
        </p:nvSpPr>
        <p:spPr>
          <a:xfrm>
            <a:off x="311149" y="1093767"/>
            <a:ext cx="11569699" cy="272786"/>
          </a:xfrm>
        </p:spPr>
        <p:txBody>
          <a:bodyPr tIns="0" rIns="0" bIns="0" numCol="1">
            <a:noAutofit/>
          </a:bodyPr>
          <a:lstStyle>
            <a:lvl1pPr marL="0" indent="0">
              <a:lnSpc>
                <a:spcPct val="100000"/>
              </a:lnSpc>
              <a:spcBef>
                <a:spcPts val="0"/>
              </a:spcBef>
              <a:spcAft>
                <a:spcPts val="600"/>
              </a:spcAft>
              <a:buNone/>
              <a:defRPr sz="20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Primary Title</a:t>
            </a:r>
          </a:p>
        </p:txBody>
      </p:sp>
    </p:spTree>
    <p:extLst>
      <p:ext uri="{BB962C8B-B14F-4D97-AF65-F5344CB8AC3E}">
        <p14:creationId xmlns:p14="http://schemas.microsoft.com/office/powerpoint/2010/main" val="422931617"/>
      </p:ext>
    </p:extLst>
  </p:cSld>
  <p:clrMapOvr>
    <a:masterClrMapping/>
  </p:clrMapOvr>
  <p:transition spd="slow">
    <p:push dir="u"/>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Advanced Chart Full Width">
    <p:spTree>
      <p:nvGrpSpPr>
        <p:cNvPr id="1" name=""/>
        <p:cNvGrpSpPr/>
        <p:nvPr/>
      </p:nvGrpSpPr>
      <p:grpSpPr>
        <a:xfrm>
          <a:off x="0" y="0"/>
          <a:ext cx="0" cy="0"/>
          <a:chOff x="0" y="0"/>
          <a:chExt cx="0" cy="0"/>
        </a:xfrm>
      </p:grpSpPr>
      <p:sp>
        <p:nvSpPr>
          <p:cNvPr id="8" name="Chart Placeholder 7">
            <a:extLst>
              <a:ext uri="{FF2B5EF4-FFF2-40B4-BE49-F238E27FC236}">
                <a16:creationId xmlns:a16="http://schemas.microsoft.com/office/drawing/2014/main" id="{A6D4E593-FDCC-D14E-9C5E-5F309E415C26}"/>
              </a:ext>
            </a:extLst>
          </p:cNvPr>
          <p:cNvSpPr>
            <a:spLocks noGrp="1"/>
          </p:cNvSpPr>
          <p:nvPr>
            <p:ph type="chart" sz="quarter" idx="21" hasCustomPrompt="1"/>
          </p:nvPr>
        </p:nvSpPr>
        <p:spPr>
          <a:xfrm>
            <a:off x="309223" y="3076286"/>
            <a:ext cx="11571628" cy="3340389"/>
          </a:xfrm>
          <a:prstGeom prst="rect">
            <a:avLst/>
          </a:prstGeom>
        </p:spPr>
        <p:txBody>
          <a:bodyPr>
            <a:normAutofit/>
          </a:bodyPr>
          <a:lstStyle>
            <a:lvl1pPr marL="0" indent="0">
              <a:buNone/>
              <a:defRPr sz="1400"/>
            </a:lvl1pPr>
          </a:lstStyle>
          <a:p>
            <a:r>
              <a:rPr lang="en-JP"/>
              <a:t>Insert Chart</a:t>
            </a:r>
          </a:p>
        </p:txBody>
      </p:sp>
      <p:pic>
        <p:nvPicPr>
          <p:cNvPr id="11" name="Picture 10" descr="Takeda">
            <a:extLst>
              <a:ext uri="{FF2B5EF4-FFF2-40B4-BE49-F238E27FC236}">
                <a16:creationId xmlns:a16="http://schemas.microsoft.com/office/drawing/2014/main" id="{7EBA21A8-EE4B-6E4B-A794-3FEA5B15990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46331" y="-1615"/>
            <a:ext cx="1696232" cy="940780"/>
          </a:xfrm>
          <a:prstGeom prst="rect">
            <a:avLst/>
          </a:prstGeom>
        </p:spPr>
      </p:pic>
      <p:sp>
        <p:nvSpPr>
          <p:cNvPr id="12" name="タイトル プレースホルダ 1">
            <a:extLst>
              <a:ext uri="{FF2B5EF4-FFF2-40B4-BE49-F238E27FC236}">
                <a16:creationId xmlns:a16="http://schemas.microsoft.com/office/drawing/2014/main" id="{75E45CD2-2EBD-AE47-837E-9F752C565F73}"/>
              </a:ext>
            </a:extLst>
          </p:cNvPr>
          <p:cNvSpPr>
            <a:spLocks noGrp="1"/>
          </p:cNvSpPr>
          <p:nvPr>
            <p:ph type="title" hasCustomPrompt="1"/>
          </p:nvPr>
        </p:nvSpPr>
        <p:spPr>
          <a:xfrm>
            <a:off x="606078" y="161605"/>
            <a:ext cx="9940253" cy="685801"/>
          </a:xfrm>
          <a:prstGeom prst="rect">
            <a:avLst/>
          </a:prstGeom>
        </p:spPr>
        <p:txBody>
          <a:bodyPr vert="horz" lIns="0" tIns="0" rIns="0" bIns="0" rtlCol="0" anchor="ctr">
            <a:normAutofit/>
          </a:bodyPr>
          <a:lstStyle/>
          <a:p>
            <a:r>
              <a:rPr kumimoji="1" lang="en-US" altLang="ja-JP"/>
              <a:t>Click to add title</a:t>
            </a:r>
            <a:endParaRPr kumimoji="1" lang="ja-JP" altLang="en-US"/>
          </a:p>
        </p:txBody>
      </p:sp>
      <p:sp>
        <p:nvSpPr>
          <p:cNvPr id="17" name="Footer Placeholder 8">
            <a:extLst>
              <a:ext uri="{FF2B5EF4-FFF2-40B4-BE49-F238E27FC236}">
                <a16:creationId xmlns:a16="http://schemas.microsoft.com/office/drawing/2014/main" id="{2DC26CE8-1DEF-EE42-861C-B0406E8DC23D}"/>
              </a:ext>
            </a:extLst>
          </p:cNvPr>
          <p:cNvSpPr>
            <a:spLocks noGrp="1"/>
          </p:cNvSpPr>
          <p:nvPr>
            <p:ph type="ftr" sz="quarter" idx="3"/>
          </p:nvPr>
        </p:nvSpPr>
        <p:spPr>
          <a:xfrm>
            <a:off x="7766050" y="6523001"/>
            <a:ext cx="4114800" cy="196131"/>
          </a:xfrm>
          <a:prstGeom prst="rect">
            <a:avLst/>
          </a:prstGeom>
        </p:spPr>
        <p:txBody>
          <a:bodyPr vert="horz" lIns="91440" tIns="45720" rIns="0" bIns="45720" rtlCol="0" anchor="ctr"/>
          <a:lstStyle>
            <a:lvl1pPr algn="r">
              <a:defRPr sz="800" b="1" spc="100" baseline="0">
                <a:solidFill>
                  <a:schemeClr val="tx1"/>
                </a:solidFill>
              </a:defRPr>
            </a:lvl1pPr>
          </a:lstStyle>
          <a:p>
            <a:r>
              <a:rPr lang="en-JP"/>
              <a:t> </a:t>
            </a:r>
          </a:p>
        </p:txBody>
      </p:sp>
      <p:sp>
        <p:nvSpPr>
          <p:cNvPr id="20" name="Rectangle 19">
            <a:extLst>
              <a:ext uri="{FF2B5EF4-FFF2-40B4-BE49-F238E27FC236}">
                <a16:creationId xmlns:a16="http://schemas.microsoft.com/office/drawing/2014/main" id="{4436966D-3DF0-4D41-9D26-4860D147F807}"/>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a:solidFill>
                <a:schemeClr val="accent1"/>
              </a:solidFill>
            </a:endParaRPr>
          </a:p>
        </p:txBody>
      </p:sp>
      <p:sp>
        <p:nvSpPr>
          <p:cNvPr id="23" name="スライド番号プレースホルダ 5">
            <a:extLst>
              <a:ext uri="{FF2B5EF4-FFF2-40B4-BE49-F238E27FC236}">
                <a16:creationId xmlns:a16="http://schemas.microsoft.com/office/drawing/2014/main" id="{600920FB-2D44-F645-865D-89FFECB09573}"/>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4" name="Text Placeholder 6">
            <a:extLst>
              <a:ext uri="{FF2B5EF4-FFF2-40B4-BE49-F238E27FC236}">
                <a16:creationId xmlns:a16="http://schemas.microsoft.com/office/drawing/2014/main" id="{07DE8F7E-1418-1C4C-A62B-2385714992F7}"/>
              </a:ext>
            </a:extLst>
          </p:cNvPr>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Private and confidential. For internal use only.</a:t>
            </a:r>
          </a:p>
        </p:txBody>
      </p:sp>
      <p:sp>
        <p:nvSpPr>
          <p:cNvPr id="14" name="Text Placeholder 2">
            <a:extLst>
              <a:ext uri="{FF2B5EF4-FFF2-40B4-BE49-F238E27FC236}">
                <a16:creationId xmlns:a16="http://schemas.microsoft.com/office/drawing/2014/main" id="{628A960D-6A45-6744-9BDB-7070B443CC64}"/>
              </a:ext>
            </a:extLst>
          </p:cNvPr>
          <p:cNvSpPr>
            <a:spLocks noGrp="1"/>
          </p:cNvSpPr>
          <p:nvPr>
            <p:ph type="body" sz="quarter" idx="20" hasCustomPrompt="1"/>
          </p:nvPr>
        </p:nvSpPr>
        <p:spPr>
          <a:xfrm>
            <a:off x="311150" y="1491373"/>
            <a:ext cx="11569699" cy="1464957"/>
          </a:xfrm>
        </p:spPr>
        <p:txBody>
          <a:bodyPr tIns="0" rIns="0" bIns="0" numCol="1" spcCol="126000">
            <a:noAutofit/>
          </a:bodyPr>
          <a:lstStyle>
            <a:lvl1pPr marL="0" indent="0">
              <a:lnSpc>
                <a:spcPct val="100000"/>
              </a:lnSpc>
              <a:spcBef>
                <a:spcPts val="0"/>
              </a:spcBef>
              <a:buNone/>
              <a:defRPr sz="1600" b="1"/>
            </a:lvl1pPr>
            <a:lvl2pPr marL="457068" indent="0">
              <a:buNone/>
              <a:defRPr sz="1800" b="1"/>
            </a:lvl2pPr>
            <a:lvl3pPr marL="914149" indent="0">
              <a:buNone/>
              <a:defRPr sz="1800" b="1"/>
            </a:lvl3pPr>
            <a:lvl4pPr marL="1371219" indent="0">
              <a:buNone/>
              <a:defRPr sz="1800" b="1"/>
            </a:lvl4pPr>
            <a:lvl5pPr marL="1828290" indent="0">
              <a:buNone/>
              <a:defRPr sz="1800" b="1"/>
            </a:lvl5pPr>
          </a:lstStyle>
          <a:p>
            <a:pPr lvl="0"/>
            <a:r>
              <a:rPr lang="en-US"/>
              <a:t>This is your Primary Text.</a:t>
            </a:r>
            <a:endParaRPr lang="en-JP"/>
          </a:p>
        </p:txBody>
      </p:sp>
      <p:sp>
        <p:nvSpPr>
          <p:cNvPr id="15" name="Text Placeholder 6">
            <a:extLst>
              <a:ext uri="{FF2B5EF4-FFF2-40B4-BE49-F238E27FC236}">
                <a16:creationId xmlns:a16="http://schemas.microsoft.com/office/drawing/2014/main" id="{21493179-5EA4-604B-A9DF-BDA818F0166A}"/>
              </a:ext>
            </a:extLst>
          </p:cNvPr>
          <p:cNvSpPr>
            <a:spLocks noGrp="1"/>
          </p:cNvSpPr>
          <p:nvPr>
            <p:ph type="body" sz="quarter" idx="22" hasCustomPrompt="1"/>
          </p:nvPr>
        </p:nvSpPr>
        <p:spPr>
          <a:xfrm>
            <a:off x="311149" y="1093767"/>
            <a:ext cx="11569699" cy="272786"/>
          </a:xfrm>
        </p:spPr>
        <p:txBody>
          <a:bodyPr tIns="0" rIns="0" bIns="0" numCol="1">
            <a:noAutofit/>
          </a:bodyPr>
          <a:lstStyle>
            <a:lvl1pPr marL="0" indent="0">
              <a:lnSpc>
                <a:spcPct val="100000"/>
              </a:lnSpc>
              <a:spcBef>
                <a:spcPts val="0"/>
              </a:spcBef>
              <a:spcAft>
                <a:spcPts val="600"/>
              </a:spcAft>
              <a:buNone/>
              <a:defRPr sz="20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Primary Title</a:t>
            </a:r>
          </a:p>
        </p:txBody>
      </p:sp>
    </p:spTree>
    <p:extLst>
      <p:ext uri="{BB962C8B-B14F-4D97-AF65-F5344CB8AC3E}">
        <p14:creationId xmlns:p14="http://schemas.microsoft.com/office/powerpoint/2010/main" val="2654878587"/>
      </p:ext>
    </p:extLst>
  </p:cSld>
  <p:clrMapOvr>
    <a:masterClrMapping/>
  </p:clrMapOvr>
  <p:transition spd="slow">
    <p:push dir="u"/>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Advanced Chart 2/3">
    <p:spTree>
      <p:nvGrpSpPr>
        <p:cNvPr id="1" name=""/>
        <p:cNvGrpSpPr/>
        <p:nvPr/>
      </p:nvGrpSpPr>
      <p:grpSpPr>
        <a:xfrm>
          <a:off x="0" y="0"/>
          <a:ext cx="0" cy="0"/>
          <a:chOff x="0" y="0"/>
          <a:chExt cx="0" cy="0"/>
        </a:xfrm>
      </p:grpSpPr>
      <p:sp>
        <p:nvSpPr>
          <p:cNvPr id="8" name="Chart Placeholder 7">
            <a:extLst>
              <a:ext uri="{FF2B5EF4-FFF2-40B4-BE49-F238E27FC236}">
                <a16:creationId xmlns:a16="http://schemas.microsoft.com/office/drawing/2014/main" id="{A6D4E593-FDCC-D14E-9C5E-5F309E415C26}"/>
              </a:ext>
            </a:extLst>
          </p:cNvPr>
          <p:cNvSpPr>
            <a:spLocks noGrp="1"/>
          </p:cNvSpPr>
          <p:nvPr>
            <p:ph type="chart" sz="quarter" idx="21" hasCustomPrompt="1"/>
          </p:nvPr>
        </p:nvSpPr>
        <p:spPr>
          <a:xfrm>
            <a:off x="4227225" y="1093767"/>
            <a:ext cx="7653625" cy="5322908"/>
          </a:xfrm>
          <a:prstGeom prst="rect">
            <a:avLst/>
          </a:prstGeom>
        </p:spPr>
        <p:txBody>
          <a:bodyPr>
            <a:normAutofit/>
          </a:bodyPr>
          <a:lstStyle>
            <a:lvl1pPr marL="0" indent="0">
              <a:buNone/>
              <a:defRPr sz="1400"/>
            </a:lvl1pPr>
          </a:lstStyle>
          <a:p>
            <a:r>
              <a:rPr lang="en-JP"/>
              <a:t>Insert Chart</a:t>
            </a:r>
          </a:p>
        </p:txBody>
      </p:sp>
      <p:sp>
        <p:nvSpPr>
          <p:cNvPr id="9" name="Text Placeholder 6">
            <a:extLst>
              <a:ext uri="{FF2B5EF4-FFF2-40B4-BE49-F238E27FC236}">
                <a16:creationId xmlns:a16="http://schemas.microsoft.com/office/drawing/2014/main" id="{EF65D74B-37DA-0D46-8B56-9B362C84E6B9}"/>
              </a:ext>
            </a:extLst>
          </p:cNvPr>
          <p:cNvSpPr>
            <a:spLocks noGrp="1"/>
          </p:cNvSpPr>
          <p:nvPr>
            <p:ph type="body" sz="quarter" idx="14" hasCustomPrompt="1"/>
          </p:nvPr>
        </p:nvSpPr>
        <p:spPr>
          <a:xfrm>
            <a:off x="311150" y="3178298"/>
            <a:ext cx="3751966" cy="272786"/>
          </a:xfrm>
          <a:prstGeom prst="rect">
            <a:avLst/>
          </a:prstGeom>
        </p:spPr>
        <p:txBody>
          <a:bodyPr tIns="0" rIns="0" bIns="0" numCol="1">
            <a:noAutofit/>
          </a:bodyPr>
          <a:lstStyle>
            <a:lvl1pPr marL="0" indent="0">
              <a:lnSpc>
                <a:spcPct val="100000"/>
              </a:lnSpc>
              <a:spcBef>
                <a:spcPts val="0"/>
              </a:spcBef>
              <a:spcAft>
                <a:spcPts val="600"/>
              </a:spcAft>
              <a:buNone/>
              <a:defRPr sz="18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Secondary Title</a:t>
            </a:r>
          </a:p>
        </p:txBody>
      </p:sp>
      <p:sp>
        <p:nvSpPr>
          <p:cNvPr id="10" name="Text Placeholder 6">
            <a:extLst>
              <a:ext uri="{FF2B5EF4-FFF2-40B4-BE49-F238E27FC236}">
                <a16:creationId xmlns:a16="http://schemas.microsoft.com/office/drawing/2014/main" id="{BF5F6A26-5AAA-884F-A319-DE9881530AA7}"/>
              </a:ext>
            </a:extLst>
          </p:cNvPr>
          <p:cNvSpPr>
            <a:spLocks noGrp="1"/>
          </p:cNvSpPr>
          <p:nvPr>
            <p:ph type="body" sz="quarter" idx="15" hasCustomPrompt="1"/>
          </p:nvPr>
        </p:nvSpPr>
        <p:spPr>
          <a:xfrm>
            <a:off x="311150" y="3575904"/>
            <a:ext cx="3751966" cy="2840771"/>
          </a:xfrm>
          <a:prstGeom prst="rect">
            <a:avLst/>
          </a:prstGeom>
        </p:spPr>
        <p:txBody>
          <a:bodyPr tIns="0" rIns="0" bIns="0" numCol="1">
            <a:noAutofit/>
          </a:bodyPr>
          <a:lstStyle>
            <a:lvl1pPr marL="171450" indent="-171450">
              <a:lnSpc>
                <a:spcPct val="100000"/>
              </a:lnSpc>
              <a:spcBef>
                <a:spcPts val="0"/>
              </a:spcBef>
              <a:spcAft>
                <a:spcPts val="600"/>
              </a:spcAft>
              <a:buFont typeface="Arial" panose="020B0604020202020204" pitchFamily="34" charset="0"/>
              <a:buChar char="•"/>
              <a:defRPr sz="1400" b="0">
                <a:solidFill>
                  <a:schemeClr val="tx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Secondary text.</a:t>
            </a:r>
          </a:p>
        </p:txBody>
      </p:sp>
      <p:pic>
        <p:nvPicPr>
          <p:cNvPr id="12" name="Picture 11" descr="Takeda">
            <a:extLst>
              <a:ext uri="{FF2B5EF4-FFF2-40B4-BE49-F238E27FC236}">
                <a16:creationId xmlns:a16="http://schemas.microsoft.com/office/drawing/2014/main" id="{5D7AA9CA-E651-9E48-B0F3-BDDA45B353E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46331" y="-1615"/>
            <a:ext cx="1696232" cy="940780"/>
          </a:xfrm>
          <a:prstGeom prst="rect">
            <a:avLst/>
          </a:prstGeom>
        </p:spPr>
      </p:pic>
      <p:sp>
        <p:nvSpPr>
          <p:cNvPr id="13" name="タイトル プレースホルダ 1">
            <a:extLst>
              <a:ext uri="{FF2B5EF4-FFF2-40B4-BE49-F238E27FC236}">
                <a16:creationId xmlns:a16="http://schemas.microsoft.com/office/drawing/2014/main" id="{2256F400-EDA8-7F44-BF13-278518497C9E}"/>
              </a:ext>
            </a:extLst>
          </p:cNvPr>
          <p:cNvSpPr>
            <a:spLocks noGrp="1"/>
          </p:cNvSpPr>
          <p:nvPr>
            <p:ph type="title" hasCustomPrompt="1"/>
          </p:nvPr>
        </p:nvSpPr>
        <p:spPr>
          <a:xfrm>
            <a:off x="606078" y="161605"/>
            <a:ext cx="9940253" cy="685801"/>
          </a:xfrm>
          <a:prstGeom prst="rect">
            <a:avLst/>
          </a:prstGeom>
        </p:spPr>
        <p:txBody>
          <a:bodyPr vert="horz" lIns="0" tIns="0" rIns="0" bIns="0" rtlCol="0" anchor="ctr">
            <a:normAutofit/>
          </a:bodyPr>
          <a:lstStyle/>
          <a:p>
            <a:r>
              <a:rPr kumimoji="1" lang="en-US" altLang="ja-JP"/>
              <a:t>Click to add title</a:t>
            </a:r>
            <a:endParaRPr kumimoji="1" lang="ja-JP" altLang="en-US"/>
          </a:p>
        </p:txBody>
      </p:sp>
      <p:sp>
        <p:nvSpPr>
          <p:cNvPr id="15" name="Footer Placeholder 8">
            <a:extLst>
              <a:ext uri="{FF2B5EF4-FFF2-40B4-BE49-F238E27FC236}">
                <a16:creationId xmlns:a16="http://schemas.microsoft.com/office/drawing/2014/main" id="{7136781B-A49B-0A42-B748-01C379A12FF6}"/>
              </a:ext>
            </a:extLst>
          </p:cNvPr>
          <p:cNvSpPr>
            <a:spLocks noGrp="1"/>
          </p:cNvSpPr>
          <p:nvPr>
            <p:ph type="ftr" sz="quarter" idx="3"/>
          </p:nvPr>
        </p:nvSpPr>
        <p:spPr>
          <a:xfrm>
            <a:off x="7766050" y="6523001"/>
            <a:ext cx="4114800" cy="196131"/>
          </a:xfrm>
          <a:prstGeom prst="rect">
            <a:avLst/>
          </a:prstGeom>
        </p:spPr>
        <p:txBody>
          <a:bodyPr vert="horz" lIns="91440" tIns="45720" rIns="0" bIns="45720" rtlCol="0" anchor="ctr"/>
          <a:lstStyle>
            <a:lvl1pPr algn="r">
              <a:defRPr sz="800" b="1" spc="100" baseline="0">
                <a:solidFill>
                  <a:schemeClr val="tx1"/>
                </a:solidFill>
              </a:defRPr>
            </a:lvl1pPr>
          </a:lstStyle>
          <a:p>
            <a:r>
              <a:rPr lang="en-JP"/>
              <a:t> </a:t>
            </a:r>
          </a:p>
        </p:txBody>
      </p:sp>
      <p:sp>
        <p:nvSpPr>
          <p:cNvPr id="21" name="Rectangle 20">
            <a:extLst>
              <a:ext uri="{FF2B5EF4-FFF2-40B4-BE49-F238E27FC236}">
                <a16:creationId xmlns:a16="http://schemas.microsoft.com/office/drawing/2014/main" id="{EAC2B0AC-7801-6C42-BA03-0669DC118159}"/>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a:solidFill>
                <a:schemeClr val="accent1"/>
              </a:solidFill>
            </a:endParaRPr>
          </a:p>
        </p:txBody>
      </p:sp>
      <p:sp>
        <p:nvSpPr>
          <p:cNvPr id="24" name="スライド番号プレースホルダ 5">
            <a:extLst>
              <a:ext uri="{FF2B5EF4-FFF2-40B4-BE49-F238E27FC236}">
                <a16:creationId xmlns:a16="http://schemas.microsoft.com/office/drawing/2014/main" id="{71FCF96E-3BB8-0745-B029-6B6BE4291274}"/>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5" name="Text Placeholder 6">
            <a:extLst>
              <a:ext uri="{FF2B5EF4-FFF2-40B4-BE49-F238E27FC236}">
                <a16:creationId xmlns:a16="http://schemas.microsoft.com/office/drawing/2014/main" id="{875659DC-941F-AA40-8336-C3B1BF32BAD6}"/>
              </a:ext>
            </a:extLst>
          </p:cNvPr>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Private and confidential. For internal use only.</a:t>
            </a:r>
          </a:p>
        </p:txBody>
      </p:sp>
      <p:sp>
        <p:nvSpPr>
          <p:cNvPr id="17" name="Text Placeholder 2">
            <a:extLst>
              <a:ext uri="{FF2B5EF4-FFF2-40B4-BE49-F238E27FC236}">
                <a16:creationId xmlns:a16="http://schemas.microsoft.com/office/drawing/2014/main" id="{45375A5A-6A84-7145-B49C-982F84619406}"/>
              </a:ext>
            </a:extLst>
          </p:cNvPr>
          <p:cNvSpPr>
            <a:spLocks noGrp="1"/>
          </p:cNvSpPr>
          <p:nvPr>
            <p:ph type="body" sz="quarter" idx="20" hasCustomPrompt="1"/>
          </p:nvPr>
        </p:nvSpPr>
        <p:spPr>
          <a:xfrm>
            <a:off x="311151" y="1491373"/>
            <a:ext cx="3751965" cy="1464957"/>
          </a:xfrm>
        </p:spPr>
        <p:txBody>
          <a:bodyPr tIns="0" rIns="0" bIns="0" numCol="1" spcCol="126000">
            <a:noAutofit/>
          </a:bodyPr>
          <a:lstStyle>
            <a:lvl1pPr marL="0" indent="0">
              <a:lnSpc>
                <a:spcPct val="100000"/>
              </a:lnSpc>
              <a:spcBef>
                <a:spcPts val="0"/>
              </a:spcBef>
              <a:buNone/>
              <a:defRPr sz="1600" b="1"/>
            </a:lvl1pPr>
            <a:lvl2pPr marL="457068" indent="0">
              <a:buNone/>
              <a:defRPr sz="1800" b="1"/>
            </a:lvl2pPr>
            <a:lvl3pPr marL="914149" indent="0">
              <a:buNone/>
              <a:defRPr sz="1800" b="1"/>
            </a:lvl3pPr>
            <a:lvl4pPr marL="1371219" indent="0">
              <a:buNone/>
              <a:defRPr sz="1800" b="1"/>
            </a:lvl4pPr>
            <a:lvl5pPr marL="1828290" indent="0">
              <a:buNone/>
              <a:defRPr sz="1800" b="1"/>
            </a:lvl5pPr>
          </a:lstStyle>
          <a:p>
            <a:pPr lvl="0"/>
            <a:r>
              <a:rPr lang="en-US"/>
              <a:t>This is your Primary Text.</a:t>
            </a:r>
            <a:endParaRPr lang="en-JP"/>
          </a:p>
        </p:txBody>
      </p:sp>
      <p:sp>
        <p:nvSpPr>
          <p:cNvPr id="18" name="Text Placeholder 6">
            <a:extLst>
              <a:ext uri="{FF2B5EF4-FFF2-40B4-BE49-F238E27FC236}">
                <a16:creationId xmlns:a16="http://schemas.microsoft.com/office/drawing/2014/main" id="{5F7E9041-544E-3547-AC30-65F55E91E1ED}"/>
              </a:ext>
            </a:extLst>
          </p:cNvPr>
          <p:cNvSpPr>
            <a:spLocks noGrp="1"/>
          </p:cNvSpPr>
          <p:nvPr>
            <p:ph type="body" sz="quarter" idx="22" hasCustomPrompt="1"/>
          </p:nvPr>
        </p:nvSpPr>
        <p:spPr>
          <a:xfrm>
            <a:off x="311150" y="1093767"/>
            <a:ext cx="3751965" cy="272786"/>
          </a:xfrm>
        </p:spPr>
        <p:txBody>
          <a:bodyPr tIns="0" rIns="0" bIns="0" numCol="1">
            <a:noAutofit/>
          </a:bodyPr>
          <a:lstStyle>
            <a:lvl1pPr marL="0" indent="0">
              <a:lnSpc>
                <a:spcPct val="100000"/>
              </a:lnSpc>
              <a:spcBef>
                <a:spcPts val="0"/>
              </a:spcBef>
              <a:spcAft>
                <a:spcPts val="600"/>
              </a:spcAft>
              <a:buNone/>
              <a:defRPr sz="20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Primary Title</a:t>
            </a:r>
          </a:p>
        </p:txBody>
      </p:sp>
    </p:spTree>
    <p:extLst>
      <p:ext uri="{BB962C8B-B14F-4D97-AF65-F5344CB8AC3E}">
        <p14:creationId xmlns:p14="http://schemas.microsoft.com/office/powerpoint/2010/main" val="4010745913"/>
      </p:ext>
    </p:extLst>
  </p:cSld>
  <p:clrMapOvr>
    <a:masterClrMapping/>
  </p:clrMapOvr>
  <p:transition spd="slow">
    <p:push dir="u"/>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Advanced Chart 2 Column">
    <p:spTree>
      <p:nvGrpSpPr>
        <p:cNvPr id="1" name=""/>
        <p:cNvGrpSpPr/>
        <p:nvPr/>
      </p:nvGrpSpPr>
      <p:grpSpPr>
        <a:xfrm>
          <a:off x="0" y="0"/>
          <a:ext cx="0" cy="0"/>
          <a:chOff x="0" y="0"/>
          <a:chExt cx="0" cy="0"/>
        </a:xfrm>
      </p:grpSpPr>
      <p:sp>
        <p:nvSpPr>
          <p:cNvPr id="8" name="Chart Placeholder 7">
            <a:extLst>
              <a:ext uri="{FF2B5EF4-FFF2-40B4-BE49-F238E27FC236}">
                <a16:creationId xmlns:a16="http://schemas.microsoft.com/office/drawing/2014/main" id="{A6D4E593-FDCC-D14E-9C5E-5F309E415C26}"/>
              </a:ext>
            </a:extLst>
          </p:cNvPr>
          <p:cNvSpPr>
            <a:spLocks noGrp="1"/>
          </p:cNvSpPr>
          <p:nvPr>
            <p:ph type="chart" sz="quarter" idx="21" hasCustomPrompt="1"/>
          </p:nvPr>
        </p:nvSpPr>
        <p:spPr>
          <a:xfrm>
            <a:off x="309223" y="3076286"/>
            <a:ext cx="5708650" cy="3340389"/>
          </a:xfrm>
          <a:prstGeom prst="rect">
            <a:avLst/>
          </a:prstGeom>
        </p:spPr>
        <p:txBody>
          <a:bodyPr>
            <a:normAutofit/>
          </a:bodyPr>
          <a:lstStyle>
            <a:lvl1pPr marL="0" indent="0">
              <a:buNone/>
              <a:defRPr sz="1400"/>
            </a:lvl1pPr>
          </a:lstStyle>
          <a:p>
            <a:r>
              <a:rPr lang="en-JP"/>
              <a:t>Insert Chart</a:t>
            </a:r>
          </a:p>
        </p:txBody>
      </p:sp>
      <p:sp>
        <p:nvSpPr>
          <p:cNvPr id="9" name="Chart Placeholder 7">
            <a:extLst>
              <a:ext uri="{FF2B5EF4-FFF2-40B4-BE49-F238E27FC236}">
                <a16:creationId xmlns:a16="http://schemas.microsoft.com/office/drawing/2014/main" id="{F1FC7466-185A-8B44-ABF0-5410C1127700}"/>
              </a:ext>
            </a:extLst>
          </p:cNvPr>
          <p:cNvSpPr>
            <a:spLocks noGrp="1"/>
          </p:cNvSpPr>
          <p:nvPr>
            <p:ph type="chart" sz="quarter" idx="22" hasCustomPrompt="1"/>
          </p:nvPr>
        </p:nvSpPr>
        <p:spPr>
          <a:xfrm>
            <a:off x="6206170" y="3076286"/>
            <a:ext cx="5708650" cy="3340389"/>
          </a:xfrm>
          <a:prstGeom prst="rect">
            <a:avLst/>
          </a:prstGeom>
        </p:spPr>
        <p:txBody>
          <a:bodyPr>
            <a:normAutofit/>
          </a:bodyPr>
          <a:lstStyle>
            <a:lvl1pPr marL="0" indent="0">
              <a:buNone/>
              <a:defRPr sz="1400"/>
            </a:lvl1pPr>
          </a:lstStyle>
          <a:p>
            <a:r>
              <a:rPr lang="en-JP"/>
              <a:t>Insert Chart</a:t>
            </a:r>
          </a:p>
        </p:txBody>
      </p:sp>
      <p:pic>
        <p:nvPicPr>
          <p:cNvPr id="10" name="Picture 9" descr="Takeda">
            <a:extLst>
              <a:ext uri="{FF2B5EF4-FFF2-40B4-BE49-F238E27FC236}">
                <a16:creationId xmlns:a16="http://schemas.microsoft.com/office/drawing/2014/main" id="{F183604A-2112-D443-8B35-2DFEE7121A6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46331" y="-1615"/>
            <a:ext cx="1696232" cy="940780"/>
          </a:xfrm>
          <a:prstGeom prst="rect">
            <a:avLst/>
          </a:prstGeom>
        </p:spPr>
      </p:pic>
      <p:sp>
        <p:nvSpPr>
          <p:cNvPr id="12" name="タイトル プレースホルダ 1">
            <a:extLst>
              <a:ext uri="{FF2B5EF4-FFF2-40B4-BE49-F238E27FC236}">
                <a16:creationId xmlns:a16="http://schemas.microsoft.com/office/drawing/2014/main" id="{906CE02B-33D8-B048-A73D-781A3402C2B1}"/>
              </a:ext>
            </a:extLst>
          </p:cNvPr>
          <p:cNvSpPr>
            <a:spLocks noGrp="1"/>
          </p:cNvSpPr>
          <p:nvPr>
            <p:ph type="title" hasCustomPrompt="1"/>
          </p:nvPr>
        </p:nvSpPr>
        <p:spPr>
          <a:xfrm>
            <a:off x="606078" y="161605"/>
            <a:ext cx="9940253" cy="685801"/>
          </a:xfrm>
          <a:prstGeom prst="rect">
            <a:avLst/>
          </a:prstGeom>
        </p:spPr>
        <p:txBody>
          <a:bodyPr vert="horz" lIns="0" tIns="0" rIns="0" bIns="0" rtlCol="0" anchor="ctr">
            <a:normAutofit/>
          </a:bodyPr>
          <a:lstStyle/>
          <a:p>
            <a:r>
              <a:rPr kumimoji="1" lang="en-US" altLang="ja-JP"/>
              <a:t>Click to add title</a:t>
            </a:r>
            <a:endParaRPr kumimoji="1" lang="ja-JP" altLang="en-US"/>
          </a:p>
        </p:txBody>
      </p:sp>
      <p:sp>
        <p:nvSpPr>
          <p:cNvPr id="14" name="Footer Placeholder 8">
            <a:extLst>
              <a:ext uri="{FF2B5EF4-FFF2-40B4-BE49-F238E27FC236}">
                <a16:creationId xmlns:a16="http://schemas.microsoft.com/office/drawing/2014/main" id="{C2587943-8F51-3542-B7BE-5781719445F9}"/>
              </a:ext>
            </a:extLst>
          </p:cNvPr>
          <p:cNvSpPr>
            <a:spLocks noGrp="1"/>
          </p:cNvSpPr>
          <p:nvPr>
            <p:ph type="ftr" sz="quarter" idx="3"/>
          </p:nvPr>
        </p:nvSpPr>
        <p:spPr>
          <a:xfrm>
            <a:off x="7766050" y="6523001"/>
            <a:ext cx="4114800" cy="196131"/>
          </a:xfrm>
          <a:prstGeom prst="rect">
            <a:avLst/>
          </a:prstGeom>
        </p:spPr>
        <p:txBody>
          <a:bodyPr vert="horz" lIns="91440" tIns="45720" rIns="0" bIns="45720" rtlCol="0" anchor="ctr"/>
          <a:lstStyle>
            <a:lvl1pPr algn="r">
              <a:defRPr sz="800" b="1" spc="100" baseline="0">
                <a:solidFill>
                  <a:schemeClr val="tx1"/>
                </a:solidFill>
              </a:defRPr>
            </a:lvl1pPr>
          </a:lstStyle>
          <a:p>
            <a:r>
              <a:rPr lang="en-JP"/>
              <a:t> </a:t>
            </a:r>
          </a:p>
        </p:txBody>
      </p:sp>
      <p:sp>
        <p:nvSpPr>
          <p:cNvPr id="17" name="Rectangle 16">
            <a:extLst>
              <a:ext uri="{FF2B5EF4-FFF2-40B4-BE49-F238E27FC236}">
                <a16:creationId xmlns:a16="http://schemas.microsoft.com/office/drawing/2014/main" id="{B679FB0B-7616-F04F-9B4C-586869A82E96}"/>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a:solidFill>
                <a:schemeClr val="accent1"/>
              </a:solidFill>
            </a:endParaRPr>
          </a:p>
        </p:txBody>
      </p:sp>
      <p:sp>
        <p:nvSpPr>
          <p:cNvPr id="22" name="スライド番号プレースホルダ 5">
            <a:extLst>
              <a:ext uri="{FF2B5EF4-FFF2-40B4-BE49-F238E27FC236}">
                <a16:creationId xmlns:a16="http://schemas.microsoft.com/office/drawing/2014/main" id="{8AFBB1AB-19B7-1347-93F8-D14235DD2317}"/>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3" name="Text Placeholder 6">
            <a:extLst>
              <a:ext uri="{FF2B5EF4-FFF2-40B4-BE49-F238E27FC236}">
                <a16:creationId xmlns:a16="http://schemas.microsoft.com/office/drawing/2014/main" id="{1C168495-CA79-E440-A93B-B87B36748352}"/>
              </a:ext>
            </a:extLst>
          </p:cNvPr>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Private and confidential. For internal use only.</a:t>
            </a:r>
          </a:p>
        </p:txBody>
      </p:sp>
      <p:sp>
        <p:nvSpPr>
          <p:cNvPr id="15" name="Text Placeholder 2">
            <a:extLst>
              <a:ext uri="{FF2B5EF4-FFF2-40B4-BE49-F238E27FC236}">
                <a16:creationId xmlns:a16="http://schemas.microsoft.com/office/drawing/2014/main" id="{F6F06E4B-A978-4E46-AE6C-67B54F7E34D5}"/>
              </a:ext>
            </a:extLst>
          </p:cNvPr>
          <p:cNvSpPr>
            <a:spLocks noGrp="1"/>
          </p:cNvSpPr>
          <p:nvPr>
            <p:ph type="body" sz="quarter" idx="20" hasCustomPrompt="1"/>
          </p:nvPr>
        </p:nvSpPr>
        <p:spPr>
          <a:xfrm>
            <a:off x="311150" y="1491373"/>
            <a:ext cx="11603669" cy="1464957"/>
          </a:xfrm>
        </p:spPr>
        <p:txBody>
          <a:bodyPr tIns="0" rIns="0" bIns="0" numCol="2" spcCol="126000">
            <a:noAutofit/>
          </a:bodyPr>
          <a:lstStyle>
            <a:lvl1pPr marL="0" indent="0">
              <a:lnSpc>
                <a:spcPct val="100000"/>
              </a:lnSpc>
              <a:spcBef>
                <a:spcPts val="0"/>
              </a:spcBef>
              <a:buNone/>
              <a:defRPr sz="1600" b="1"/>
            </a:lvl1pPr>
            <a:lvl2pPr marL="457068" indent="0">
              <a:buNone/>
              <a:defRPr sz="1800" b="1"/>
            </a:lvl2pPr>
            <a:lvl3pPr marL="914149" indent="0">
              <a:buNone/>
              <a:defRPr sz="1800" b="1"/>
            </a:lvl3pPr>
            <a:lvl4pPr marL="1371219" indent="0">
              <a:buNone/>
              <a:defRPr sz="1800" b="1"/>
            </a:lvl4pPr>
            <a:lvl5pPr marL="1828290" indent="0">
              <a:buNone/>
              <a:defRPr sz="1800" b="1"/>
            </a:lvl5pPr>
          </a:lstStyle>
          <a:p>
            <a:pPr lvl="0"/>
            <a:r>
              <a:rPr lang="en-US"/>
              <a:t>This is your Primary Text.</a:t>
            </a:r>
            <a:endParaRPr lang="en-JP"/>
          </a:p>
        </p:txBody>
      </p:sp>
      <p:sp>
        <p:nvSpPr>
          <p:cNvPr id="18" name="Text Placeholder 6">
            <a:extLst>
              <a:ext uri="{FF2B5EF4-FFF2-40B4-BE49-F238E27FC236}">
                <a16:creationId xmlns:a16="http://schemas.microsoft.com/office/drawing/2014/main" id="{3FF373A1-4E48-6C48-A075-153436CF76DC}"/>
              </a:ext>
            </a:extLst>
          </p:cNvPr>
          <p:cNvSpPr>
            <a:spLocks noGrp="1"/>
          </p:cNvSpPr>
          <p:nvPr>
            <p:ph type="body" sz="quarter" idx="23" hasCustomPrompt="1"/>
          </p:nvPr>
        </p:nvSpPr>
        <p:spPr>
          <a:xfrm>
            <a:off x="311149" y="1093767"/>
            <a:ext cx="11603669" cy="272786"/>
          </a:xfrm>
        </p:spPr>
        <p:txBody>
          <a:bodyPr tIns="0" rIns="0" bIns="0" numCol="1">
            <a:noAutofit/>
          </a:bodyPr>
          <a:lstStyle>
            <a:lvl1pPr marL="0" indent="0">
              <a:lnSpc>
                <a:spcPct val="100000"/>
              </a:lnSpc>
              <a:spcBef>
                <a:spcPts val="0"/>
              </a:spcBef>
              <a:spcAft>
                <a:spcPts val="600"/>
              </a:spcAft>
              <a:buNone/>
              <a:defRPr sz="20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Primary Title</a:t>
            </a:r>
          </a:p>
        </p:txBody>
      </p:sp>
    </p:spTree>
    <p:extLst>
      <p:ext uri="{BB962C8B-B14F-4D97-AF65-F5344CB8AC3E}">
        <p14:creationId xmlns:p14="http://schemas.microsoft.com/office/powerpoint/2010/main" val="3927414437"/>
      </p:ext>
    </p:extLst>
  </p:cSld>
  <p:clrMapOvr>
    <a:masterClrMapping/>
  </p:clrMapOvr>
  <p:transition spd="slow">
    <p:push dir="u"/>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Advanced Chart 3 Column">
    <p:spTree>
      <p:nvGrpSpPr>
        <p:cNvPr id="1" name=""/>
        <p:cNvGrpSpPr/>
        <p:nvPr/>
      </p:nvGrpSpPr>
      <p:grpSpPr>
        <a:xfrm>
          <a:off x="0" y="0"/>
          <a:ext cx="0" cy="0"/>
          <a:chOff x="0" y="0"/>
          <a:chExt cx="0" cy="0"/>
        </a:xfrm>
      </p:grpSpPr>
      <p:sp>
        <p:nvSpPr>
          <p:cNvPr id="8" name="Chart Placeholder 7">
            <a:extLst>
              <a:ext uri="{FF2B5EF4-FFF2-40B4-BE49-F238E27FC236}">
                <a16:creationId xmlns:a16="http://schemas.microsoft.com/office/drawing/2014/main" id="{A6D4E593-FDCC-D14E-9C5E-5F309E415C26}"/>
              </a:ext>
            </a:extLst>
          </p:cNvPr>
          <p:cNvSpPr>
            <a:spLocks noGrp="1"/>
          </p:cNvSpPr>
          <p:nvPr>
            <p:ph type="chart" sz="quarter" idx="21" hasCustomPrompt="1"/>
          </p:nvPr>
        </p:nvSpPr>
        <p:spPr>
          <a:xfrm>
            <a:off x="309224" y="3076286"/>
            <a:ext cx="3757810" cy="3340389"/>
          </a:xfrm>
          <a:prstGeom prst="rect">
            <a:avLst/>
          </a:prstGeom>
        </p:spPr>
        <p:txBody>
          <a:bodyPr>
            <a:normAutofit/>
          </a:bodyPr>
          <a:lstStyle>
            <a:lvl1pPr marL="0" indent="0">
              <a:buNone/>
              <a:defRPr sz="1400"/>
            </a:lvl1pPr>
          </a:lstStyle>
          <a:p>
            <a:r>
              <a:rPr lang="en-JP"/>
              <a:t>Insert Chart</a:t>
            </a:r>
          </a:p>
        </p:txBody>
      </p:sp>
      <p:sp>
        <p:nvSpPr>
          <p:cNvPr id="10" name="Chart Placeholder 7">
            <a:extLst>
              <a:ext uri="{FF2B5EF4-FFF2-40B4-BE49-F238E27FC236}">
                <a16:creationId xmlns:a16="http://schemas.microsoft.com/office/drawing/2014/main" id="{8D9BD23C-1777-C442-B4B0-BADF450483EA}"/>
              </a:ext>
            </a:extLst>
          </p:cNvPr>
          <p:cNvSpPr>
            <a:spLocks noGrp="1"/>
          </p:cNvSpPr>
          <p:nvPr>
            <p:ph type="chart" sz="quarter" idx="22" hasCustomPrompt="1"/>
          </p:nvPr>
        </p:nvSpPr>
        <p:spPr>
          <a:xfrm>
            <a:off x="4217095" y="3076286"/>
            <a:ext cx="3757810" cy="3340389"/>
          </a:xfrm>
          <a:prstGeom prst="rect">
            <a:avLst/>
          </a:prstGeom>
        </p:spPr>
        <p:txBody>
          <a:bodyPr>
            <a:normAutofit/>
          </a:bodyPr>
          <a:lstStyle>
            <a:lvl1pPr marL="0" indent="0">
              <a:buNone/>
              <a:defRPr sz="1400"/>
            </a:lvl1pPr>
          </a:lstStyle>
          <a:p>
            <a:r>
              <a:rPr lang="en-JP"/>
              <a:t>Insert Chart</a:t>
            </a:r>
          </a:p>
        </p:txBody>
      </p:sp>
      <p:sp>
        <p:nvSpPr>
          <p:cNvPr id="11" name="Chart Placeholder 7">
            <a:extLst>
              <a:ext uri="{FF2B5EF4-FFF2-40B4-BE49-F238E27FC236}">
                <a16:creationId xmlns:a16="http://schemas.microsoft.com/office/drawing/2014/main" id="{2D7D413C-2FF1-204A-83C6-B7426603B7C2}"/>
              </a:ext>
            </a:extLst>
          </p:cNvPr>
          <p:cNvSpPr>
            <a:spLocks noGrp="1"/>
          </p:cNvSpPr>
          <p:nvPr>
            <p:ph type="chart" sz="quarter" idx="23" hasCustomPrompt="1"/>
          </p:nvPr>
        </p:nvSpPr>
        <p:spPr>
          <a:xfrm>
            <a:off x="8123041" y="3076286"/>
            <a:ext cx="3757810" cy="3340389"/>
          </a:xfrm>
          <a:prstGeom prst="rect">
            <a:avLst/>
          </a:prstGeom>
        </p:spPr>
        <p:txBody>
          <a:bodyPr>
            <a:normAutofit/>
          </a:bodyPr>
          <a:lstStyle>
            <a:lvl1pPr marL="0" indent="0">
              <a:buNone/>
              <a:defRPr sz="1400"/>
            </a:lvl1pPr>
          </a:lstStyle>
          <a:p>
            <a:r>
              <a:rPr lang="en-JP"/>
              <a:t>Insert Chart</a:t>
            </a:r>
          </a:p>
        </p:txBody>
      </p:sp>
      <p:pic>
        <p:nvPicPr>
          <p:cNvPr id="13" name="Picture 12" descr="Takeda">
            <a:extLst>
              <a:ext uri="{FF2B5EF4-FFF2-40B4-BE49-F238E27FC236}">
                <a16:creationId xmlns:a16="http://schemas.microsoft.com/office/drawing/2014/main" id="{0C4979BF-EBB2-214C-8087-7AC4B2163D8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46331" y="-1615"/>
            <a:ext cx="1696232" cy="940780"/>
          </a:xfrm>
          <a:prstGeom prst="rect">
            <a:avLst/>
          </a:prstGeom>
        </p:spPr>
      </p:pic>
      <p:sp>
        <p:nvSpPr>
          <p:cNvPr id="17" name="タイトル プレースホルダ 1">
            <a:extLst>
              <a:ext uri="{FF2B5EF4-FFF2-40B4-BE49-F238E27FC236}">
                <a16:creationId xmlns:a16="http://schemas.microsoft.com/office/drawing/2014/main" id="{2FFB1535-D35E-D242-B225-DDF1C53BB8D4}"/>
              </a:ext>
            </a:extLst>
          </p:cNvPr>
          <p:cNvSpPr>
            <a:spLocks noGrp="1"/>
          </p:cNvSpPr>
          <p:nvPr>
            <p:ph type="title" hasCustomPrompt="1"/>
          </p:nvPr>
        </p:nvSpPr>
        <p:spPr>
          <a:xfrm>
            <a:off x="606078" y="161605"/>
            <a:ext cx="9940253" cy="685801"/>
          </a:xfrm>
          <a:prstGeom prst="rect">
            <a:avLst/>
          </a:prstGeom>
        </p:spPr>
        <p:txBody>
          <a:bodyPr vert="horz" lIns="0" tIns="0" rIns="0" bIns="0" rtlCol="0" anchor="ctr">
            <a:normAutofit/>
          </a:bodyPr>
          <a:lstStyle/>
          <a:p>
            <a:r>
              <a:rPr kumimoji="1" lang="en-US" altLang="ja-JP"/>
              <a:t>Click to add title</a:t>
            </a:r>
            <a:endParaRPr kumimoji="1" lang="ja-JP" altLang="en-US"/>
          </a:p>
        </p:txBody>
      </p:sp>
      <p:sp>
        <p:nvSpPr>
          <p:cNvPr id="19" name="Footer Placeholder 8">
            <a:extLst>
              <a:ext uri="{FF2B5EF4-FFF2-40B4-BE49-F238E27FC236}">
                <a16:creationId xmlns:a16="http://schemas.microsoft.com/office/drawing/2014/main" id="{47DB5E3C-7053-3645-A234-760F5ED1236A}"/>
              </a:ext>
            </a:extLst>
          </p:cNvPr>
          <p:cNvSpPr>
            <a:spLocks noGrp="1"/>
          </p:cNvSpPr>
          <p:nvPr>
            <p:ph type="ftr" sz="quarter" idx="3"/>
          </p:nvPr>
        </p:nvSpPr>
        <p:spPr>
          <a:xfrm>
            <a:off x="7766050" y="6523001"/>
            <a:ext cx="4114800" cy="196131"/>
          </a:xfrm>
          <a:prstGeom prst="rect">
            <a:avLst/>
          </a:prstGeom>
        </p:spPr>
        <p:txBody>
          <a:bodyPr vert="horz" lIns="91440" tIns="45720" rIns="0" bIns="45720" rtlCol="0" anchor="ctr"/>
          <a:lstStyle>
            <a:lvl1pPr algn="r">
              <a:defRPr sz="800" b="1" spc="100" baseline="0">
                <a:solidFill>
                  <a:schemeClr val="tx1"/>
                </a:solidFill>
              </a:defRPr>
            </a:lvl1pPr>
          </a:lstStyle>
          <a:p>
            <a:r>
              <a:rPr lang="en-JP"/>
              <a:t> </a:t>
            </a:r>
          </a:p>
        </p:txBody>
      </p:sp>
      <p:sp>
        <p:nvSpPr>
          <p:cNvPr id="22" name="Rectangle 21">
            <a:extLst>
              <a:ext uri="{FF2B5EF4-FFF2-40B4-BE49-F238E27FC236}">
                <a16:creationId xmlns:a16="http://schemas.microsoft.com/office/drawing/2014/main" id="{DEFC8CB7-67E9-8A46-B53F-F34ACE18BE87}"/>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a:solidFill>
                <a:schemeClr val="accent1"/>
              </a:solidFill>
            </a:endParaRPr>
          </a:p>
        </p:txBody>
      </p:sp>
      <p:sp>
        <p:nvSpPr>
          <p:cNvPr id="25" name="スライド番号プレースホルダ 5">
            <a:extLst>
              <a:ext uri="{FF2B5EF4-FFF2-40B4-BE49-F238E27FC236}">
                <a16:creationId xmlns:a16="http://schemas.microsoft.com/office/drawing/2014/main" id="{5EB1023E-4E73-AD49-83B0-D7B458250C6F}"/>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6" name="Text Placeholder 6">
            <a:extLst>
              <a:ext uri="{FF2B5EF4-FFF2-40B4-BE49-F238E27FC236}">
                <a16:creationId xmlns:a16="http://schemas.microsoft.com/office/drawing/2014/main" id="{4942DB0C-137A-4E4C-B926-77CEECC512A8}"/>
              </a:ext>
            </a:extLst>
          </p:cNvPr>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Private and confidential. For internal use only.</a:t>
            </a:r>
          </a:p>
        </p:txBody>
      </p:sp>
      <p:sp>
        <p:nvSpPr>
          <p:cNvPr id="15" name="Text Placeholder 2">
            <a:extLst>
              <a:ext uri="{FF2B5EF4-FFF2-40B4-BE49-F238E27FC236}">
                <a16:creationId xmlns:a16="http://schemas.microsoft.com/office/drawing/2014/main" id="{AD1171B1-AEC6-164D-8FE0-E0B9353A55BF}"/>
              </a:ext>
            </a:extLst>
          </p:cNvPr>
          <p:cNvSpPr>
            <a:spLocks noGrp="1"/>
          </p:cNvSpPr>
          <p:nvPr>
            <p:ph type="body" sz="quarter" idx="20" hasCustomPrompt="1"/>
          </p:nvPr>
        </p:nvSpPr>
        <p:spPr>
          <a:xfrm>
            <a:off x="311150" y="1491373"/>
            <a:ext cx="11569699" cy="1464957"/>
          </a:xfrm>
        </p:spPr>
        <p:txBody>
          <a:bodyPr tIns="0" rIns="0" bIns="0" numCol="2" spcCol="126000">
            <a:noAutofit/>
          </a:bodyPr>
          <a:lstStyle>
            <a:lvl1pPr marL="0" indent="0">
              <a:lnSpc>
                <a:spcPct val="100000"/>
              </a:lnSpc>
              <a:spcBef>
                <a:spcPts val="0"/>
              </a:spcBef>
              <a:buNone/>
              <a:defRPr sz="1600" b="1"/>
            </a:lvl1pPr>
            <a:lvl2pPr marL="457068" indent="0">
              <a:buNone/>
              <a:defRPr sz="1800" b="1"/>
            </a:lvl2pPr>
            <a:lvl3pPr marL="914149" indent="0">
              <a:buNone/>
              <a:defRPr sz="1800" b="1"/>
            </a:lvl3pPr>
            <a:lvl4pPr marL="1371219" indent="0">
              <a:buNone/>
              <a:defRPr sz="1800" b="1"/>
            </a:lvl4pPr>
            <a:lvl5pPr marL="1828290" indent="0">
              <a:buNone/>
              <a:defRPr sz="1800" b="1"/>
            </a:lvl5pPr>
          </a:lstStyle>
          <a:p>
            <a:pPr lvl="0"/>
            <a:r>
              <a:rPr lang="en-US"/>
              <a:t>This is your Primary Text.</a:t>
            </a:r>
            <a:endParaRPr lang="en-JP"/>
          </a:p>
        </p:txBody>
      </p:sp>
      <p:sp>
        <p:nvSpPr>
          <p:cNvPr id="18" name="Text Placeholder 6">
            <a:extLst>
              <a:ext uri="{FF2B5EF4-FFF2-40B4-BE49-F238E27FC236}">
                <a16:creationId xmlns:a16="http://schemas.microsoft.com/office/drawing/2014/main" id="{66C4AA1F-8B09-5544-9C70-388A6E2940C9}"/>
              </a:ext>
            </a:extLst>
          </p:cNvPr>
          <p:cNvSpPr>
            <a:spLocks noGrp="1"/>
          </p:cNvSpPr>
          <p:nvPr>
            <p:ph type="body" sz="quarter" idx="24" hasCustomPrompt="1"/>
          </p:nvPr>
        </p:nvSpPr>
        <p:spPr>
          <a:xfrm>
            <a:off x="311149" y="1093767"/>
            <a:ext cx="11569699" cy="272786"/>
          </a:xfrm>
        </p:spPr>
        <p:txBody>
          <a:bodyPr tIns="0" rIns="0" bIns="0" numCol="1">
            <a:noAutofit/>
          </a:bodyPr>
          <a:lstStyle>
            <a:lvl1pPr marL="0" indent="0">
              <a:lnSpc>
                <a:spcPct val="100000"/>
              </a:lnSpc>
              <a:spcBef>
                <a:spcPts val="0"/>
              </a:spcBef>
              <a:spcAft>
                <a:spcPts val="600"/>
              </a:spcAft>
              <a:buNone/>
              <a:defRPr sz="20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Primary Title</a:t>
            </a:r>
          </a:p>
        </p:txBody>
      </p:sp>
    </p:spTree>
    <p:extLst>
      <p:ext uri="{BB962C8B-B14F-4D97-AF65-F5344CB8AC3E}">
        <p14:creationId xmlns:p14="http://schemas.microsoft.com/office/powerpoint/2010/main" val="863471910"/>
      </p:ext>
    </p:extLst>
  </p:cSld>
  <p:clrMapOvr>
    <a:masterClrMapping/>
  </p:clrMapOvr>
  <p:transition spd="slow">
    <p:push dir="u"/>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Page 2 ">
    <p:spTree>
      <p:nvGrpSpPr>
        <p:cNvPr id="1" name=""/>
        <p:cNvGrpSpPr/>
        <p:nvPr/>
      </p:nvGrpSpPr>
      <p:grpSpPr>
        <a:xfrm>
          <a:off x="0" y="0"/>
          <a:ext cx="0" cy="0"/>
          <a:chOff x="0" y="0"/>
          <a:chExt cx="0" cy="0"/>
        </a:xfrm>
      </p:grpSpPr>
      <p:sp>
        <p:nvSpPr>
          <p:cNvPr id="33" name="Title 1">
            <a:extLst>
              <a:ext uri="{FF2B5EF4-FFF2-40B4-BE49-F238E27FC236}">
                <a16:creationId xmlns:a16="http://schemas.microsoft.com/office/drawing/2014/main" id="{E02383DA-65B3-044E-9E1B-2CC00A0B1CC6}"/>
              </a:ext>
            </a:extLst>
          </p:cNvPr>
          <p:cNvSpPr>
            <a:spLocks noGrp="1"/>
          </p:cNvSpPr>
          <p:nvPr>
            <p:ph type="ctrTitle" hasCustomPrompt="1"/>
          </p:nvPr>
        </p:nvSpPr>
        <p:spPr>
          <a:xfrm>
            <a:off x="1194730" y="2303030"/>
            <a:ext cx="4354731" cy="1125969"/>
          </a:xfrm>
          <a:prstGeom prst="rect">
            <a:avLst/>
          </a:prstGeom>
        </p:spPr>
        <p:txBody>
          <a:bodyPr wrap="square" lIns="0" tIns="0" rIns="0" bIns="0" anchor="t" anchorCtr="0">
            <a:normAutofit/>
          </a:bodyPr>
          <a:lstStyle>
            <a:lvl1pPr>
              <a:lnSpc>
                <a:spcPts val="3800"/>
              </a:lnSpc>
              <a:defRPr sz="3600" b="1" i="0" baseline="0">
                <a:solidFill>
                  <a:schemeClr val="tx1"/>
                </a:solidFill>
                <a:latin typeface="Calibri" panose="020F0502020204030204" pitchFamily="34" charset="0"/>
                <a:ea typeface="メイリオ" pitchFamily="50" charset="-128"/>
                <a:cs typeface="Calibri" pitchFamily="34" charset="0"/>
              </a:defRPr>
            </a:lvl1pPr>
          </a:lstStyle>
          <a:p>
            <a:r>
              <a:rPr lang="en-GB"/>
              <a:t>Click to add title</a:t>
            </a:r>
          </a:p>
        </p:txBody>
      </p:sp>
      <p:sp>
        <p:nvSpPr>
          <p:cNvPr id="20" name="Picture Placeholder 3">
            <a:extLst>
              <a:ext uri="{FF2B5EF4-FFF2-40B4-BE49-F238E27FC236}">
                <a16:creationId xmlns:a16="http://schemas.microsoft.com/office/drawing/2014/main" id="{902F3095-EA6E-F94A-AF04-18ED691DEB75}"/>
              </a:ext>
            </a:extLst>
          </p:cNvPr>
          <p:cNvSpPr>
            <a:spLocks noGrp="1"/>
          </p:cNvSpPr>
          <p:nvPr>
            <p:ph type="pic" sz="quarter" idx="17"/>
          </p:nvPr>
        </p:nvSpPr>
        <p:spPr>
          <a:xfrm>
            <a:off x="5866513" y="376180"/>
            <a:ext cx="6326533" cy="6108535"/>
          </a:xfrm>
          <a:custGeom>
            <a:avLst/>
            <a:gdLst>
              <a:gd name="connsiteX0" fmla="*/ 0 w 6462532"/>
              <a:gd name="connsiteY0" fmla="*/ 3052818 h 6105636"/>
              <a:gd name="connsiteX1" fmla="*/ 3052818 w 6462532"/>
              <a:gd name="connsiteY1" fmla="*/ 0 h 6105636"/>
              <a:gd name="connsiteX2" fmla="*/ 3409714 w 6462532"/>
              <a:gd name="connsiteY2" fmla="*/ 0 h 6105636"/>
              <a:gd name="connsiteX3" fmla="*/ 6462532 w 6462532"/>
              <a:gd name="connsiteY3" fmla="*/ 3052818 h 6105636"/>
              <a:gd name="connsiteX4" fmla="*/ 6462532 w 6462532"/>
              <a:gd name="connsiteY4" fmla="*/ 3052818 h 6105636"/>
              <a:gd name="connsiteX5" fmla="*/ 3409714 w 6462532"/>
              <a:gd name="connsiteY5" fmla="*/ 6105636 h 6105636"/>
              <a:gd name="connsiteX6" fmla="*/ 3052818 w 6462532"/>
              <a:gd name="connsiteY6" fmla="*/ 6105636 h 6105636"/>
              <a:gd name="connsiteX7" fmla="*/ 0 w 6462532"/>
              <a:gd name="connsiteY7" fmla="*/ 3052818 h 6105636"/>
              <a:gd name="connsiteX0" fmla="*/ 0 w 7309764"/>
              <a:gd name="connsiteY0" fmla="*/ 3052818 h 6105636"/>
              <a:gd name="connsiteX1" fmla="*/ 3052818 w 7309764"/>
              <a:gd name="connsiteY1" fmla="*/ 0 h 6105636"/>
              <a:gd name="connsiteX2" fmla="*/ 6592752 w 7309764"/>
              <a:gd name="connsiteY2" fmla="*/ 46298 h 6105636"/>
              <a:gd name="connsiteX3" fmla="*/ 6462532 w 7309764"/>
              <a:gd name="connsiteY3" fmla="*/ 3052818 h 6105636"/>
              <a:gd name="connsiteX4" fmla="*/ 6462532 w 7309764"/>
              <a:gd name="connsiteY4" fmla="*/ 3052818 h 6105636"/>
              <a:gd name="connsiteX5" fmla="*/ 3409714 w 7309764"/>
              <a:gd name="connsiteY5" fmla="*/ 6105636 h 6105636"/>
              <a:gd name="connsiteX6" fmla="*/ 3052818 w 7309764"/>
              <a:gd name="connsiteY6" fmla="*/ 6105636 h 6105636"/>
              <a:gd name="connsiteX7" fmla="*/ 0 w 7309764"/>
              <a:gd name="connsiteY7" fmla="*/ 3052818 h 6105636"/>
              <a:gd name="connsiteX0" fmla="*/ 0 w 7309764"/>
              <a:gd name="connsiteY0" fmla="*/ 3060215 h 6113033"/>
              <a:gd name="connsiteX1" fmla="*/ 3052818 w 7309764"/>
              <a:gd name="connsiteY1" fmla="*/ 7397 h 6113033"/>
              <a:gd name="connsiteX2" fmla="*/ 6592752 w 7309764"/>
              <a:gd name="connsiteY2" fmla="*/ 53695 h 6113033"/>
              <a:gd name="connsiteX3" fmla="*/ 6462532 w 7309764"/>
              <a:gd name="connsiteY3" fmla="*/ 3060215 h 6113033"/>
              <a:gd name="connsiteX4" fmla="*/ 6462532 w 7309764"/>
              <a:gd name="connsiteY4" fmla="*/ 3060215 h 6113033"/>
              <a:gd name="connsiteX5" fmla="*/ 3409714 w 7309764"/>
              <a:gd name="connsiteY5" fmla="*/ 6113033 h 6113033"/>
              <a:gd name="connsiteX6" fmla="*/ 3052818 w 7309764"/>
              <a:gd name="connsiteY6" fmla="*/ 6113033 h 6113033"/>
              <a:gd name="connsiteX7" fmla="*/ 0 w 7309764"/>
              <a:gd name="connsiteY7" fmla="*/ 3060215 h 6113033"/>
              <a:gd name="connsiteX0" fmla="*/ 0 w 7309764"/>
              <a:gd name="connsiteY0" fmla="*/ 3052818 h 6105636"/>
              <a:gd name="connsiteX1" fmla="*/ 3052818 w 7309764"/>
              <a:gd name="connsiteY1" fmla="*/ 0 h 6105636"/>
              <a:gd name="connsiteX2" fmla="*/ 6592752 w 7309764"/>
              <a:gd name="connsiteY2" fmla="*/ 46298 h 6105636"/>
              <a:gd name="connsiteX3" fmla="*/ 6462532 w 7309764"/>
              <a:gd name="connsiteY3" fmla="*/ 3052818 h 6105636"/>
              <a:gd name="connsiteX4" fmla="*/ 6462532 w 7309764"/>
              <a:gd name="connsiteY4" fmla="*/ 3052818 h 6105636"/>
              <a:gd name="connsiteX5" fmla="*/ 3409714 w 7309764"/>
              <a:gd name="connsiteY5" fmla="*/ 6105636 h 6105636"/>
              <a:gd name="connsiteX6" fmla="*/ 3052818 w 7309764"/>
              <a:gd name="connsiteY6" fmla="*/ 6105636 h 6105636"/>
              <a:gd name="connsiteX7" fmla="*/ 0 w 7309764"/>
              <a:gd name="connsiteY7" fmla="*/ 3052818 h 6105636"/>
              <a:gd name="connsiteX0" fmla="*/ 0 w 7162978"/>
              <a:gd name="connsiteY0" fmla="*/ 3052818 h 6105636"/>
              <a:gd name="connsiteX1" fmla="*/ 3052818 w 7162978"/>
              <a:gd name="connsiteY1" fmla="*/ 0 h 6105636"/>
              <a:gd name="connsiteX2" fmla="*/ 6395982 w 7162978"/>
              <a:gd name="connsiteY2" fmla="*/ 11574 h 6105636"/>
              <a:gd name="connsiteX3" fmla="*/ 6462532 w 7162978"/>
              <a:gd name="connsiteY3" fmla="*/ 3052818 h 6105636"/>
              <a:gd name="connsiteX4" fmla="*/ 6462532 w 7162978"/>
              <a:gd name="connsiteY4" fmla="*/ 3052818 h 6105636"/>
              <a:gd name="connsiteX5" fmla="*/ 3409714 w 7162978"/>
              <a:gd name="connsiteY5" fmla="*/ 6105636 h 6105636"/>
              <a:gd name="connsiteX6" fmla="*/ 3052818 w 7162978"/>
              <a:gd name="connsiteY6" fmla="*/ 6105636 h 6105636"/>
              <a:gd name="connsiteX7" fmla="*/ 0 w 7162978"/>
              <a:gd name="connsiteY7" fmla="*/ 3052818 h 6105636"/>
              <a:gd name="connsiteX0" fmla="*/ 0 w 7162978"/>
              <a:gd name="connsiteY0" fmla="*/ 3052818 h 6105636"/>
              <a:gd name="connsiteX1" fmla="*/ 3052818 w 7162978"/>
              <a:gd name="connsiteY1" fmla="*/ 0 h 6105636"/>
              <a:gd name="connsiteX2" fmla="*/ 6395982 w 7162978"/>
              <a:gd name="connsiteY2" fmla="*/ 11574 h 6105636"/>
              <a:gd name="connsiteX3" fmla="*/ 6462532 w 7162978"/>
              <a:gd name="connsiteY3" fmla="*/ 3052818 h 6105636"/>
              <a:gd name="connsiteX4" fmla="*/ 6462532 w 7162978"/>
              <a:gd name="connsiteY4" fmla="*/ 3052818 h 6105636"/>
              <a:gd name="connsiteX5" fmla="*/ 3409714 w 7162978"/>
              <a:gd name="connsiteY5" fmla="*/ 6105636 h 6105636"/>
              <a:gd name="connsiteX6" fmla="*/ 3052818 w 7162978"/>
              <a:gd name="connsiteY6" fmla="*/ 6105636 h 6105636"/>
              <a:gd name="connsiteX7" fmla="*/ 0 w 7162978"/>
              <a:gd name="connsiteY7" fmla="*/ 3052818 h 6105636"/>
              <a:gd name="connsiteX0" fmla="*/ 0 w 7162978"/>
              <a:gd name="connsiteY0" fmla="*/ 3052818 h 6105636"/>
              <a:gd name="connsiteX1" fmla="*/ 3052818 w 7162978"/>
              <a:gd name="connsiteY1" fmla="*/ 0 h 6105636"/>
              <a:gd name="connsiteX2" fmla="*/ 6395982 w 7162978"/>
              <a:gd name="connsiteY2" fmla="*/ 11574 h 6105636"/>
              <a:gd name="connsiteX3" fmla="*/ 6462532 w 7162978"/>
              <a:gd name="connsiteY3" fmla="*/ 3052818 h 6105636"/>
              <a:gd name="connsiteX4" fmla="*/ 6462532 w 7162978"/>
              <a:gd name="connsiteY4" fmla="*/ 3052818 h 6105636"/>
              <a:gd name="connsiteX5" fmla="*/ 3409714 w 7162978"/>
              <a:gd name="connsiteY5" fmla="*/ 6105636 h 6105636"/>
              <a:gd name="connsiteX6" fmla="*/ 3052818 w 7162978"/>
              <a:gd name="connsiteY6" fmla="*/ 6105636 h 6105636"/>
              <a:gd name="connsiteX7" fmla="*/ 0 w 7162978"/>
              <a:gd name="connsiteY7" fmla="*/ 3052818 h 6105636"/>
              <a:gd name="connsiteX0" fmla="*/ 0 w 7162978"/>
              <a:gd name="connsiteY0" fmla="*/ 3052818 h 6105636"/>
              <a:gd name="connsiteX1" fmla="*/ 3052818 w 7162978"/>
              <a:gd name="connsiteY1" fmla="*/ 0 h 6105636"/>
              <a:gd name="connsiteX2" fmla="*/ 6395982 w 7162978"/>
              <a:gd name="connsiteY2" fmla="*/ 11574 h 6105636"/>
              <a:gd name="connsiteX3" fmla="*/ 6462532 w 7162978"/>
              <a:gd name="connsiteY3" fmla="*/ 3052818 h 6105636"/>
              <a:gd name="connsiteX4" fmla="*/ 6462532 w 7162978"/>
              <a:gd name="connsiteY4" fmla="*/ 3052818 h 6105636"/>
              <a:gd name="connsiteX5" fmla="*/ 3409714 w 7162978"/>
              <a:gd name="connsiteY5" fmla="*/ 6105636 h 6105636"/>
              <a:gd name="connsiteX6" fmla="*/ 3052818 w 7162978"/>
              <a:gd name="connsiteY6" fmla="*/ 6105636 h 6105636"/>
              <a:gd name="connsiteX7" fmla="*/ 0 w 7162978"/>
              <a:gd name="connsiteY7" fmla="*/ 3052818 h 6105636"/>
              <a:gd name="connsiteX0" fmla="*/ 0 w 6750471"/>
              <a:gd name="connsiteY0" fmla="*/ 3052818 h 6105636"/>
              <a:gd name="connsiteX1" fmla="*/ 3052818 w 6750471"/>
              <a:gd name="connsiteY1" fmla="*/ 0 h 6105636"/>
              <a:gd name="connsiteX2" fmla="*/ 6395982 w 6750471"/>
              <a:gd name="connsiteY2" fmla="*/ 11574 h 6105636"/>
              <a:gd name="connsiteX3" fmla="*/ 6462532 w 6750471"/>
              <a:gd name="connsiteY3" fmla="*/ 3052818 h 6105636"/>
              <a:gd name="connsiteX4" fmla="*/ 6462532 w 6750471"/>
              <a:gd name="connsiteY4" fmla="*/ 3052818 h 6105636"/>
              <a:gd name="connsiteX5" fmla="*/ 3409714 w 6750471"/>
              <a:gd name="connsiteY5" fmla="*/ 6105636 h 6105636"/>
              <a:gd name="connsiteX6" fmla="*/ 3052818 w 6750471"/>
              <a:gd name="connsiteY6" fmla="*/ 6105636 h 6105636"/>
              <a:gd name="connsiteX7" fmla="*/ 0 w 6750471"/>
              <a:gd name="connsiteY7" fmla="*/ 3052818 h 6105636"/>
              <a:gd name="connsiteX0" fmla="*/ 0 w 6462532"/>
              <a:gd name="connsiteY0" fmla="*/ 3052818 h 6105636"/>
              <a:gd name="connsiteX1" fmla="*/ 3052818 w 6462532"/>
              <a:gd name="connsiteY1" fmla="*/ 0 h 6105636"/>
              <a:gd name="connsiteX2" fmla="*/ 6395982 w 6462532"/>
              <a:gd name="connsiteY2" fmla="*/ 11574 h 6105636"/>
              <a:gd name="connsiteX3" fmla="*/ 6462532 w 6462532"/>
              <a:gd name="connsiteY3" fmla="*/ 3052818 h 6105636"/>
              <a:gd name="connsiteX4" fmla="*/ 6462532 w 6462532"/>
              <a:gd name="connsiteY4" fmla="*/ 3052818 h 6105636"/>
              <a:gd name="connsiteX5" fmla="*/ 3409714 w 6462532"/>
              <a:gd name="connsiteY5" fmla="*/ 6105636 h 6105636"/>
              <a:gd name="connsiteX6" fmla="*/ 3052818 w 6462532"/>
              <a:gd name="connsiteY6" fmla="*/ 6105636 h 6105636"/>
              <a:gd name="connsiteX7" fmla="*/ 0 w 6462532"/>
              <a:gd name="connsiteY7" fmla="*/ 3052818 h 6105636"/>
              <a:gd name="connsiteX0" fmla="*/ 0 w 6477004"/>
              <a:gd name="connsiteY0" fmla="*/ 3052819 h 6105637"/>
              <a:gd name="connsiteX1" fmla="*/ 3052818 w 6477004"/>
              <a:gd name="connsiteY1" fmla="*/ 1 h 6105637"/>
              <a:gd name="connsiteX2" fmla="*/ 6477004 w 6477004"/>
              <a:gd name="connsiteY2" fmla="*/ 0 h 6105637"/>
              <a:gd name="connsiteX3" fmla="*/ 6462532 w 6477004"/>
              <a:gd name="connsiteY3" fmla="*/ 3052819 h 6105637"/>
              <a:gd name="connsiteX4" fmla="*/ 6462532 w 6477004"/>
              <a:gd name="connsiteY4" fmla="*/ 3052819 h 6105637"/>
              <a:gd name="connsiteX5" fmla="*/ 3409714 w 6477004"/>
              <a:gd name="connsiteY5" fmla="*/ 6105637 h 6105637"/>
              <a:gd name="connsiteX6" fmla="*/ 3052818 w 6477004"/>
              <a:gd name="connsiteY6" fmla="*/ 6105637 h 6105637"/>
              <a:gd name="connsiteX7" fmla="*/ 0 w 6477004"/>
              <a:gd name="connsiteY7" fmla="*/ 3052819 h 6105637"/>
              <a:gd name="connsiteX0" fmla="*/ 0 w 6477004"/>
              <a:gd name="connsiteY0" fmla="*/ 3052819 h 6105637"/>
              <a:gd name="connsiteX1" fmla="*/ 3052818 w 6477004"/>
              <a:gd name="connsiteY1" fmla="*/ 1 h 6105637"/>
              <a:gd name="connsiteX2" fmla="*/ 6477004 w 6477004"/>
              <a:gd name="connsiteY2" fmla="*/ 0 h 6105637"/>
              <a:gd name="connsiteX3" fmla="*/ 6462532 w 6477004"/>
              <a:gd name="connsiteY3" fmla="*/ 3052819 h 6105637"/>
              <a:gd name="connsiteX4" fmla="*/ 5756477 w 6477004"/>
              <a:gd name="connsiteY4" fmla="*/ 3018095 h 6105637"/>
              <a:gd name="connsiteX5" fmla="*/ 3409714 w 6477004"/>
              <a:gd name="connsiteY5" fmla="*/ 6105637 h 6105637"/>
              <a:gd name="connsiteX6" fmla="*/ 3052818 w 6477004"/>
              <a:gd name="connsiteY6" fmla="*/ 6105637 h 6105637"/>
              <a:gd name="connsiteX7" fmla="*/ 0 w 6477004"/>
              <a:gd name="connsiteY7" fmla="*/ 3052819 h 6105637"/>
              <a:gd name="connsiteX0" fmla="*/ 0 w 6477004"/>
              <a:gd name="connsiteY0" fmla="*/ 3052819 h 6105637"/>
              <a:gd name="connsiteX1" fmla="*/ 3052818 w 6477004"/>
              <a:gd name="connsiteY1" fmla="*/ 1 h 6105637"/>
              <a:gd name="connsiteX2" fmla="*/ 6477004 w 6477004"/>
              <a:gd name="connsiteY2" fmla="*/ 0 h 6105637"/>
              <a:gd name="connsiteX3" fmla="*/ 6462532 w 6477004"/>
              <a:gd name="connsiteY3" fmla="*/ 3052819 h 6105637"/>
              <a:gd name="connsiteX4" fmla="*/ 3409714 w 6477004"/>
              <a:gd name="connsiteY4" fmla="*/ 6105637 h 6105637"/>
              <a:gd name="connsiteX5" fmla="*/ 3052818 w 6477004"/>
              <a:gd name="connsiteY5" fmla="*/ 6105637 h 6105637"/>
              <a:gd name="connsiteX6" fmla="*/ 0 w 6477004"/>
              <a:gd name="connsiteY6" fmla="*/ 3052819 h 6105637"/>
              <a:gd name="connsiteX0" fmla="*/ 0 w 6477004"/>
              <a:gd name="connsiteY0" fmla="*/ 3052819 h 6108535"/>
              <a:gd name="connsiteX1" fmla="*/ 3052818 w 6477004"/>
              <a:gd name="connsiteY1" fmla="*/ 1 h 6108535"/>
              <a:gd name="connsiteX2" fmla="*/ 6477004 w 6477004"/>
              <a:gd name="connsiteY2" fmla="*/ 0 h 6108535"/>
              <a:gd name="connsiteX3" fmla="*/ 6462532 w 6477004"/>
              <a:gd name="connsiteY3" fmla="*/ 6108535 h 6108535"/>
              <a:gd name="connsiteX4" fmla="*/ 3409714 w 6477004"/>
              <a:gd name="connsiteY4" fmla="*/ 6105637 h 6108535"/>
              <a:gd name="connsiteX5" fmla="*/ 3052818 w 6477004"/>
              <a:gd name="connsiteY5" fmla="*/ 6105637 h 6108535"/>
              <a:gd name="connsiteX6" fmla="*/ 0 w 6477004"/>
              <a:gd name="connsiteY6" fmla="*/ 3052819 h 6108535"/>
              <a:gd name="connsiteX0" fmla="*/ 0 w 6477004"/>
              <a:gd name="connsiteY0" fmla="*/ 3052819 h 6108535"/>
              <a:gd name="connsiteX1" fmla="*/ 3052818 w 6477004"/>
              <a:gd name="connsiteY1" fmla="*/ 1 h 6108535"/>
              <a:gd name="connsiteX2" fmla="*/ 6477004 w 6477004"/>
              <a:gd name="connsiteY2" fmla="*/ 0 h 6108535"/>
              <a:gd name="connsiteX3" fmla="*/ 6323635 w 6477004"/>
              <a:gd name="connsiteY3" fmla="*/ 6108535 h 6108535"/>
              <a:gd name="connsiteX4" fmla="*/ 3409714 w 6477004"/>
              <a:gd name="connsiteY4" fmla="*/ 6105637 h 6108535"/>
              <a:gd name="connsiteX5" fmla="*/ 3052818 w 6477004"/>
              <a:gd name="connsiteY5" fmla="*/ 6105637 h 6108535"/>
              <a:gd name="connsiteX6" fmla="*/ 0 w 6477004"/>
              <a:gd name="connsiteY6" fmla="*/ 3052819 h 6108535"/>
              <a:gd name="connsiteX0" fmla="*/ 0 w 6326533"/>
              <a:gd name="connsiteY0" fmla="*/ 3052819 h 6108535"/>
              <a:gd name="connsiteX1" fmla="*/ 3052818 w 6326533"/>
              <a:gd name="connsiteY1" fmla="*/ 1 h 6108535"/>
              <a:gd name="connsiteX2" fmla="*/ 6326533 w 6326533"/>
              <a:gd name="connsiteY2" fmla="*/ 0 h 6108535"/>
              <a:gd name="connsiteX3" fmla="*/ 6323635 w 6326533"/>
              <a:gd name="connsiteY3" fmla="*/ 6108535 h 6108535"/>
              <a:gd name="connsiteX4" fmla="*/ 3409714 w 6326533"/>
              <a:gd name="connsiteY4" fmla="*/ 6105637 h 6108535"/>
              <a:gd name="connsiteX5" fmla="*/ 3052818 w 6326533"/>
              <a:gd name="connsiteY5" fmla="*/ 6105637 h 6108535"/>
              <a:gd name="connsiteX6" fmla="*/ 0 w 6326533"/>
              <a:gd name="connsiteY6" fmla="*/ 3052819 h 61085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326533" h="6108535">
                <a:moveTo>
                  <a:pt x="0" y="3052819"/>
                </a:moveTo>
                <a:cubicBezTo>
                  <a:pt x="0" y="1366794"/>
                  <a:pt x="1366793" y="1"/>
                  <a:pt x="3052818" y="1"/>
                </a:cubicBezTo>
                <a:lnTo>
                  <a:pt x="6326533" y="0"/>
                </a:lnTo>
                <a:lnTo>
                  <a:pt x="6323635" y="6108535"/>
                </a:lnTo>
                <a:lnTo>
                  <a:pt x="3409714" y="6105637"/>
                </a:lnTo>
                <a:lnTo>
                  <a:pt x="3052818" y="6105637"/>
                </a:lnTo>
                <a:cubicBezTo>
                  <a:pt x="1366793" y="6105637"/>
                  <a:pt x="0" y="4738844"/>
                  <a:pt x="0" y="3052819"/>
                </a:cubicBezTo>
                <a:close/>
              </a:path>
            </a:pathLst>
          </a:custGeom>
          <a:noFill/>
        </p:spPr>
        <p:txBody>
          <a:bodyPr>
            <a:normAutofit/>
          </a:bodyPr>
          <a:lstStyle>
            <a:lvl1pPr marL="0" indent="0">
              <a:buNone/>
              <a:defRPr sz="2400">
                <a:solidFill>
                  <a:schemeClr val="bg1"/>
                </a:solidFill>
              </a:defRPr>
            </a:lvl1pPr>
          </a:lstStyle>
          <a:p>
            <a:r>
              <a:rPr lang="en-US"/>
              <a:t>Click icon to add picture</a:t>
            </a:r>
          </a:p>
        </p:txBody>
      </p:sp>
      <p:pic>
        <p:nvPicPr>
          <p:cNvPr id="9" name="Picture 8" descr="Takeda">
            <a:extLst>
              <a:ext uri="{FF2B5EF4-FFF2-40B4-BE49-F238E27FC236}">
                <a16:creationId xmlns:a16="http://schemas.microsoft.com/office/drawing/2014/main" id="{F83AE827-0C93-0344-8F1E-82C9D7F8CD5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74417" y="-10972"/>
            <a:ext cx="2251710" cy="1248865"/>
          </a:xfrm>
          <a:prstGeom prst="rect">
            <a:avLst/>
          </a:prstGeom>
        </p:spPr>
      </p:pic>
      <p:pic>
        <p:nvPicPr>
          <p:cNvPr id="19" name="Picture 18">
            <a:extLst>
              <a:ext uri="{FF2B5EF4-FFF2-40B4-BE49-F238E27FC236}">
                <a16:creationId xmlns:a16="http://schemas.microsoft.com/office/drawing/2014/main" id="{C219044E-3CA3-8043-AF11-ED42DE4ECFF4}"/>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94730" y="6367253"/>
            <a:ext cx="1958578" cy="117462"/>
          </a:xfrm>
          <a:prstGeom prst="rect">
            <a:avLst/>
          </a:prstGeom>
        </p:spPr>
      </p:pic>
      <p:sp>
        <p:nvSpPr>
          <p:cNvPr id="28" name="Rectangle 27">
            <a:extLst>
              <a:ext uri="{FF2B5EF4-FFF2-40B4-BE49-F238E27FC236}">
                <a16:creationId xmlns:a16="http://schemas.microsoft.com/office/drawing/2014/main" id="{92F9C2FE-7E43-3948-92F0-0CEA804BDBFE}"/>
              </a:ext>
            </a:extLst>
          </p:cNvPr>
          <p:cNvSpPr/>
          <p:nvPr userDrawn="1"/>
        </p:nvSpPr>
        <p:spPr>
          <a:xfrm>
            <a:off x="749005" y="2110246"/>
            <a:ext cx="97200" cy="270718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kumimoji="0" lang="en-US" altLang="en-US" sz="1800">
              <a:solidFill>
                <a:srgbClr val="FFFFFF"/>
              </a:solidFill>
            </a:endParaRPr>
          </a:p>
        </p:txBody>
      </p:sp>
      <p:sp>
        <p:nvSpPr>
          <p:cNvPr id="29" name="Text Placeholder 2">
            <a:extLst>
              <a:ext uri="{FF2B5EF4-FFF2-40B4-BE49-F238E27FC236}">
                <a16:creationId xmlns:a16="http://schemas.microsoft.com/office/drawing/2014/main" id="{8F239D86-1AC3-1D48-9675-22CEFBB263F8}"/>
              </a:ext>
            </a:extLst>
          </p:cNvPr>
          <p:cNvSpPr>
            <a:spLocks noGrp="1"/>
          </p:cNvSpPr>
          <p:nvPr>
            <p:ph type="body" sz="quarter" idx="27" hasCustomPrompt="1"/>
          </p:nvPr>
        </p:nvSpPr>
        <p:spPr>
          <a:xfrm>
            <a:off x="1194729" y="3835926"/>
            <a:ext cx="4354732" cy="234001"/>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068" indent="0">
              <a:buNone/>
              <a:defRPr sz="1400">
                <a:solidFill>
                  <a:schemeClr val="tx1"/>
                </a:solidFill>
              </a:defRPr>
            </a:lvl2pPr>
            <a:lvl3pPr marL="914149" indent="0">
              <a:buNone/>
              <a:defRPr sz="1400">
                <a:solidFill>
                  <a:schemeClr val="tx1"/>
                </a:solidFill>
              </a:defRPr>
            </a:lvl3pPr>
            <a:lvl4pPr marL="1371219" indent="0">
              <a:buNone/>
              <a:defRPr sz="1400">
                <a:solidFill>
                  <a:schemeClr val="tx1"/>
                </a:solidFill>
              </a:defRPr>
            </a:lvl4pPr>
            <a:lvl5pPr marL="1828290" indent="0">
              <a:buNone/>
              <a:defRPr sz="1400">
                <a:solidFill>
                  <a:schemeClr val="tx1"/>
                </a:solidFill>
              </a:defRPr>
            </a:lvl5pPr>
          </a:lstStyle>
          <a:p>
            <a:pPr lvl="0"/>
            <a:r>
              <a:rPr lang="en-US"/>
              <a:t>Title of Position</a:t>
            </a:r>
          </a:p>
        </p:txBody>
      </p:sp>
      <p:sp>
        <p:nvSpPr>
          <p:cNvPr id="30" name="Text Placeholder 2">
            <a:extLst>
              <a:ext uri="{FF2B5EF4-FFF2-40B4-BE49-F238E27FC236}">
                <a16:creationId xmlns:a16="http://schemas.microsoft.com/office/drawing/2014/main" id="{91BF6710-27B9-2444-8317-2C64F0D30847}"/>
              </a:ext>
            </a:extLst>
          </p:cNvPr>
          <p:cNvSpPr>
            <a:spLocks noGrp="1"/>
          </p:cNvSpPr>
          <p:nvPr>
            <p:ph type="body" sz="quarter" idx="28" hasCustomPrompt="1"/>
          </p:nvPr>
        </p:nvSpPr>
        <p:spPr>
          <a:xfrm>
            <a:off x="1194729" y="4094940"/>
            <a:ext cx="4354732" cy="234001"/>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068" indent="0">
              <a:buNone/>
              <a:defRPr sz="1400">
                <a:solidFill>
                  <a:schemeClr val="tx1"/>
                </a:solidFill>
              </a:defRPr>
            </a:lvl2pPr>
            <a:lvl3pPr marL="914149" indent="0">
              <a:buNone/>
              <a:defRPr sz="1400">
                <a:solidFill>
                  <a:schemeClr val="tx1"/>
                </a:solidFill>
              </a:defRPr>
            </a:lvl3pPr>
            <a:lvl4pPr marL="1371219" indent="0">
              <a:buNone/>
              <a:defRPr sz="1400">
                <a:solidFill>
                  <a:schemeClr val="tx1"/>
                </a:solidFill>
              </a:defRPr>
            </a:lvl4pPr>
            <a:lvl5pPr marL="1828290" indent="0">
              <a:buNone/>
              <a:defRPr sz="1400">
                <a:solidFill>
                  <a:schemeClr val="tx1"/>
                </a:solidFill>
              </a:defRPr>
            </a:lvl5pPr>
          </a:lstStyle>
          <a:p>
            <a:pPr lvl="0"/>
            <a:r>
              <a:rPr lang="en-US"/>
              <a:t>Department</a:t>
            </a:r>
          </a:p>
        </p:txBody>
      </p:sp>
      <p:sp>
        <p:nvSpPr>
          <p:cNvPr id="31" name="Text Placeholder 2">
            <a:extLst>
              <a:ext uri="{FF2B5EF4-FFF2-40B4-BE49-F238E27FC236}">
                <a16:creationId xmlns:a16="http://schemas.microsoft.com/office/drawing/2014/main" id="{669B2D41-B11D-9D45-B189-F838AC342B07}"/>
              </a:ext>
            </a:extLst>
          </p:cNvPr>
          <p:cNvSpPr>
            <a:spLocks noGrp="1"/>
          </p:cNvSpPr>
          <p:nvPr>
            <p:ph type="body" sz="quarter" idx="29" hasCustomPrompt="1"/>
          </p:nvPr>
        </p:nvSpPr>
        <p:spPr>
          <a:xfrm>
            <a:off x="1194729" y="4349427"/>
            <a:ext cx="4354732" cy="234001"/>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068" indent="0">
              <a:buNone/>
              <a:defRPr sz="1400">
                <a:solidFill>
                  <a:schemeClr val="tx1"/>
                </a:solidFill>
              </a:defRPr>
            </a:lvl2pPr>
            <a:lvl3pPr marL="914149" indent="0">
              <a:buNone/>
              <a:defRPr sz="1400">
                <a:solidFill>
                  <a:schemeClr val="tx1"/>
                </a:solidFill>
              </a:defRPr>
            </a:lvl3pPr>
            <a:lvl4pPr marL="1371219" indent="0">
              <a:buNone/>
              <a:defRPr sz="1400">
                <a:solidFill>
                  <a:schemeClr val="tx1"/>
                </a:solidFill>
              </a:defRPr>
            </a:lvl4pPr>
            <a:lvl5pPr marL="1828290" indent="0">
              <a:buNone/>
              <a:defRPr sz="1400">
                <a:solidFill>
                  <a:schemeClr val="tx1"/>
                </a:solidFill>
              </a:defRPr>
            </a:lvl5pPr>
          </a:lstStyle>
          <a:p>
            <a:pPr lvl="0"/>
            <a:r>
              <a:rPr lang="en-US"/>
              <a:t>Date</a:t>
            </a:r>
          </a:p>
        </p:txBody>
      </p:sp>
      <p:sp>
        <p:nvSpPr>
          <p:cNvPr id="32" name="Text Placeholder 2">
            <a:extLst>
              <a:ext uri="{FF2B5EF4-FFF2-40B4-BE49-F238E27FC236}">
                <a16:creationId xmlns:a16="http://schemas.microsoft.com/office/drawing/2014/main" id="{D7467C81-9D88-4140-B42C-28DFB5646475}"/>
              </a:ext>
            </a:extLst>
          </p:cNvPr>
          <p:cNvSpPr>
            <a:spLocks noGrp="1"/>
          </p:cNvSpPr>
          <p:nvPr>
            <p:ph type="body" sz="quarter" idx="30" hasCustomPrompt="1"/>
          </p:nvPr>
        </p:nvSpPr>
        <p:spPr>
          <a:xfrm>
            <a:off x="1194729" y="3577405"/>
            <a:ext cx="4354732" cy="234001"/>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068" indent="0">
              <a:buNone/>
              <a:defRPr sz="1400">
                <a:solidFill>
                  <a:schemeClr val="tx1"/>
                </a:solidFill>
              </a:defRPr>
            </a:lvl2pPr>
            <a:lvl3pPr marL="914149" indent="0">
              <a:buNone/>
              <a:defRPr sz="1400">
                <a:solidFill>
                  <a:schemeClr val="tx1"/>
                </a:solidFill>
              </a:defRPr>
            </a:lvl3pPr>
            <a:lvl4pPr marL="1371219" indent="0">
              <a:buNone/>
              <a:defRPr sz="1400">
                <a:solidFill>
                  <a:schemeClr val="tx1"/>
                </a:solidFill>
              </a:defRPr>
            </a:lvl4pPr>
            <a:lvl5pPr marL="1828290" indent="0">
              <a:buNone/>
              <a:defRPr sz="1400">
                <a:solidFill>
                  <a:schemeClr val="tx1"/>
                </a:solidFill>
              </a:defRPr>
            </a:lvl5pPr>
          </a:lstStyle>
          <a:p>
            <a:pPr lvl="0"/>
            <a:r>
              <a:rPr lang="en-US"/>
              <a:t>Presenter Name</a:t>
            </a:r>
          </a:p>
        </p:txBody>
      </p:sp>
    </p:spTree>
    <p:extLst>
      <p:ext uri="{BB962C8B-B14F-4D97-AF65-F5344CB8AC3E}">
        <p14:creationId xmlns:p14="http://schemas.microsoft.com/office/powerpoint/2010/main" val="2900277843"/>
      </p:ext>
    </p:extLst>
  </p:cSld>
  <p:clrMapOvr>
    <a:masterClrMapping/>
  </p:clrMapOvr>
  <p:transition spd="slow">
    <p:push dir="u"/>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Page 1">
    <p:spTree>
      <p:nvGrpSpPr>
        <p:cNvPr id="1" name=""/>
        <p:cNvGrpSpPr/>
        <p:nvPr/>
      </p:nvGrpSpPr>
      <p:grpSpPr>
        <a:xfrm>
          <a:off x="0" y="0"/>
          <a:ext cx="0" cy="0"/>
          <a:chOff x="0" y="0"/>
          <a:chExt cx="0" cy="0"/>
        </a:xfrm>
      </p:grpSpPr>
      <p:sp>
        <p:nvSpPr>
          <p:cNvPr id="6" name="Rectangle 6">
            <a:extLst>
              <a:ext uri="{FF2B5EF4-FFF2-40B4-BE49-F238E27FC236}">
                <a16:creationId xmlns:a16="http://schemas.microsoft.com/office/drawing/2014/main" id="{82B9CECE-7D8F-8C4A-AFC6-A963B1F05594}"/>
              </a:ext>
            </a:extLst>
          </p:cNvPr>
          <p:cNvSpPr/>
          <p:nvPr userDrawn="1"/>
        </p:nvSpPr>
        <p:spPr>
          <a:xfrm>
            <a:off x="0" y="61263"/>
            <a:ext cx="255181" cy="84902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kumimoji="0" lang="en-US" altLang="en-US" sz="1800">
              <a:solidFill>
                <a:schemeClr val="accent1"/>
              </a:solidFill>
            </a:endParaRPr>
          </a:p>
        </p:txBody>
      </p:sp>
      <p:sp>
        <p:nvSpPr>
          <p:cNvPr id="10" name="Picture Placeholder 9">
            <a:extLst>
              <a:ext uri="{FF2B5EF4-FFF2-40B4-BE49-F238E27FC236}">
                <a16:creationId xmlns:a16="http://schemas.microsoft.com/office/drawing/2014/main" id="{91E79114-5B74-9547-8292-DAB8965D43FD}"/>
              </a:ext>
            </a:extLst>
          </p:cNvPr>
          <p:cNvSpPr>
            <a:spLocks noGrp="1"/>
          </p:cNvSpPr>
          <p:nvPr>
            <p:ph type="pic" sz="quarter" idx="10"/>
          </p:nvPr>
        </p:nvSpPr>
        <p:spPr>
          <a:xfrm>
            <a:off x="749005" y="506"/>
            <a:ext cx="11459359" cy="3428494"/>
          </a:xfrm>
          <a:custGeom>
            <a:avLst/>
            <a:gdLst>
              <a:gd name="connsiteX0" fmla="*/ 0 w 10888662"/>
              <a:gd name="connsiteY0" fmla="*/ 579722 h 6442075"/>
              <a:gd name="connsiteX1" fmla="*/ 579722 w 10888662"/>
              <a:gd name="connsiteY1" fmla="*/ 0 h 6442075"/>
              <a:gd name="connsiteX2" fmla="*/ 10308940 w 10888662"/>
              <a:gd name="connsiteY2" fmla="*/ 0 h 6442075"/>
              <a:gd name="connsiteX3" fmla="*/ 10888662 w 10888662"/>
              <a:gd name="connsiteY3" fmla="*/ 579722 h 6442075"/>
              <a:gd name="connsiteX4" fmla="*/ 10888662 w 10888662"/>
              <a:gd name="connsiteY4" fmla="*/ 5862353 h 6442075"/>
              <a:gd name="connsiteX5" fmla="*/ 10308940 w 10888662"/>
              <a:gd name="connsiteY5" fmla="*/ 6442075 h 6442075"/>
              <a:gd name="connsiteX6" fmla="*/ 579722 w 10888662"/>
              <a:gd name="connsiteY6" fmla="*/ 6442075 h 6442075"/>
              <a:gd name="connsiteX7" fmla="*/ 0 w 10888662"/>
              <a:gd name="connsiteY7" fmla="*/ 5862353 h 6442075"/>
              <a:gd name="connsiteX8" fmla="*/ 0 w 10888662"/>
              <a:gd name="connsiteY8" fmla="*/ 579722 h 6442075"/>
              <a:gd name="connsiteX0" fmla="*/ 0 w 10888662"/>
              <a:gd name="connsiteY0" fmla="*/ 659657 h 6522010"/>
              <a:gd name="connsiteX1" fmla="*/ 10308940 w 10888662"/>
              <a:gd name="connsiteY1" fmla="*/ 79935 h 6522010"/>
              <a:gd name="connsiteX2" fmla="*/ 10888662 w 10888662"/>
              <a:gd name="connsiteY2" fmla="*/ 659657 h 6522010"/>
              <a:gd name="connsiteX3" fmla="*/ 10888662 w 10888662"/>
              <a:gd name="connsiteY3" fmla="*/ 5942288 h 6522010"/>
              <a:gd name="connsiteX4" fmla="*/ 10308940 w 10888662"/>
              <a:gd name="connsiteY4" fmla="*/ 6522010 h 6522010"/>
              <a:gd name="connsiteX5" fmla="*/ 579722 w 10888662"/>
              <a:gd name="connsiteY5" fmla="*/ 6522010 h 6522010"/>
              <a:gd name="connsiteX6" fmla="*/ 0 w 10888662"/>
              <a:gd name="connsiteY6" fmla="*/ 5942288 h 6522010"/>
              <a:gd name="connsiteX7" fmla="*/ 0 w 10888662"/>
              <a:gd name="connsiteY7" fmla="*/ 659657 h 6522010"/>
              <a:gd name="connsiteX0" fmla="*/ 0 w 10888662"/>
              <a:gd name="connsiteY0" fmla="*/ 579722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579722 h 6442075"/>
              <a:gd name="connsiteX0" fmla="*/ 0 w 10888662"/>
              <a:gd name="connsiteY0" fmla="*/ 129257 h 6569679"/>
              <a:gd name="connsiteX1" fmla="*/ 10308940 w 10888662"/>
              <a:gd name="connsiteY1" fmla="*/ 127604 h 6569679"/>
              <a:gd name="connsiteX2" fmla="*/ 10888662 w 10888662"/>
              <a:gd name="connsiteY2" fmla="*/ 707326 h 6569679"/>
              <a:gd name="connsiteX3" fmla="*/ 10888662 w 10888662"/>
              <a:gd name="connsiteY3" fmla="*/ 5989957 h 6569679"/>
              <a:gd name="connsiteX4" fmla="*/ 10308940 w 10888662"/>
              <a:gd name="connsiteY4" fmla="*/ 6569679 h 6569679"/>
              <a:gd name="connsiteX5" fmla="*/ 579722 w 10888662"/>
              <a:gd name="connsiteY5" fmla="*/ 6569679 h 6569679"/>
              <a:gd name="connsiteX6" fmla="*/ 0 w 10888662"/>
              <a:gd name="connsiteY6" fmla="*/ 5989957 h 6569679"/>
              <a:gd name="connsiteX7" fmla="*/ 0 w 10888662"/>
              <a:gd name="connsiteY7" fmla="*/ 129257 h 6569679"/>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9657299 w 10888662"/>
              <a:gd name="connsiteY4" fmla="*/ 55276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522010"/>
              <a:gd name="connsiteX1" fmla="*/ 10308940 w 10888662"/>
              <a:gd name="connsiteY1" fmla="*/ 0 h 6522010"/>
              <a:gd name="connsiteX2" fmla="*/ 10888662 w 10888662"/>
              <a:gd name="connsiteY2" fmla="*/ 579722 h 6522010"/>
              <a:gd name="connsiteX3" fmla="*/ 10888662 w 10888662"/>
              <a:gd name="connsiteY3" fmla="*/ 5862353 h 6522010"/>
              <a:gd name="connsiteX4" fmla="*/ 579722 w 10888662"/>
              <a:gd name="connsiteY4" fmla="*/ 6442075 h 6522010"/>
              <a:gd name="connsiteX5" fmla="*/ 0 w 10888662"/>
              <a:gd name="connsiteY5" fmla="*/ 5862353 h 6522010"/>
              <a:gd name="connsiteX6" fmla="*/ 0 w 10888662"/>
              <a:gd name="connsiteY6" fmla="*/ 1653 h 6522010"/>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579722 w 10888662"/>
              <a:gd name="connsiteY4" fmla="*/ 6442075 h 6442075"/>
              <a:gd name="connsiteX5" fmla="*/ 0 w 10888662"/>
              <a:gd name="connsiteY5" fmla="*/ 5862353 h 6442075"/>
              <a:gd name="connsiteX6" fmla="*/ 0 w 10888662"/>
              <a:gd name="connsiteY6" fmla="*/ 1653 h 6442075"/>
              <a:gd name="connsiteX0" fmla="*/ 0 w 10888662"/>
              <a:gd name="connsiteY0" fmla="*/ 1653 h 6585432"/>
              <a:gd name="connsiteX1" fmla="*/ 10308940 w 10888662"/>
              <a:gd name="connsiteY1" fmla="*/ 0 h 6585432"/>
              <a:gd name="connsiteX2" fmla="*/ 10888662 w 10888662"/>
              <a:gd name="connsiteY2" fmla="*/ 579722 h 6585432"/>
              <a:gd name="connsiteX3" fmla="*/ 10878151 w 10888662"/>
              <a:gd name="connsiteY3" fmla="*/ 6461442 h 6585432"/>
              <a:gd name="connsiteX4" fmla="*/ 579722 w 10888662"/>
              <a:gd name="connsiteY4" fmla="*/ 6442075 h 6585432"/>
              <a:gd name="connsiteX5" fmla="*/ 0 w 10888662"/>
              <a:gd name="connsiteY5" fmla="*/ 5862353 h 6585432"/>
              <a:gd name="connsiteX6" fmla="*/ 0 w 10888662"/>
              <a:gd name="connsiteY6" fmla="*/ 1653 h 6585432"/>
              <a:gd name="connsiteX0" fmla="*/ 0 w 10888662"/>
              <a:gd name="connsiteY0" fmla="*/ 1653 h 6577502"/>
              <a:gd name="connsiteX1" fmla="*/ 10308940 w 10888662"/>
              <a:gd name="connsiteY1" fmla="*/ 0 h 6577502"/>
              <a:gd name="connsiteX2" fmla="*/ 10888662 w 10888662"/>
              <a:gd name="connsiteY2" fmla="*/ 579722 h 6577502"/>
              <a:gd name="connsiteX3" fmla="*/ 10878151 w 10888662"/>
              <a:gd name="connsiteY3" fmla="*/ 6450932 h 6577502"/>
              <a:gd name="connsiteX4" fmla="*/ 579722 w 10888662"/>
              <a:gd name="connsiteY4" fmla="*/ 6442075 h 6577502"/>
              <a:gd name="connsiteX5" fmla="*/ 0 w 10888662"/>
              <a:gd name="connsiteY5" fmla="*/ 5862353 h 6577502"/>
              <a:gd name="connsiteX6" fmla="*/ 0 w 10888662"/>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0888662"/>
              <a:gd name="connsiteY0" fmla="*/ 1653 h 6450932"/>
              <a:gd name="connsiteX1" fmla="*/ 10308940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0999550"/>
              <a:gd name="connsiteY0" fmla="*/ 1653 h 6450932"/>
              <a:gd name="connsiteX1" fmla="*/ 10844968 w 10999550"/>
              <a:gd name="connsiteY1" fmla="*/ 0 h 6450932"/>
              <a:gd name="connsiteX2" fmla="*/ 10888662 w 10999550"/>
              <a:gd name="connsiteY2" fmla="*/ 579722 h 6450932"/>
              <a:gd name="connsiteX3" fmla="*/ 10878151 w 10999550"/>
              <a:gd name="connsiteY3" fmla="*/ 6450932 h 6450932"/>
              <a:gd name="connsiteX4" fmla="*/ 579722 w 10999550"/>
              <a:gd name="connsiteY4" fmla="*/ 6442075 h 6450932"/>
              <a:gd name="connsiteX5" fmla="*/ 0 w 10999550"/>
              <a:gd name="connsiteY5" fmla="*/ 5862353 h 6450932"/>
              <a:gd name="connsiteX6" fmla="*/ 0 w 10999550"/>
              <a:gd name="connsiteY6" fmla="*/ 1653 h 6450932"/>
              <a:gd name="connsiteX0" fmla="*/ 0 w 11022020"/>
              <a:gd name="connsiteY0" fmla="*/ 1653 h 6450932"/>
              <a:gd name="connsiteX1" fmla="*/ 10876499 w 11022020"/>
              <a:gd name="connsiteY1" fmla="*/ 0 h 6450932"/>
              <a:gd name="connsiteX2" fmla="*/ 10888662 w 11022020"/>
              <a:gd name="connsiteY2" fmla="*/ 579722 h 6450932"/>
              <a:gd name="connsiteX3" fmla="*/ 10878151 w 11022020"/>
              <a:gd name="connsiteY3" fmla="*/ 6450932 h 6450932"/>
              <a:gd name="connsiteX4" fmla="*/ 579722 w 11022020"/>
              <a:gd name="connsiteY4" fmla="*/ 6442075 h 6450932"/>
              <a:gd name="connsiteX5" fmla="*/ 0 w 11022020"/>
              <a:gd name="connsiteY5" fmla="*/ 5862353 h 6450932"/>
              <a:gd name="connsiteX6" fmla="*/ 0 w 11022020"/>
              <a:gd name="connsiteY6" fmla="*/ 1653 h 6450932"/>
              <a:gd name="connsiteX0" fmla="*/ 0 w 10888662"/>
              <a:gd name="connsiteY0" fmla="*/ 1653 h 6450932"/>
              <a:gd name="connsiteX1" fmla="*/ 10876499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2200990"/>
              <a:gd name="connsiteY0" fmla="*/ 1653 h 6450932"/>
              <a:gd name="connsiteX1" fmla="*/ 10876499 w 12200990"/>
              <a:gd name="connsiteY1" fmla="*/ 0 h 6450932"/>
              <a:gd name="connsiteX2" fmla="*/ 10878151 w 12200990"/>
              <a:gd name="connsiteY2" fmla="*/ 6450932 h 6450932"/>
              <a:gd name="connsiteX3" fmla="*/ 579722 w 12200990"/>
              <a:gd name="connsiteY3" fmla="*/ 6442075 h 6450932"/>
              <a:gd name="connsiteX4" fmla="*/ 0 w 12200990"/>
              <a:gd name="connsiteY4" fmla="*/ 5862353 h 6450932"/>
              <a:gd name="connsiteX5" fmla="*/ 0 w 12200990"/>
              <a:gd name="connsiteY5" fmla="*/ 1653 h 6450932"/>
              <a:gd name="connsiteX0" fmla="*/ 0 w 11640630"/>
              <a:gd name="connsiteY0" fmla="*/ 1653 h 6450932"/>
              <a:gd name="connsiteX1" fmla="*/ 10876499 w 11640630"/>
              <a:gd name="connsiteY1" fmla="*/ 0 h 6450932"/>
              <a:gd name="connsiteX2" fmla="*/ 10878151 w 11640630"/>
              <a:gd name="connsiteY2" fmla="*/ 6450932 h 6450932"/>
              <a:gd name="connsiteX3" fmla="*/ 579722 w 11640630"/>
              <a:gd name="connsiteY3" fmla="*/ 6442075 h 6450932"/>
              <a:gd name="connsiteX4" fmla="*/ 0 w 11640630"/>
              <a:gd name="connsiteY4" fmla="*/ 5862353 h 6450932"/>
              <a:gd name="connsiteX5" fmla="*/ 0 w 11640630"/>
              <a:gd name="connsiteY5" fmla="*/ 1653 h 6450932"/>
              <a:gd name="connsiteX0" fmla="*/ 0 w 10878151"/>
              <a:gd name="connsiteY0" fmla="*/ 1653 h 6450932"/>
              <a:gd name="connsiteX1" fmla="*/ 10876499 w 10878151"/>
              <a:gd name="connsiteY1" fmla="*/ 0 h 6450932"/>
              <a:gd name="connsiteX2" fmla="*/ 10878151 w 10878151"/>
              <a:gd name="connsiteY2" fmla="*/ 6450932 h 6450932"/>
              <a:gd name="connsiteX3" fmla="*/ 579722 w 10878151"/>
              <a:gd name="connsiteY3" fmla="*/ 6442075 h 6450932"/>
              <a:gd name="connsiteX4" fmla="*/ 0 w 10878151"/>
              <a:gd name="connsiteY4" fmla="*/ 5862353 h 6450932"/>
              <a:gd name="connsiteX5" fmla="*/ 0 w 10878151"/>
              <a:gd name="connsiteY5" fmla="*/ 1653 h 6450932"/>
              <a:gd name="connsiteX0" fmla="*/ 0 w 11843451"/>
              <a:gd name="connsiteY0" fmla="*/ 1653 h 6450932"/>
              <a:gd name="connsiteX1" fmla="*/ 11843451 w 11843451"/>
              <a:gd name="connsiteY1" fmla="*/ 0 h 6450932"/>
              <a:gd name="connsiteX2" fmla="*/ 10878151 w 11843451"/>
              <a:gd name="connsiteY2" fmla="*/ 6450932 h 6450932"/>
              <a:gd name="connsiteX3" fmla="*/ 579722 w 11843451"/>
              <a:gd name="connsiteY3" fmla="*/ 6442075 h 6450932"/>
              <a:gd name="connsiteX4" fmla="*/ 0 w 11843451"/>
              <a:gd name="connsiteY4" fmla="*/ 5862353 h 6450932"/>
              <a:gd name="connsiteX5" fmla="*/ 0 w 11843451"/>
              <a:gd name="connsiteY5" fmla="*/ 1653 h 6450932"/>
              <a:gd name="connsiteX0" fmla="*/ 0 w 11855613"/>
              <a:gd name="connsiteY0" fmla="*/ 1653 h 6450932"/>
              <a:gd name="connsiteX1" fmla="*/ 11843451 w 11855613"/>
              <a:gd name="connsiteY1" fmla="*/ 0 h 6450932"/>
              <a:gd name="connsiteX2" fmla="*/ 11855613 w 11855613"/>
              <a:gd name="connsiteY2" fmla="*/ 6450932 h 6450932"/>
              <a:gd name="connsiteX3" fmla="*/ 579722 w 11855613"/>
              <a:gd name="connsiteY3" fmla="*/ 6442075 h 6450932"/>
              <a:gd name="connsiteX4" fmla="*/ 0 w 11855613"/>
              <a:gd name="connsiteY4" fmla="*/ 5862353 h 6450932"/>
              <a:gd name="connsiteX5" fmla="*/ 0 w 11855613"/>
              <a:gd name="connsiteY5" fmla="*/ 1653 h 6450932"/>
              <a:gd name="connsiteX0" fmla="*/ 0 w 11864472"/>
              <a:gd name="connsiteY0" fmla="*/ 1653 h 6450932"/>
              <a:gd name="connsiteX1" fmla="*/ 11864472 w 11864472"/>
              <a:gd name="connsiteY1" fmla="*/ 0 h 6450932"/>
              <a:gd name="connsiteX2" fmla="*/ 11855613 w 11864472"/>
              <a:gd name="connsiteY2" fmla="*/ 6450932 h 6450932"/>
              <a:gd name="connsiteX3" fmla="*/ 579722 w 11864472"/>
              <a:gd name="connsiteY3" fmla="*/ 6442075 h 6450932"/>
              <a:gd name="connsiteX4" fmla="*/ 0 w 11864472"/>
              <a:gd name="connsiteY4" fmla="*/ 5862353 h 6450932"/>
              <a:gd name="connsiteX5" fmla="*/ 0 w 11864472"/>
              <a:gd name="connsiteY5" fmla="*/ 1653 h 6450932"/>
              <a:gd name="connsiteX0" fmla="*/ 0 w 11864472"/>
              <a:gd name="connsiteY0" fmla="*/ 1653 h 6442075"/>
              <a:gd name="connsiteX1" fmla="*/ 11864472 w 11864472"/>
              <a:gd name="connsiteY1" fmla="*/ 0 h 6442075"/>
              <a:gd name="connsiteX2" fmla="*/ 11855613 w 11864472"/>
              <a:gd name="connsiteY2" fmla="*/ 6440421 h 6442075"/>
              <a:gd name="connsiteX3" fmla="*/ 579722 w 11864472"/>
              <a:gd name="connsiteY3" fmla="*/ 6442075 h 6442075"/>
              <a:gd name="connsiteX4" fmla="*/ 0 w 11864472"/>
              <a:gd name="connsiteY4" fmla="*/ 5862353 h 6442075"/>
              <a:gd name="connsiteX5" fmla="*/ 0 w 11864472"/>
              <a:gd name="connsiteY5" fmla="*/ 1653 h 6442075"/>
              <a:gd name="connsiteX0" fmla="*/ 0 w 11864472"/>
              <a:gd name="connsiteY0" fmla="*/ 0 h 6630428"/>
              <a:gd name="connsiteX1" fmla="*/ 11864472 w 11864472"/>
              <a:gd name="connsiteY1" fmla="*/ 188353 h 6630428"/>
              <a:gd name="connsiteX2" fmla="*/ 11855613 w 11864472"/>
              <a:gd name="connsiteY2" fmla="*/ 6628774 h 6630428"/>
              <a:gd name="connsiteX3" fmla="*/ 579722 w 11864472"/>
              <a:gd name="connsiteY3" fmla="*/ 6630428 h 6630428"/>
              <a:gd name="connsiteX4" fmla="*/ 0 w 11864472"/>
              <a:gd name="connsiteY4" fmla="*/ 6050706 h 6630428"/>
              <a:gd name="connsiteX5" fmla="*/ 0 w 11864472"/>
              <a:gd name="connsiteY5" fmla="*/ 0 h 6630428"/>
              <a:gd name="connsiteX0" fmla="*/ 0 w 11864472"/>
              <a:gd name="connsiteY0" fmla="*/ 13527 h 6643955"/>
              <a:gd name="connsiteX1" fmla="*/ 11864472 w 11864472"/>
              <a:gd name="connsiteY1" fmla="*/ 0 h 6643955"/>
              <a:gd name="connsiteX2" fmla="*/ 11855613 w 11864472"/>
              <a:gd name="connsiteY2" fmla="*/ 6642301 h 6643955"/>
              <a:gd name="connsiteX3" fmla="*/ 579722 w 11864472"/>
              <a:gd name="connsiteY3" fmla="*/ 6643955 h 6643955"/>
              <a:gd name="connsiteX4" fmla="*/ 0 w 11864472"/>
              <a:gd name="connsiteY4" fmla="*/ 6064233 h 6643955"/>
              <a:gd name="connsiteX5" fmla="*/ 0 w 11864472"/>
              <a:gd name="connsiteY5" fmla="*/ 13527 h 6643955"/>
              <a:gd name="connsiteX0" fmla="*/ 0 w 11864472"/>
              <a:gd name="connsiteY0" fmla="*/ 1319813 h 6643955"/>
              <a:gd name="connsiteX1" fmla="*/ 11864472 w 11864472"/>
              <a:gd name="connsiteY1" fmla="*/ 0 h 6643955"/>
              <a:gd name="connsiteX2" fmla="*/ 11855613 w 11864472"/>
              <a:gd name="connsiteY2" fmla="*/ 6642301 h 6643955"/>
              <a:gd name="connsiteX3" fmla="*/ 579722 w 11864472"/>
              <a:gd name="connsiteY3" fmla="*/ 6643955 h 6643955"/>
              <a:gd name="connsiteX4" fmla="*/ 0 w 11864472"/>
              <a:gd name="connsiteY4" fmla="*/ 6064233 h 6643955"/>
              <a:gd name="connsiteX5" fmla="*/ 0 w 11864472"/>
              <a:gd name="connsiteY5" fmla="*/ 1319813 h 6643955"/>
              <a:gd name="connsiteX0" fmla="*/ 0 w 11864472"/>
              <a:gd name="connsiteY0" fmla="*/ 13527 h 5337669"/>
              <a:gd name="connsiteX1" fmla="*/ 11864472 w 11864472"/>
              <a:gd name="connsiteY1" fmla="*/ 0 h 5337669"/>
              <a:gd name="connsiteX2" fmla="*/ 11855613 w 11864472"/>
              <a:gd name="connsiteY2" fmla="*/ 5336015 h 5337669"/>
              <a:gd name="connsiteX3" fmla="*/ 579722 w 11864472"/>
              <a:gd name="connsiteY3" fmla="*/ 5337669 h 5337669"/>
              <a:gd name="connsiteX4" fmla="*/ 0 w 11864472"/>
              <a:gd name="connsiteY4" fmla="*/ 4757947 h 5337669"/>
              <a:gd name="connsiteX5" fmla="*/ 0 w 11864472"/>
              <a:gd name="connsiteY5" fmla="*/ 13527 h 5337669"/>
              <a:gd name="connsiteX0" fmla="*/ 0 w 11864472"/>
              <a:gd name="connsiteY0" fmla="*/ 1652 h 5337669"/>
              <a:gd name="connsiteX1" fmla="*/ 11864472 w 11864472"/>
              <a:gd name="connsiteY1" fmla="*/ 0 h 5337669"/>
              <a:gd name="connsiteX2" fmla="*/ 11855613 w 11864472"/>
              <a:gd name="connsiteY2" fmla="*/ 5336015 h 5337669"/>
              <a:gd name="connsiteX3" fmla="*/ 579722 w 11864472"/>
              <a:gd name="connsiteY3" fmla="*/ 5337669 h 5337669"/>
              <a:gd name="connsiteX4" fmla="*/ 0 w 11864472"/>
              <a:gd name="connsiteY4" fmla="*/ 4757947 h 5337669"/>
              <a:gd name="connsiteX5" fmla="*/ 0 w 11864472"/>
              <a:gd name="connsiteY5" fmla="*/ 1652 h 5337669"/>
              <a:gd name="connsiteX0" fmla="*/ 0 w 11864472"/>
              <a:gd name="connsiteY0" fmla="*/ 2201927 h 5337669"/>
              <a:gd name="connsiteX1" fmla="*/ 11864472 w 11864472"/>
              <a:gd name="connsiteY1" fmla="*/ 0 h 5337669"/>
              <a:gd name="connsiteX2" fmla="*/ 11855613 w 11864472"/>
              <a:gd name="connsiteY2" fmla="*/ 5336015 h 5337669"/>
              <a:gd name="connsiteX3" fmla="*/ 579722 w 11864472"/>
              <a:gd name="connsiteY3" fmla="*/ 5337669 h 5337669"/>
              <a:gd name="connsiteX4" fmla="*/ 0 w 11864472"/>
              <a:gd name="connsiteY4" fmla="*/ 4757947 h 5337669"/>
              <a:gd name="connsiteX5" fmla="*/ 0 w 11864472"/>
              <a:gd name="connsiteY5" fmla="*/ 2201927 h 5337669"/>
              <a:gd name="connsiteX0" fmla="*/ 0 w 11864472"/>
              <a:gd name="connsiteY0" fmla="*/ 1652 h 3137394"/>
              <a:gd name="connsiteX1" fmla="*/ 11864472 w 11864472"/>
              <a:gd name="connsiteY1" fmla="*/ 0 h 3137394"/>
              <a:gd name="connsiteX2" fmla="*/ 11855613 w 11864472"/>
              <a:gd name="connsiteY2" fmla="*/ 3135740 h 3137394"/>
              <a:gd name="connsiteX3" fmla="*/ 579722 w 11864472"/>
              <a:gd name="connsiteY3" fmla="*/ 3137394 h 3137394"/>
              <a:gd name="connsiteX4" fmla="*/ 0 w 11864472"/>
              <a:gd name="connsiteY4" fmla="*/ 2557672 h 3137394"/>
              <a:gd name="connsiteX5" fmla="*/ 0 w 11864472"/>
              <a:gd name="connsiteY5" fmla="*/ 1652 h 3137394"/>
              <a:gd name="connsiteX0" fmla="*/ 0 w 11864472"/>
              <a:gd name="connsiteY0" fmla="*/ 0 h 3420555"/>
              <a:gd name="connsiteX1" fmla="*/ 11864472 w 11864472"/>
              <a:gd name="connsiteY1" fmla="*/ 283161 h 3420555"/>
              <a:gd name="connsiteX2" fmla="*/ 11855613 w 11864472"/>
              <a:gd name="connsiteY2" fmla="*/ 3418901 h 3420555"/>
              <a:gd name="connsiteX3" fmla="*/ 579722 w 11864472"/>
              <a:gd name="connsiteY3" fmla="*/ 3420555 h 3420555"/>
              <a:gd name="connsiteX4" fmla="*/ 0 w 11864472"/>
              <a:gd name="connsiteY4" fmla="*/ 2840833 h 3420555"/>
              <a:gd name="connsiteX5" fmla="*/ 0 w 11864472"/>
              <a:gd name="connsiteY5" fmla="*/ 0 h 3420555"/>
              <a:gd name="connsiteX0" fmla="*/ 0 w 11864472"/>
              <a:gd name="connsiteY0" fmla="*/ 1652 h 3422207"/>
              <a:gd name="connsiteX1" fmla="*/ 11864472 w 11864472"/>
              <a:gd name="connsiteY1" fmla="*/ 0 h 3422207"/>
              <a:gd name="connsiteX2" fmla="*/ 11855613 w 11864472"/>
              <a:gd name="connsiteY2" fmla="*/ 3420553 h 3422207"/>
              <a:gd name="connsiteX3" fmla="*/ 579722 w 11864472"/>
              <a:gd name="connsiteY3" fmla="*/ 3422207 h 3422207"/>
              <a:gd name="connsiteX4" fmla="*/ 0 w 11864472"/>
              <a:gd name="connsiteY4" fmla="*/ 2842485 h 3422207"/>
              <a:gd name="connsiteX5" fmla="*/ 0 w 11864472"/>
              <a:gd name="connsiteY5" fmla="*/ 1652 h 3422207"/>
              <a:gd name="connsiteX0" fmla="*/ 0 w 11855613"/>
              <a:gd name="connsiteY0" fmla="*/ 0 h 3420555"/>
              <a:gd name="connsiteX1" fmla="*/ 11834492 w 11855613"/>
              <a:gd name="connsiteY1" fmla="*/ 58309 h 3420555"/>
              <a:gd name="connsiteX2" fmla="*/ 11855613 w 11855613"/>
              <a:gd name="connsiteY2" fmla="*/ 3418901 h 3420555"/>
              <a:gd name="connsiteX3" fmla="*/ 579722 w 11855613"/>
              <a:gd name="connsiteY3" fmla="*/ 3420555 h 3420555"/>
              <a:gd name="connsiteX4" fmla="*/ 0 w 11855613"/>
              <a:gd name="connsiteY4" fmla="*/ 2840833 h 3420555"/>
              <a:gd name="connsiteX5" fmla="*/ 0 w 11855613"/>
              <a:gd name="connsiteY5" fmla="*/ 0 h 3420555"/>
              <a:gd name="connsiteX0" fmla="*/ 0 w 11855613"/>
              <a:gd name="connsiteY0" fmla="*/ 1652 h 3362246"/>
              <a:gd name="connsiteX1" fmla="*/ 11834492 w 11855613"/>
              <a:gd name="connsiteY1" fmla="*/ 0 h 3362246"/>
              <a:gd name="connsiteX2" fmla="*/ 11855613 w 11855613"/>
              <a:gd name="connsiteY2" fmla="*/ 3360592 h 3362246"/>
              <a:gd name="connsiteX3" fmla="*/ 579722 w 11855613"/>
              <a:gd name="connsiteY3" fmla="*/ 3362246 h 3362246"/>
              <a:gd name="connsiteX4" fmla="*/ 0 w 11855613"/>
              <a:gd name="connsiteY4" fmla="*/ 2782524 h 3362246"/>
              <a:gd name="connsiteX5" fmla="*/ 0 w 11855613"/>
              <a:gd name="connsiteY5" fmla="*/ 1652 h 3362246"/>
              <a:gd name="connsiteX0" fmla="*/ 0 w 11864473"/>
              <a:gd name="connsiteY0" fmla="*/ 0 h 3360594"/>
              <a:gd name="connsiteX1" fmla="*/ 11864473 w 11864473"/>
              <a:gd name="connsiteY1" fmla="*/ 13338 h 3360594"/>
              <a:gd name="connsiteX2" fmla="*/ 11855613 w 11864473"/>
              <a:gd name="connsiteY2" fmla="*/ 3358940 h 3360594"/>
              <a:gd name="connsiteX3" fmla="*/ 579722 w 11864473"/>
              <a:gd name="connsiteY3" fmla="*/ 3360594 h 3360594"/>
              <a:gd name="connsiteX4" fmla="*/ 0 w 11864473"/>
              <a:gd name="connsiteY4" fmla="*/ 2780872 h 3360594"/>
              <a:gd name="connsiteX5" fmla="*/ 0 w 11864473"/>
              <a:gd name="connsiteY5" fmla="*/ 0 h 3360594"/>
              <a:gd name="connsiteX0" fmla="*/ 0 w 11864473"/>
              <a:gd name="connsiteY0" fmla="*/ 1652 h 3362246"/>
              <a:gd name="connsiteX1" fmla="*/ 11864473 w 11864473"/>
              <a:gd name="connsiteY1" fmla="*/ 0 h 3362246"/>
              <a:gd name="connsiteX2" fmla="*/ 11855613 w 11864473"/>
              <a:gd name="connsiteY2" fmla="*/ 3360592 h 3362246"/>
              <a:gd name="connsiteX3" fmla="*/ 579722 w 11864473"/>
              <a:gd name="connsiteY3" fmla="*/ 3362246 h 3362246"/>
              <a:gd name="connsiteX4" fmla="*/ 0 w 11864473"/>
              <a:gd name="connsiteY4" fmla="*/ 2782524 h 3362246"/>
              <a:gd name="connsiteX5" fmla="*/ 0 w 11864473"/>
              <a:gd name="connsiteY5" fmla="*/ 1652 h 3362246"/>
              <a:gd name="connsiteX0" fmla="*/ 0 w 11855629"/>
              <a:gd name="connsiteY0" fmla="*/ 1652 h 3362246"/>
              <a:gd name="connsiteX1" fmla="*/ 11459359 w 11855629"/>
              <a:gd name="connsiteY1" fmla="*/ 0 h 3362246"/>
              <a:gd name="connsiteX2" fmla="*/ 11855613 w 11855629"/>
              <a:gd name="connsiteY2" fmla="*/ 3360592 h 3362246"/>
              <a:gd name="connsiteX3" fmla="*/ 579722 w 11855629"/>
              <a:gd name="connsiteY3" fmla="*/ 3362246 h 3362246"/>
              <a:gd name="connsiteX4" fmla="*/ 0 w 11855629"/>
              <a:gd name="connsiteY4" fmla="*/ 2782524 h 3362246"/>
              <a:gd name="connsiteX5" fmla="*/ 0 w 11855629"/>
              <a:gd name="connsiteY5" fmla="*/ 1652 h 3362246"/>
              <a:gd name="connsiteX0" fmla="*/ 0 w 11459359"/>
              <a:gd name="connsiteY0" fmla="*/ 1652 h 3362246"/>
              <a:gd name="connsiteX1" fmla="*/ 11459359 w 11459359"/>
              <a:gd name="connsiteY1" fmla="*/ 0 h 3362246"/>
              <a:gd name="connsiteX2" fmla="*/ 11438924 w 11459359"/>
              <a:gd name="connsiteY2" fmla="*/ 3360592 h 3362246"/>
              <a:gd name="connsiteX3" fmla="*/ 579722 w 11459359"/>
              <a:gd name="connsiteY3" fmla="*/ 3362246 h 3362246"/>
              <a:gd name="connsiteX4" fmla="*/ 0 w 11459359"/>
              <a:gd name="connsiteY4" fmla="*/ 2782524 h 3362246"/>
              <a:gd name="connsiteX5" fmla="*/ 0 w 11459359"/>
              <a:gd name="connsiteY5" fmla="*/ 1652 h 3362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459359" h="3362246">
                <a:moveTo>
                  <a:pt x="0" y="1652"/>
                </a:moveTo>
                <a:lnTo>
                  <a:pt x="11459359" y="0"/>
                </a:lnTo>
                <a:cubicBezTo>
                  <a:pt x="11456406" y="1115201"/>
                  <a:pt x="11441877" y="2245391"/>
                  <a:pt x="11438924" y="3360592"/>
                </a:cubicBezTo>
                <a:lnTo>
                  <a:pt x="579722" y="3362246"/>
                </a:lnTo>
                <a:cubicBezTo>
                  <a:pt x="259550" y="3362246"/>
                  <a:pt x="0" y="3102696"/>
                  <a:pt x="0" y="2782524"/>
                </a:cubicBezTo>
                <a:lnTo>
                  <a:pt x="0" y="1652"/>
                </a:lnTo>
                <a:close/>
              </a:path>
            </a:pathLst>
          </a:custGeom>
          <a:noFill/>
        </p:spPr>
        <p:txBody>
          <a:bodyPr/>
          <a:lstStyle>
            <a:lvl1pPr marL="0" indent="0">
              <a:buNone/>
              <a:defRPr sz="2400">
                <a:solidFill>
                  <a:schemeClr val="bg1"/>
                </a:solidFill>
              </a:defRPr>
            </a:lvl1pPr>
          </a:lstStyle>
          <a:p>
            <a:r>
              <a:rPr lang="en-US"/>
              <a:t>Click icon to add picture</a:t>
            </a:r>
            <a:endParaRPr lang="en-JP"/>
          </a:p>
        </p:txBody>
      </p:sp>
      <p:pic>
        <p:nvPicPr>
          <p:cNvPr id="18" name="Picture 17" descr="Takeda">
            <a:extLst>
              <a:ext uri="{FF2B5EF4-FFF2-40B4-BE49-F238E27FC236}">
                <a16:creationId xmlns:a16="http://schemas.microsoft.com/office/drawing/2014/main" id="{5F9376FC-2A9F-C644-AD88-C6E1B65B4D9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790516" y="3362752"/>
            <a:ext cx="2251710" cy="1248865"/>
          </a:xfrm>
          <a:prstGeom prst="rect">
            <a:avLst/>
          </a:prstGeom>
        </p:spPr>
      </p:pic>
      <p:sp>
        <p:nvSpPr>
          <p:cNvPr id="15" name="Title 1">
            <a:extLst>
              <a:ext uri="{FF2B5EF4-FFF2-40B4-BE49-F238E27FC236}">
                <a16:creationId xmlns:a16="http://schemas.microsoft.com/office/drawing/2014/main" id="{9F5E8E0A-41D4-8346-9248-0B9AAC71238D}"/>
              </a:ext>
            </a:extLst>
          </p:cNvPr>
          <p:cNvSpPr>
            <a:spLocks noGrp="1"/>
          </p:cNvSpPr>
          <p:nvPr>
            <p:ph type="ctrTitle" hasCustomPrompt="1"/>
          </p:nvPr>
        </p:nvSpPr>
        <p:spPr>
          <a:xfrm>
            <a:off x="1194730" y="3956816"/>
            <a:ext cx="7699670" cy="1015681"/>
          </a:xfrm>
          <a:prstGeom prst="rect">
            <a:avLst/>
          </a:prstGeom>
        </p:spPr>
        <p:txBody>
          <a:bodyPr wrap="square" lIns="0" tIns="0" rIns="0" bIns="0" anchor="t" anchorCtr="0">
            <a:normAutofit/>
          </a:bodyPr>
          <a:lstStyle>
            <a:lvl1pPr>
              <a:lnSpc>
                <a:spcPts val="3800"/>
              </a:lnSpc>
              <a:defRPr sz="3600" b="1" i="0" baseline="0">
                <a:solidFill>
                  <a:schemeClr val="tx1"/>
                </a:solidFill>
                <a:latin typeface="Calibri" panose="020F0502020204030204" pitchFamily="34" charset="0"/>
                <a:ea typeface="メイリオ" pitchFamily="50" charset="-128"/>
                <a:cs typeface="Calibri" pitchFamily="34" charset="0"/>
              </a:defRPr>
            </a:lvl1pPr>
          </a:lstStyle>
          <a:p>
            <a:r>
              <a:rPr lang="en-GB"/>
              <a:t>Click to Add </a:t>
            </a:r>
            <a:br>
              <a:rPr lang="en-GB"/>
            </a:br>
            <a:r>
              <a:rPr lang="en-GB"/>
              <a:t>Title</a:t>
            </a:r>
          </a:p>
        </p:txBody>
      </p:sp>
      <p:sp>
        <p:nvSpPr>
          <p:cNvPr id="17" name="Rectangle 16">
            <a:extLst>
              <a:ext uri="{FF2B5EF4-FFF2-40B4-BE49-F238E27FC236}">
                <a16:creationId xmlns:a16="http://schemas.microsoft.com/office/drawing/2014/main" id="{F5A63B8E-5554-A04E-B4C5-97ECEE58B6CC}"/>
              </a:ext>
            </a:extLst>
          </p:cNvPr>
          <p:cNvSpPr/>
          <p:nvPr userDrawn="1"/>
        </p:nvSpPr>
        <p:spPr>
          <a:xfrm>
            <a:off x="749005" y="3764031"/>
            <a:ext cx="97200" cy="270718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kumimoji="0" lang="en-US" altLang="en-US" sz="1800">
              <a:solidFill>
                <a:srgbClr val="FFFFFF"/>
              </a:solidFill>
            </a:endParaRPr>
          </a:p>
        </p:txBody>
      </p:sp>
      <p:pic>
        <p:nvPicPr>
          <p:cNvPr id="21" name="Picture 20">
            <a:extLst>
              <a:ext uri="{FF2B5EF4-FFF2-40B4-BE49-F238E27FC236}">
                <a16:creationId xmlns:a16="http://schemas.microsoft.com/office/drawing/2014/main" id="{C2637423-F180-3943-B758-C8CCFA816E04}"/>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9571921" y="6357944"/>
            <a:ext cx="1958578" cy="117462"/>
          </a:xfrm>
          <a:prstGeom prst="rect">
            <a:avLst/>
          </a:prstGeom>
        </p:spPr>
      </p:pic>
      <p:sp>
        <p:nvSpPr>
          <p:cNvPr id="23" name="Text Placeholder 2">
            <a:extLst>
              <a:ext uri="{FF2B5EF4-FFF2-40B4-BE49-F238E27FC236}">
                <a16:creationId xmlns:a16="http://schemas.microsoft.com/office/drawing/2014/main" id="{F7327E43-4F43-914D-BE65-DB0ADB5A5E11}"/>
              </a:ext>
            </a:extLst>
          </p:cNvPr>
          <p:cNvSpPr>
            <a:spLocks noGrp="1"/>
          </p:cNvSpPr>
          <p:nvPr>
            <p:ph type="body" sz="quarter" idx="23" hasCustomPrompt="1"/>
          </p:nvPr>
        </p:nvSpPr>
        <p:spPr>
          <a:xfrm>
            <a:off x="1194728" y="5256031"/>
            <a:ext cx="7699670" cy="234001"/>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068" indent="0">
              <a:buNone/>
              <a:defRPr sz="1400">
                <a:solidFill>
                  <a:schemeClr val="tx1"/>
                </a:solidFill>
              </a:defRPr>
            </a:lvl2pPr>
            <a:lvl3pPr marL="914149" indent="0">
              <a:buNone/>
              <a:defRPr sz="1400">
                <a:solidFill>
                  <a:schemeClr val="tx1"/>
                </a:solidFill>
              </a:defRPr>
            </a:lvl3pPr>
            <a:lvl4pPr marL="1371219" indent="0">
              <a:buNone/>
              <a:defRPr sz="1400">
                <a:solidFill>
                  <a:schemeClr val="tx1"/>
                </a:solidFill>
              </a:defRPr>
            </a:lvl4pPr>
            <a:lvl5pPr marL="1828290" indent="0">
              <a:buNone/>
              <a:defRPr sz="1400">
                <a:solidFill>
                  <a:schemeClr val="tx1"/>
                </a:solidFill>
              </a:defRPr>
            </a:lvl5pPr>
          </a:lstStyle>
          <a:p>
            <a:pPr lvl="0"/>
            <a:r>
              <a:rPr lang="en-US"/>
              <a:t>Title of Position</a:t>
            </a:r>
          </a:p>
        </p:txBody>
      </p:sp>
      <p:sp>
        <p:nvSpPr>
          <p:cNvPr id="24" name="Text Placeholder 2">
            <a:extLst>
              <a:ext uri="{FF2B5EF4-FFF2-40B4-BE49-F238E27FC236}">
                <a16:creationId xmlns:a16="http://schemas.microsoft.com/office/drawing/2014/main" id="{4A23AA60-6137-8841-B2ED-51B2F2E5C1BB}"/>
              </a:ext>
            </a:extLst>
          </p:cNvPr>
          <p:cNvSpPr>
            <a:spLocks noGrp="1"/>
          </p:cNvSpPr>
          <p:nvPr>
            <p:ph type="body" sz="quarter" idx="24" hasCustomPrompt="1"/>
          </p:nvPr>
        </p:nvSpPr>
        <p:spPr>
          <a:xfrm>
            <a:off x="1194728" y="5515045"/>
            <a:ext cx="7699670" cy="234001"/>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068" indent="0">
              <a:buNone/>
              <a:defRPr sz="1400">
                <a:solidFill>
                  <a:schemeClr val="tx1"/>
                </a:solidFill>
              </a:defRPr>
            </a:lvl2pPr>
            <a:lvl3pPr marL="914149" indent="0">
              <a:buNone/>
              <a:defRPr sz="1400">
                <a:solidFill>
                  <a:schemeClr val="tx1"/>
                </a:solidFill>
              </a:defRPr>
            </a:lvl3pPr>
            <a:lvl4pPr marL="1371219" indent="0">
              <a:buNone/>
              <a:defRPr sz="1400">
                <a:solidFill>
                  <a:schemeClr val="tx1"/>
                </a:solidFill>
              </a:defRPr>
            </a:lvl4pPr>
            <a:lvl5pPr marL="1828290" indent="0">
              <a:buNone/>
              <a:defRPr sz="1400">
                <a:solidFill>
                  <a:schemeClr val="tx1"/>
                </a:solidFill>
              </a:defRPr>
            </a:lvl5pPr>
          </a:lstStyle>
          <a:p>
            <a:pPr lvl="0"/>
            <a:r>
              <a:rPr lang="en-US"/>
              <a:t>Department</a:t>
            </a:r>
          </a:p>
        </p:txBody>
      </p:sp>
      <p:sp>
        <p:nvSpPr>
          <p:cNvPr id="25" name="Text Placeholder 2">
            <a:extLst>
              <a:ext uri="{FF2B5EF4-FFF2-40B4-BE49-F238E27FC236}">
                <a16:creationId xmlns:a16="http://schemas.microsoft.com/office/drawing/2014/main" id="{BB4FEAB2-22C6-3446-B4D2-5B610A729BCC}"/>
              </a:ext>
            </a:extLst>
          </p:cNvPr>
          <p:cNvSpPr>
            <a:spLocks noGrp="1"/>
          </p:cNvSpPr>
          <p:nvPr>
            <p:ph type="body" sz="quarter" idx="25" hasCustomPrompt="1"/>
          </p:nvPr>
        </p:nvSpPr>
        <p:spPr>
          <a:xfrm>
            <a:off x="1194728" y="5769532"/>
            <a:ext cx="7699670" cy="234001"/>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068" indent="0">
              <a:buNone/>
              <a:defRPr sz="1400">
                <a:solidFill>
                  <a:schemeClr val="tx1"/>
                </a:solidFill>
              </a:defRPr>
            </a:lvl2pPr>
            <a:lvl3pPr marL="914149" indent="0">
              <a:buNone/>
              <a:defRPr sz="1400">
                <a:solidFill>
                  <a:schemeClr val="tx1"/>
                </a:solidFill>
              </a:defRPr>
            </a:lvl3pPr>
            <a:lvl4pPr marL="1371219" indent="0">
              <a:buNone/>
              <a:defRPr sz="1400">
                <a:solidFill>
                  <a:schemeClr val="tx1"/>
                </a:solidFill>
              </a:defRPr>
            </a:lvl4pPr>
            <a:lvl5pPr marL="1828290" indent="0">
              <a:buNone/>
              <a:defRPr sz="1400">
                <a:solidFill>
                  <a:schemeClr val="tx1"/>
                </a:solidFill>
              </a:defRPr>
            </a:lvl5pPr>
          </a:lstStyle>
          <a:p>
            <a:pPr lvl="0"/>
            <a:r>
              <a:rPr lang="en-US"/>
              <a:t>Date</a:t>
            </a:r>
          </a:p>
        </p:txBody>
      </p:sp>
      <p:sp>
        <p:nvSpPr>
          <p:cNvPr id="28" name="Text Placeholder 2">
            <a:extLst>
              <a:ext uri="{FF2B5EF4-FFF2-40B4-BE49-F238E27FC236}">
                <a16:creationId xmlns:a16="http://schemas.microsoft.com/office/drawing/2014/main" id="{4085F378-E668-A648-B7B1-8C76C309ED6D}"/>
              </a:ext>
            </a:extLst>
          </p:cNvPr>
          <p:cNvSpPr>
            <a:spLocks noGrp="1"/>
          </p:cNvSpPr>
          <p:nvPr>
            <p:ph type="body" sz="quarter" idx="26" hasCustomPrompt="1"/>
          </p:nvPr>
        </p:nvSpPr>
        <p:spPr>
          <a:xfrm>
            <a:off x="1194728" y="4997510"/>
            <a:ext cx="7699670" cy="234001"/>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068" indent="0">
              <a:buNone/>
              <a:defRPr sz="1400">
                <a:solidFill>
                  <a:schemeClr val="tx1"/>
                </a:solidFill>
              </a:defRPr>
            </a:lvl2pPr>
            <a:lvl3pPr marL="914149" indent="0">
              <a:buNone/>
              <a:defRPr sz="1400">
                <a:solidFill>
                  <a:schemeClr val="tx1"/>
                </a:solidFill>
              </a:defRPr>
            </a:lvl3pPr>
            <a:lvl4pPr marL="1371219" indent="0">
              <a:buNone/>
              <a:defRPr sz="1400">
                <a:solidFill>
                  <a:schemeClr val="tx1"/>
                </a:solidFill>
              </a:defRPr>
            </a:lvl4pPr>
            <a:lvl5pPr marL="1828290" indent="0">
              <a:buNone/>
              <a:defRPr sz="1400">
                <a:solidFill>
                  <a:schemeClr val="tx1"/>
                </a:solidFill>
              </a:defRPr>
            </a:lvl5pPr>
          </a:lstStyle>
          <a:p>
            <a:pPr lvl="0"/>
            <a:r>
              <a:rPr lang="en-US"/>
              <a:t>Presenter Name</a:t>
            </a:r>
          </a:p>
        </p:txBody>
      </p:sp>
      <p:sp>
        <p:nvSpPr>
          <p:cNvPr id="13" name="Text Placeholder 2">
            <a:extLst>
              <a:ext uri="{FF2B5EF4-FFF2-40B4-BE49-F238E27FC236}">
                <a16:creationId xmlns:a16="http://schemas.microsoft.com/office/drawing/2014/main" id="{C1E31EF6-BED5-C14F-94AD-4E5C55B85515}"/>
              </a:ext>
            </a:extLst>
          </p:cNvPr>
          <p:cNvSpPr>
            <a:spLocks noGrp="1"/>
          </p:cNvSpPr>
          <p:nvPr>
            <p:ph type="body" sz="quarter" idx="16" hasCustomPrompt="1"/>
          </p:nvPr>
        </p:nvSpPr>
        <p:spPr>
          <a:xfrm>
            <a:off x="1194728" y="6027352"/>
            <a:ext cx="7699670" cy="234001"/>
          </a:xfrm>
        </p:spPr>
        <p:txBody>
          <a:bodyPr tIns="0" rIns="0" bIns="0" anchor="ctr" anchorCtr="0">
            <a:noAutofit/>
          </a:bodyPr>
          <a:lstStyle>
            <a:lvl1pPr marL="0" marR="0" indent="0" algn="l" defTabSz="914150" rtl="0" eaLnBrk="1" fontAlgn="auto" latinLnBrk="0" hangingPunct="1">
              <a:lnSpc>
                <a:spcPct val="100000"/>
              </a:lnSpc>
              <a:spcBef>
                <a:spcPct val="20000"/>
              </a:spcBef>
              <a:spcAft>
                <a:spcPts val="0"/>
              </a:spcAft>
              <a:buClr>
                <a:srgbClr val="4C4948"/>
              </a:buClr>
              <a:buSzTx/>
              <a:buFont typeface="Arial" panose="020B0604020202020204" pitchFamily="34" charset="0"/>
              <a:buNone/>
              <a:tabLst/>
              <a:defRPr sz="800"/>
            </a:lvl1pPr>
            <a:lvl2pPr>
              <a:defRPr sz="800"/>
            </a:lvl2pPr>
            <a:lvl3pPr>
              <a:defRPr sz="800"/>
            </a:lvl3pPr>
            <a:lvl4pPr>
              <a:defRPr sz="800"/>
            </a:lvl4pPr>
            <a:lvl5pPr>
              <a:defRPr sz="800"/>
            </a:lvl5pPr>
          </a:lstStyle>
          <a:p>
            <a:pPr marL="0" marR="0" lvl="0" indent="0" algn="l" defTabSz="914150" rtl="0" eaLnBrk="1" fontAlgn="auto" latinLnBrk="0" hangingPunct="1">
              <a:lnSpc>
                <a:spcPct val="100000"/>
              </a:lnSpc>
              <a:spcBef>
                <a:spcPct val="20000"/>
              </a:spcBef>
              <a:spcAft>
                <a:spcPts val="0"/>
              </a:spcAft>
              <a:buClr>
                <a:srgbClr val="4C4948"/>
              </a:buClr>
              <a:buSzTx/>
              <a:buFont typeface="Arial" panose="020B0604020202020204" pitchFamily="34" charset="0"/>
              <a:buNone/>
              <a:tabLst/>
              <a:defRPr/>
            </a:pPr>
            <a:r>
              <a:rPr lang="en-US"/>
              <a:t>Private and confidential. For internal use only.</a:t>
            </a:r>
          </a:p>
        </p:txBody>
      </p:sp>
    </p:spTree>
    <p:extLst>
      <p:ext uri="{BB962C8B-B14F-4D97-AF65-F5344CB8AC3E}">
        <p14:creationId xmlns:p14="http://schemas.microsoft.com/office/powerpoint/2010/main" val="1622086233"/>
      </p:ext>
    </p:extLst>
  </p:cSld>
  <p:clrMapOvr>
    <a:masterClrMapping/>
  </p:clrMapOvr>
  <p:transition spd="slow">
    <p:push dir="u"/>
  </p:transition>
  <p:extLst>
    <p:ext uri="{DCECCB84-F9BA-43D5-87BE-67443E8EF086}">
      <p15:sldGuideLst xmlns:p15="http://schemas.microsoft.com/office/powerpoint/2012/main">
        <p15:guide id="1" orient="horz" pos="4065">
          <p15:clr>
            <a:srgbClr val="FBAE40"/>
          </p15:clr>
        </p15:guide>
        <p15:guide id="2" orient="horz" pos="2364">
          <p15:clr>
            <a:srgbClr val="FBAE40"/>
          </p15:clr>
        </p15:guide>
        <p15:guide id="3" orient="horz" pos="2160">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Page 2 ">
    <p:spTree>
      <p:nvGrpSpPr>
        <p:cNvPr id="1" name=""/>
        <p:cNvGrpSpPr/>
        <p:nvPr/>
      </p:nvGrpSpPr>
      <p:grpSpPr>
        <a:xfrm>
          <a:off x="0" y="0"/>
          <a:ext cx="0" cy="0"/>
          <a:chOff x="0" y="0"/>
          <a:chExt cx="0" cy="0"/>
        </a:xfrm>
      </p:grpSpPr>
      <p:sp>
        <p:nvSpPr>
          <p:cNvPr id="33" name="Title 1">
            <a:extLst>
              <a:ext uri="{FF2B5EF4-FFF2-40B4-BE49-F238E27FC236}">
                <a16:creationId xmlns:a16="http://schemas.microsoft.com/office/drawing/2014/main" id="{E02383DA-65B3-044E-9E1B-2CC00A0B1CC6}"/>
              </a:ext>
            </a:extLst>
          </p:cNvPr>
          <p:cNvSpPr>
            <a:spLocks noGrp="1"/>
          </p:cNvSpPr>
          <p:nvPr>
            <p:ph type="ctrTitle" hasCustomPrompt="1"/>
          </p:nvPr>
        </p:nvSpPr>
        <p:spPr>
          <a:xfrm>
            <a:off x="1194730" y="2303030"/>
            <a:ext cx="4354731" cy="1125969"/>
          </a:xfrm>
          <a:prstGeom prst="rect">
            <a:avLst/>
          </a:prstGeom>
        </p:spPr>
        <p:txBody>
          <a:bodyPr wrap="square" lIns="0" tIns="0" rIns="0" bIns="0" anchor="t" anchorCtr="0">
            <a:normAutofit/>
          </a:bodyPr>
          <a:lstStyle>
            <a:lvl1pPr>
              <a:lnSpc>
                <a:spcPts val="3800"/>
              </a:lnSpc>
              <a:defRPr sz="3600" b="1" i="0" baseline="0">
                <a:solidFill>
                  <a:schemeClr val="tx1"/>
                </a:solidFill>
                <a:latin typeface="Calibri" panose="020F0502020204030204" pitchFamily="34" charset="0"/>
                <a:ea typeface="メイリオ" pitchFamily="50" charset="-128"/>
                <a:cs typeface="Calibri" pitchFamily="34" charset="0"/>
              </a:defRPr>
            </a:lvl1pPr>
          </a:lstStyle>
          <a:p>
            <a:r>
              <a:rPr lang="en-GB"/>
              <a:t>Click to add title</a:t>
            </a:r>
          </a:p>
        </p:txBody>
      </p:sp>
      <p:sp>
        <p:nvSpPr>
          <p:cNvPr id="20" name="Picture Placeholder 3">
            <a:extLst>
              <a:ext uri="{FF2B5EF4-FFF2-40B4-BE49-F238E27FC236}">
                <a16:creationId xmlns:a16="http://schemas.microsoft.com/office/drawing/2014/main" id="{902F3095-EA6E-F94A-AF04-18ED691DEB75}"/>
              </a:ext>
            </a:extLst>
          </p:cNvPr>
          <p:cNvSpPr>
            <a:spLocks noGrp="1"/>
          </p:cNvSpPr>
          <p:nvPr>
            <p:ph type="pic" sz="quarter" idx="17"/>
          </p:nvPr>
        </p:nvSpPr>
        <p:spPr>
          <a:xfrm>
            <a:off x="5866513" y="376180"/>
            <a:ext cx="6326533" cy="6108535"/>
          </a:xfrm>
          <a:custGeom>
            <a:avLst/>
            <a:gdLst>
              <a:gd name="connsiteX0" fmla="*/ 0 w 6462532"/>
              <a:gd name="connsiteY0" fmla="*/ 3052818 h 6105636"/>
              <a:gd name="connsiteX1" fmla="*/ 3052818 w 6462532"/>
              <a:gd name="connsiteY1" fmla="*/ 0 h 6105636"/>
              <a:gd name="connsiteX2" fmla="*/ 3409714 w 6462532"/>
              <a:gd name="connsiteY2" fmla="*/ 0 h 6105636"/>
              <a:gd name="connsiteX3" fmla="*/ 6462532 w 6462532"/>
              <a:gd name="connsiteY3" fmla="*/ 3052818 h 6105636"/>
              <a:gd name="connsiteX4" fmla="*/ 6462532 w 6462532"/>
              <a:gd name="connsiteY4" fmla="*/ 3052818 h 6105636"/>
              <a:gd name="connsiteX5" fmla="*/ 3409714 w 6462532"/>
              <a:gd name="connsiteY5" fmla="*/ 6105636 h 6105636"/>
              <a:gd name="connsiteX6" fmla="*/ 3052818 w 6462532"/>
              <a:gd name="connsiteY6" fmla="*/ 6105636 h 6105636"/>
              <a:gd name="connsiteX7" fmla="*/ 0 w 6462532"/>
              <a:gd name="connsiteY7" fmla="*/ 3052818 h 6105636"/>
              <a:gd name="connsiteX0" fmla="*/ 0 w 7309764"/>
              <a:gd name="connsiteY0" fmla="*/ 3052818 h 6105636"/>
              <a:gd name="connsiteX1" fmla="*/ 3052818 w 7309764"/>
              <a:gd name="connsiteY1" fmla="*/ 0 h 6105636"/>
              <a:gd name="connsiteX2" fmla="*/ 6592752 w 7309764"/>
              <a:gd name="connsiteY2" fmla="*/ 46298 h 6105636"/>
              <a:gd name="connsiteX3" fmla="*/ 6462532 w 7309764"/>
              <a:gd name="connsiteY3" fmla="*/ 3052818 h 6105636"/>
              <a:gd name="connsiteX4" fmla="*/ 6462532 w 7309764"/>
              <a:gd name="connsiteY4" fmla="*/ 3052818 h 6105636"/>
              <a:gd name="connsiteX5" fmla="*/ 3409714 w 7309764"/>
              <a:gd name="connsiteY5" fmla="*/ 6105636 h 6105636"/>
              <a:gd name="connsiteX6" fmla="*/ 3052818 w 7309764"/>
              <a:gd name="connsiteY6" fmla="*/ 6105636 h 6105636"/>
              <a:gd name="connsiteX7" fmla="*/ 0 w 7309764"/>
              <a:gd name="connsiteY7" fmla="*/ 3052818 h 6105636"/>
              <a:gd name="connsiteX0" fmla="*/ 0 w 7309764"/>
              <a:gd name="connsiteY0" fmla="*/ 3060215 h 6113033"/>
              <a:gd name="connsiteX1" fmla="*/ 3052818 w 7309764"/>
              <a:gd name="connsiteY1" fmla="*/ 7397 h 6113033"/>
              <a:gd name="connsiteX2" fmla="*/ 6592752 w 7309764"/>
              <a:gd name="connsiteY2" fmla="*/ 53695 h 6113033"/>
              <a:gd name="connsiteX3" fmla="*/ 6462532 w 7309764"/>
              <a:gd name="connsiteY3" fmla="*/ 3060215 h 6113033"/>
              <a:gd name="connsiteX4" fmla="*/ 6462532 w 7309764"/>
              <a:gd name="connsiteY4" fmla="*/ 3060215 h 6113033"/>
              <a:gd name="connsiteX5" fmla="*/ 3409714 w 7309764"/>
              <a:gd name="connsiteY5" fmla="*/ 6113033 h 6113033"/>
              <a:gd name="connsiteX6" fmla="*/ 3052818 w 7309764"/>
              <a:gd name="connsiteY6" fmla="*/ 6113033 h 6113033"/>
              <a:gd name="connsiteX7" fmla="*/ 0 w 7309764"/>
              <a:gd name="connsiteY7" fmla="*/ 3060215 h 6113033"/>
              <a:gd name="connsiteX0" fmla="*/ 0 w 7309764"/>
              <a:gd name="connsiteY0" fmla="*/ 3052818 h 6105636"/>
              <a:gd name="connsiteX1" fmla="*/ 3052818 w 7309764"/>
              <a:gd name="connsiteY1" fmla="*/ 0 h 6105636"/>
              <a:gd name="connsiteX2" fmla="*/ 6592752 w 7309764"/>
              <a:gd name="connsiteY2" fmla="*/ 46298 h 6105636"/>
              <a:gd name="connsiteX3" fmla="*/ 6462532 w 7309764"/>
              <a:gd name="connsiteY3" fmla="*/ 3052818 h 6105636"/>
              <a:gd name="connsiteX4" fmla="*/ 6462532 w 7309764"/>
              <a:gd name="connsiteY4" fmla="*/ 3052818 h 6105636"/>
              <a:gd name="connsiteX5" fmla="*/ 3409714 w 7309764"/>
              <a:gd name="connsiteY5" fmla="*/ 6105636 h 6105636"/>
              <a:gd name="connsiteX6" fmla="*/ 3052818 w 7309764"/>
              <a:gd name="connsiteY6" fmla="*/ 6105636 h 6105636"/>
              <a:gd name="connsiteX7" fmla="*/ 0 w 7309764"/>
              <a:gd name="connsiteY7" fmla="*/ 3052818 h 6105636"/>
              <a:gd name="connsiteX0" fmla="*/ 0 w 7162978"/>
              <a:gd name="connsiteY0" fmla="*/ 3052818 h 6105636"/>
              <a:gd name="connsiteX1" fmla="*/ 3052818 w 7162978"/>
              <a:gd name="connsiteY1" fmla="*/ 0 h 6105636"/>
              <a:gd name="connsiteX2" fmla="*/ 6395982 w 7162978"/>
              <a:gd name="connsiteY2" fmla="*/ 11574 h 6105636"/>
              <a:gd name="connsiteX3" fmla="*/ 6462532 w 7162978"/>
              <a:gd name="connsiteY3" fmla="*/ 3052818 h 6105636"/>
              <a:gd name="connsiteX4" fmla="*/ 6462532 w 7162978"/>
              <a:gd name="connsiteY4" fmla="*/ 3052818 h 6105636"/>
              <a:gd name="connsiteX5" fmla="*/ 3409714 w 7162978"/>
              <a:gd name="connsiteY5" fmla="*/ 6105636 h 6105636"/>
              <a:gd name="connsiteX6" fmla="*/ 3052818 w 7162978"/>
              <a:gd name="connsiteY6" fmla="*/ 6105636 h 6105636"/>
              <a:gd name="connsiteX7" fmla="*/ 0 w 7162978"/>
              <a:gd name="connsiteY7" fmla="*/ 3052818 h 6105636"/>
              <a:gd name="connsiteX0" fmla="*/ 0 w 7162978"/>
              <a:gd name="connsiteY0" fmla="*/ 3052818 h 6105636"/>
              <a:gd name="connsiteX1" fmla="*/ 3052818 w 7162978"/>
              <a:gd name="connsiteY1" fmla="*/ 0 h 6105636"/>
              <a:gd name="connsiteX2" fmla="*/ 6395982 w 7162978"/>
              <a:gd name="connsiteY2" fmla="*/ 11574 h 6105636"/>
              <a:gd name="connsiteX3" fmla="*/ 6462532 w 7162978"/>
              <a:gd name="connsiteY3" fmla="*/ 3052818 h 6105636"/>
              <a:gd name="connsiteX4" fmla="*/ 6462532 w 7162978"/>
              <a:gd name="connsiteY4" fmla="*/ 3052818 h 6105636"/>
              <a:gd name="connsiteX5" fmla="*/ 3409714 w 7162978"/>
              <a:gd name="connsiteY5" fmla="*/ 6105636 h 6105636"/>
              <a:gd name="connsiteX6" fmla="*/ 3052818 w 7162978"/>
              <a:gd name="connsiteY6" fmla="*/ 6105636 h 6105636"/>
              <a:gd name="connsiteX7" fmla="*/ 0 w 7162978"/>
              <a:gd name="connsiteY7" fmla="*/ 3052818 h 6105636"/>
              <a:gd name="connsiteX0" fmla="*/ 0 w 7162978"/>
              <a:gd name="connsiteY0" fmla="*/ 3052818 h 6105636"/>
              <a:gd name="connsiteX1" fmla="*/ 3052818 w 7162978"/>
              <a:gd name="connsiteY1" fmla="*/ 0 h 6105636"/>
              <a:gd name="connsiteX2" fmla="*/ 6395982 w 7162978"/>
              <a:gd name="connsiteY2" fmla="*/ 11574 h 6105636"/>
              <a:gd name="connsiteX3" fmla="*/ 6462532 w 7162978"/>
              <a:gd name="connsiteY3" fmla="*/ 3052818 h 6105636"/>
              <a:gd name="connsiteX4" fmla="*/ 6462532 w 7162978"/>
              <a:gd name="connsiteY4" fmla="*/ 3052818 h 6105636"/>
              <a:gd name="connsiteX5" fmla="*/ 3409714 w 7162978"/>
              <a:gd name="connsiteY5" fmla="*/ 6105636 h 6105636"/>
              <a:gd name="connsiteX6" fmla="*/ 3052818 w 7162978"/>
              <a:gd name="connsiteY6" fmla="*/ 6105636 h 6105636"/>
              <a:gd name="connsiteX7" fmla="*/ 0 w 7162978"/>
              <a:gd name="connsiteY7" fmla="*/ 3052818 h 6105636"/>
              <a:gd name="connsiteX0" fmla="*/ 0 w 7162978"/>
              <a:gd name="connsiteY0" fmla="*/ 3052818 h 6105636"/>
              <a:gd name="connsiteX1" fmla="*/ 3052818 w 7162978"/>
              <a:gd name="connsiteY1" fmla="*/ 0 h 6105636"/>
              <a:gd name="connsiteX2" fmla="*/ 6395982 w 7162978"/>
              <a:gd name="connsiteY2" fmla="*/ 11574 h 6105636"/>
              <a:gd name="connsiteX3" fmla="*/ 6462532 w 7162978"/>
              <a:gd name="connsiteY3" fmla="*/ 3052818 h 6105636"/>
              <a:gd name="connsiteX4" fmla="*/ 6462532 w 7162978"/>
              <a:gd name="connsiteY4" fmla="*/ 3052818 h 6105636"/>
              <a:gd name="connsiteX5" fmla="*/ 3409714 w 7162978"/>
              <a:gd name="connsiteY5" fmla="*/ 6105636 h 6105636"/>
              <a:gd name="connsiteX6" fmla="*/ 3052818 w 7162978"/>
              <a:gd name="connsiteY6" fmla="*/ 6105636 h 6105636"/>
              <a:gd name="connsiteX7" fmla="*/ 0 w 7162978"/>
              <a:gd name="connsiteY7" fmla="*/ 3052818 h 6105636"/>
              <a:gd name="connsiteX0" fmla="*/ 0 w 6750471"/>
              <a:gd name="connsiteY0" fmla="*/ 3052818 h 6105636"/>
              <a:gd name="connsiteX1" fmla="*/ 3052818 w 6750471"/>
              <a:gd name="connsiteY1" fmla="*/ 0 h 6105636"/>
              <a:gd name="connsiteX2" fmla="*/ 6395982 w 6750471"/>
              <a:gd name="connsiteY2" fmla="*/ 11574 h 6105636"/>
              <a:gd name="connsiteX3" fmla="*/ 6462532 w 6750471"/>
              <a:gd name="connsiteY3" fmla="*/ 3052818 h 6105636"/>
              <a:gd name="connsiteX4" fmla="*/ 6462532 w 6750471"/>
              <a:gd name="connsiteY4" fmla="*/ 3052818 h 6105636"/>
              <a:gd name="connsiteX5" fmla="*/ 3409714 w 6750471"/>
              <a:gd name="connsiteY5" fmla="*/ 6105636 h 6105636"/>
              <a:gd name="connsiteX6" fmla="*/ 3052818 w 6750471"/>
              <a:gd name="connsiteY6" fmla="*/ 6105636 h 6105636"/>
              <a:gd name="connsiteX7" fmla="*/ 0 w 6750471"/>
              <a:gd name="connsiteY7" fmla="*/ 3052818 h 6105636"/>
              <a:gd name="connsiteX0" fmla="*/ 0 w 6462532"/>
              <a:gd name="connsiteY0" fmla="*/ 3052818 h 6105636"/>
              <a:gd name="connsiteX1" fmla="*/ 3052818 w 6462532"/>
              <a:gd name="connsiteY1" fmla="*/ 0 h 6105636"/>
              <a:gd name="connsiteX2" fmla="*/ 6395982 w 6462532"/>
              <a:gd name="connsiteY2" fmla="*/ 11574 h 6105636"/>
              <a:gd name="connsiteX3" fmla="*/ 6462532 w 6462532"/>
              <a:gd name="connsiteY3" fmla="*/ 3052818 h 6105636"/>
              <a:gd name="connsiteX4" fmla="*/ 6462532 w 6462532"/>
              <a:gd name="connsiteY4" fmla="*/ 3052818 h 6105636"/>
              <a:gd name="connsiteX5" fmla="*/ 3409714 w 6462532"/>
              <a:gd name="connsiteY5" fmla="*/ 6105636 h 6105636"/>
              <a:gd name="connsiteX6" fmla="*/ 3052818 w 6462532"/>
              <a:gd name="connsiteY6" fmla="*/ 6105636 h 6105636"/>
              <a:gd name="connsiteX7" fmla="*/ 0 w 6462532"/>
              <a:gd name="connsiteY7" fmla="*/ 3052818 h 6105636"/>
              <a:gd name="connsiteX0" fmla="*/ 0 w 6477004"/>
              <a:gd name="connsiteY0" fmla="*/ 3052819 h 6105637"/>
              <a:gd name="connsiteX1" fmla="*/ 3052818 w 6477004"/>
              <a:gd name="connsiteY1" fmla="*/ 1 h 6105637"/>
              <a:gd name="connsiteX2" fmla="*/ 6477004 w 6477004"/>
              <a:gd name="connsiteY2" fmla="*/ 0 h 6105637"/>
              <a:gd name="connsiteX3" fmla="*/ 6462532 w 6477004"/>
              <a:gd name="connsiteY3" fmla="*/ 3052819 h 6105637"/>
              <a:gd name="connsiteX4" fmla="*/ 6462532 w 6477004"/>
              <a:gd name="connsiteY4" fmla="*/ 3052819 h 6105637"/>
              <a:gd name="connsiteX5" fmla="*/ 3409714 w 6477004"/>
              <a:gd name="connsiteY5" fmla="*/ 6105637 h 6105637"/>
              <a:gd name="connsiteX6" fmla="*/ 3052818 w 6477004"/>
              <a:gd name="connsiteY6" fmla="*/ 6105637 h 6105637"/>
              <a:gd name="connsiteX7" fmla="*/ 0 w 6477004"/>
              <a:gd name="connsiteY7" fmla="*/ 3052819 h 6105637"/>
              <a:gd name="connsiteX0" fmla="*/ 0 w 6477004"/>
              <a:gd name="connsiteY0" fmla="*/ 3052819 h 6105637"/>
              <a:gd name="connsiteX1" fmla="*/ 3052818 w 6477004"/>
              <a:gd name="connsiteY1" fmla="*/ 1 h 6105637"/>
              <a:gd name="connsiteX2" fmla="*/ 6477004 w 6477004"/>
              <a:gd name="connsiteY2" fmla="*/ 0 h 6105637"/>
              <a:gd name="connsiteX3" fmla="*/ 6462532 w 6477004"/>
              <a:gd name="connsiteY3" fmla="*/ 3052819 h 6105637"/>
              <a:gd name="connsiteX4" fmla="*/ 5756477 w 6477004"/>
              <a:gd name="connsiteY4" fmla="*/ 3018095 h 6105637"/>
              <a:gd name="connsiteX5" fmla="*/ 3409714 w 6477004"/>
              <a:gd name="connsiteY5" fmla="*/ 6105637 h 6105637"/>
              <a:gd name="connsiteX6" fmla="*/ 3052818 w 6477004"/>
              <a:gd name="connsiteY6" fmla="*/ 6105637 h 6105637"/>
              <a:gd name="connsiteX7" fmla="*/ 0 w 6477004"/>
              <a:gd name="connsiteY7" fmla="*/ 3052819 h 6105637"/>
              <a:gd name="connsiteX0" fmla="*/ 0 w 6477004"/>
              <a:gd name="connsiteY0" fmla="*/ 3052819 h 6105637"/>
              <a:gd name="connsiteX1" fmla="*/ 3052818 w 6477004"/>
              <a:gd name="connsiteY1" fmla="*/ 1 h 6105637"/>
              <a:gd name="connsiteX2" fmla="*/ 6477004 w 6477004"/>
              <a:gd name="connsiteY2" fmla="*/ 0 h 6105637"/>
              <a:gd name="connsiteX3" fmla="*/ 6462532 w 6477004"/>
              <a:gd name="connsiteY3" fmla="*/ 3052819 h 6105637"/>
              <a:gd name="connsiteX4" fmla="*/ 3409714 w 6477004"/>
              <a:gd name="connsiteY4" fmla="*/ 6105637 h 6105637"/>
              <a:gd name="connsiteX5" fmla="*/ 3052818 w 6477004"/>
              <a:gd name="connsiteY5" fmla="*/ 6105637 h 6105637"/>
              <a:gd name="connsiteX6" fmla="*/ 0 w 6477004"/>
              <a:gd name="connsiteY6" fmla="*/ 3052819 h 6105637"/>
              <a:gd name="connsiteX0" fmla="*/ 0 w 6477004"/>
              <a:gd name="connsiteY0" fmla="*/ 3052819 h 6108535"/>
              <a:gd name="connsiteX1" fmla="*/ 3052818 w 6477004"/>
              <a:gd name="connsiteY1" fmla="*/ 1 h 6108535"/>
              <a:gd name="connsiteX2" fmla="*/ 6477004 w 6477004"/>
              <a:gd name="connsiteY2" fmla="*/ 0 h 6108535"/>
              <a:gd name="connsiteX3" fmla="*/ 6462532 w 6477004"/>
              <a:gd name="connsiteY3" fmla="*/ 6108535 h 6108535"/>
              <a:gd name="connsiteX4" fmla="*/ 3409714 w 6477004"/>
              <a:gd name="connsiteY4" fmla="*/ 6105637 h 6108535"/>
              <a:gd name="connsiteX5" fmla="*/ 3052818 w 6477004"/>
              <a:gd name="connsiteY5" fmla="*/ 6105637 h 6108535"/>
              <a:gd name="connsiteX6" fmla="*/ 0 w 6477004"/>
              <a:gd name="connsiteY6" fmla="*/ 3052819 h 6108535"/>
              <a:gd name="connsiteX0" fmla="*/ 0 w 6477004"/>
              <a:gd name="connsiteY0" fmla="*/ 3052819 h 6108535"/>
              <a:gd name="connsiteX1" fmla="*/ 3052818 w 6477004"/>
              <a:gd name="connsiteY1" fmla="*/ 1 h 6108535"/>
              <a:gd name="connsiteX2" fmla="*/ 6477004 w 6477004"/>
              <a:gd name="connsiteY2" fmla="*/ 0 h 6108535"/>
              <a:gd name="connsiteX3" fmla="*/ 6323635 w 6477004"/>
              <a:gd name="connsiteY3" fmla="*/ 6108535 h 6108535"/>
              <a:gd name="connsiteX4" fmla="*/ 3409714 w 6477004"/>
              <a:gd name="connsiteY4" fmla="*/ 6105637 h 6108535"/>
              <a:gd name="connsiteX5" fmla="*/ 3052818 w 6477004"/>
              <a:gd name="connsiteY5" fmla="*/ 6105637 h 6108535"/>
              <a:gd name="connsiteX6" fmla="*/ 0 w 6477004"/>
              <a:gd name="connsiteY6" fmla="*/ 3052819 h 6108535"/>
              <a:gd name="connsiteX0" fmla="*/ 0 w 6326533"/>
              <a:gd name="connsiteY0" fmla="*/ 3052819 h 6108535"/>
              <a:gd name="connsiteX1" fmla="*/ 3052818 w 6326533"/>
              <a:gd name="connsiteY1" fmla="*/ 1 h 6108535"/>
              <a:gd name="connsiteX2" fmla="*/ 6326533 w 6326533"/>
              <a:gd name="connsiteY2" fmla="*/ 0 h 6108535"/>
              <a:gd name="connsiteX3" fmla="*/ 6323635 w 6326533"/>
              <a:gd name="connsiteY3" fmla="*/ 6108535 h 6108535"/>
              <a:gd name="connsiteX4" fmla="*/ 3409714 w 6326533"/>
              <a:gd name="connsiteY4" fmla="*/ 6105637 h 6108535"/>
              <a:gd name="connsiteX5" fmla="*/ 3052818 w 6326533"/>
              <a:gd name="connsiteY5" fmla="*/ 6105637 h 6108535"/>
              <a:gd name="connsiteX6" fmla="*/ 0 w 6326533"/>
              <a:gd name="connsiteY6" fmla="*/ 3052819 h 61085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326533" h="6108535">
                <a:moveTo>
                  <a:pt x="0" y="3052819"/>
                </a:moveTo>
                <a:cubicBezTo>
                  <a:pt x="0" y="1366794"/>
                  <a:pt x="1366793" y="1"/>
                  <a:pt x="3052818" y="1"/>
                </a:cubicBezTo>
                <a:lnTo>
                  <a:pt x="6326533" y="0"/>
                </a:lnTo>
                <a:lnTo>
                  <a:pt x="6323635" y="6108535"/>
                </a:lnTo>
                <a:lnTo>
                  <a:pt x="3409714" y="6105637"/>
                </a:lnTo>
                <a:lnTo>
                  <a:pt x="3052818" y="6105637"/>
                </a:lnTo>
                <a:cubicBezTo>
                  <a:pt x="1366793" y="6105637"/>
                  <a:pt x="0" y="4738844"/>
                  <a:pt x="0" y="3052819"/>
                </a:cubicBezTo>
                <a:close/>
              </a:path>
            </a:pathLst>
          </a:custGeom>
          <a:noFill/>
        </p:spPr>
        <p:txBody>
          <a:bodyPr>
            <a:normAutofit/>
          </a:bodyPr>
          <a:lstStyle>
            <a:lvl1pPr marL="0" indent="0">
              <a:buNone/>
              <a:defRPr sz="2400">
                <a:solidFill>
                  <a:schemeClr val="bg1"/>
                </a:solidFill>
              </a:defRPr>
            </a:lvl1pPr>
          </a:lstStyle>
          <a:p>
            <a:r>
              <a:rPr lang="en-US"/>
              <a:t>Click icon to add picture</a:t>
            </a:r>
          </a:p>
        </p:txBody>
      </p:sp>
      <p:pic>
        <p:nvPicPr>
          <p:cNvPr id="9" name="Picture 8" descr="Takeda">
            <a:extLst>
              <a:ext uri="{FF2B5EF4-FFF2-40B4-BE49-F238E27FC236}">
                <a16:creationId xmlns:a16="http://schemas.microsoft.com/office/drawing/2014/main" id="{F83AE827-0C93-0344-8F1E-82C9D7F8CD5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74417" y="-10972"/>
            <a:ext cx="2251710" cy="1248865"/>
          </a:xfrm>
          <a:prstGeom prst="rect">
            <a:avLst/>
          </a:prstGeom>
        </p:spPr>
      </p:pic>
      <p:pic>
        <p:nvPicPr>
          <p:cNvPr id="19" name="Picture 18">
            <a:extLst>
              <a:ext uri="{FF2B5EF4-FFF2-40B4-BE49-F238E27FC236}">
                <a16:creationId xmlns:a16="http://schemas.microsoft.com/office/drawing/2014/main" id="{C219044E-3CA3-8043-AF11-ED42DE4ECFF4}"/>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94730" y="6367253"/>
            <a:ext cx="1958578" cy="117462"/>
          </a:xfrm>
          <a:prstGeom prst="rect">
            <a:avLst/>
          </a:prstGeom>
        </p:spPr>
      </p:pic>
      <p:sp>
        <p:nvSpPr>
          <p:cNvPr id="28" name="Rectangle 27">
            <a:extLst>
              <a:ext uri="{FF2B5EF4-FFF2-40B4-BE49-F238E27FC236}">
                <a16:creationId xmlns:a16="http://schemas.microsoft.com/office/drawing/2014/main" id="{92F9C2FE-7E43-3948-92F0-0CEA804BDBFE}"/>
              </a:ext>
            </a:extLst>
          </p:cNvPr>
          <p:cNvSpPr/>
          <p:nvPr userDrawn="1"/>
        </p:nvSpPr>
        <p:spPr>
          <a:xfrm>
            <a:off x="749005" y="2110246"/>
            <a:ext cx="97200" cy="270718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kumimoji="0" lang="en-US" altLang="en-US" sz="1800">
              <a:solidFill>
                <a:srgbClr val="FFFFFF"/>
              </a:solidFill>
            </a:endParaRPr>
          </a:p>
        </p:txBody>
      </p:sp>
      <p:sp>
        <p:nvSpPr>
          <p:cNvPr id="29" name="Text Placeholder 2">
            <a:extLst>
              <a:ext uri="{FF2B5EF4-FFF2-40B4-BE49-F238E27FC236}">
                <a16:creationId xmlns:a16="http://schemas.microsoft.com/office/drawing/2014/main" id="{8F239D86-1AC3-1D48-9675-22CEFBB263F8}"/>
              </a:ext>
            </a:extLst>
          </p:cNvPr>
          <p:cNvSpPr>
            <a:spLocks noGrp="1"/>
          </p:cNvSpPr>
          <p:nvPr>
            <p:ph type="body" sz="quarter" idx="27" hasCustomPrompt="1"/>
          </p:nvPr>
        </p:nvSpPr>
        <p:spPr>
          <a:xfrm>
            <a:off x="1194729" y="3835926"/>
            <a:ext cx="4354732" cy="234001"/>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068" indent="0">
              <a:buNone/>
              <a:defRPr sz="1400">
                <a:solidFill>
                  <a:schemeClr val="tx1"/>
                </a:solidFill>
              </a:defRPr>
            </a:lvl2pPr>
            <a:lvl3pPr marL="914149" indent="0">
              <a:buNone/>
              <a:defRPr sz="1400">
                <a:solidFill>
                  <a:schemeClr val="tx1"/>
                </a:solidFill>
              </a:defRPr>
            </a:lvl3pPr>
            <a:lvl4pPr marL="1371219" indent="0">
              <a:buNone/>
              <a:defRPr sz="1400">
                <a:solidFill>
                  <a:schemeClr val="tx1"/>
                </a:solidFill>
              </a:defRPr>
            </a:lvl4pPr>
            <a:lvl5pPr marL="1828290" indent="0">
              <a:buNone/>
              <a:defRPr sz="1400">
                <a:solidFill>
                  <a:schemeClr val="tx1"/>
                </a:solidFill>
              </a:defRPr>
            </a:lvl5pPr>
          </a:lstStyle>
          <a:p>
            <a:pPr lvl="0"/>
            <a:r>
              <a:rPr lang="en-US"/>
              <a:t>Title of Position</a:t>
            </a:r>
          </a:p>
        </p:txBody>
      </p:sp>
      <p:sp>
        <p:nvSpPr>
          <p:cNvPr id="30" name="Text Placeholder 2">
            <a:extLst>
              <a:ext uri="{FF2B5EF4-FFF2-40B4-BE49-F238E27FC236}">
                <a16:creationId xmlns:a16="http://schemas.microsoft.com/office/drawing/2014/main" id="{91BF6710-27B9-2444-8317-2C64F0D30847}"/>
              </a:ext>
            </a:extLst>
          </p:cNvPr>
          <p:cNvSpPr>
            <a:spLocks noGrp="1"/>
          </p:cNvSpPr>
          <p:nvPr>
            <p:ph type="body" sz="quarter" idx="28" hasCustomPrompt="1"/>
          </p:nvPr>
        </p:nvSpPr>
        <p:spPr>
          <a:xfrm>
            <a:off x="1194729" y="4094940"/>
            <a:ext cx="4354732" cy="234001"/>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068" indent="0">
              <a:buNone/>
              <a:defRPr sz="1400">
                <a:solidFill>
                  <a:schemeClr val="tx1"/>
                </a:solidFill>
              </a:defRPr>
            </a:lvl2pPr>
            <a:lvl3pPr marL="914149" indent="0">
              <a:buNone/>
              <a:defRPr sz="1400">
                <a:solidFill>
                  <a:schemeClr val="tx1"/>
                </a:solidFill>
              </a:defRPr>
            </a:lvl3pPr>
            <a:lvl4pPr marL="1371219" indent="0">
              <a:buNone/>
              <a:defRPr sz="1400">
                <a:solidFill>
                  <a:schemeClr val="tx1"/>
                </a:solidFill>
              </a:defRPr>
            </a:lvl4pPr>
            <a:lvl5pPr marL="1828290" indent="0">
              <a:buNone/>
              <a:defRPr sz="1400">
                <a:solidFill>
                  <a:schemeClr val="tx1"/>
                </a:solidFill>
              </a:defRPr>
            </a:lvl5pPr>
          </a:lstStyle>
          <a:p>
            <a:pPr lvl="0"/>
            <a:r>
              <a:rPr lang="en-US"/>
              <a:t>Department</a:t>
            </a:r>
          </a:p>
        </p:txBody>
      </p:sp>
      <p:sp>
        <p:nvSpPr>
          <p:cNvPr id="31" name="Text Placeholder 2">
            <a:extLst>
              <a:ext uri="{FF2B5EF4-FFF2-40B4-BE49-F238E27FC236}">
                <a16:creationId xmlns:a16="http://schemas.microsoft.com/office/drawing/2014/main" id="{669B2D41-B11D-9D45-B189-F838AC342B07}"/>
              </a:ext>
            </a:extLst>
          </p:cNvPr>
          <p:cNvSpPr>
            <a:spLocks noGrp="1"/>
          </p:cNvSpPr>
          <p:nvPr>
            <p:ph type="body" sz="quarter" idx="29" hasCustomPrompt="1"/>
          </p:nvPr>
        </p:nvSpPr>
        <p:spPr>
          <a:xfrm>
            <a:off x="1194729" y="4349427"/>
            <a:ext cx="4354732" cy="234001"/>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068" indent="0">
              <a:buNone/>
              <a:defRPr sz="1400">
                <a:solidFill>
                  <a:schemeClr val="tx1"/>
                </a:solidFill>
              </a:defRPr>
            </a:lvl2pPr>
            <a:lvl3pPr marL="914149" indent="0">
              <a:buNone/>
              <a:defRPr sz="1400">
                <a:solidFill>
                  <a:schemeClr val="tx1"/>
                </a:solidFill>
              </a:defRPr>
            </a:lvl3pPr>
            <a:lvl4pPr marL="1371219" indent="0">
              <a:buNone/>
              <a:defRPr sz="1400">
                <a:solidFill>
                  <a:schemeClr val="tx1"/>
                </a:solidFill>
              </a:defRPr>
            </a:lvl4pPr>
            <a:lvl5pPr marL="1828290" indent="0">
              <a:buNone/>
              <a:defRPr sz="1400">
                <a:solidFill>
                  <a:schemeClr val="tx1"/>
                </a:solidFill>
              </a:defRPr>
            </a:lvl5pPr>
          </a:lstStyle>
          <a:p>
            <a:pPr lvl="0"/>
            <a:r>
              <a:rPr lang="en-US"/>
              <a:t>Date</a:t>
            </a:r>
          </a:p>
        </p:txBody>
      </p:sp>
      <p:sp>
        <p:nvSpPr>
          <p:cNvPr id="32" name="Text Placeholder 2">
            <a:extLst>
              <a:ext uri="{FF2B5EF4-FFF2-40B4-BE49-F238E27FC236}">
                <a16:creationId xmlns:a16="http://schemas.microsoft.com/office/drawing/2014/main" id="{D7467C81-9D88-4140-B42C-28DFB5646475}"/>
              </a:ext>
            </a:extLst>
          </p:cNvPr>
          <p:cNvSpPr>
            <a:spLocks noGrp="1"/>
          </p:cNvSpPr>
          <p:nvPr>
            <p:ph type="body" sz="quarter" idx="30" hasCustomPrompt="1"/>
          </p:nvPr>
        </p:nvSpPr>
        <p:spPr>
          <a:xfrm>
            <a:off x="1194729" y="3577405"/>
            <a:ext cx="4354732" cy="234001"/>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068" indent="0">
              <a:buNone/>
              <a:defRPr sz="1400">
                <a:solidFill>
                  <a:schemeClr val="tx1"/>
                </a:solidFill>
              </a:defRPr>
            </a:lvl2pPr>
            <a:lvl3pPr marL="914149" indent="0">
              <a:buNone/>
              <a:defRPr sz="1400">
                <a:solidFill>
                  <a:schemeClr val="tx1"/>
                </a:solidFill>
              </a:defRPr>
            </a:lvl3pPr>
            <a:lvl4pPr marL="1371219" indent="0">
              <a:buNone/>
              <a:defRPr sz="1400">
                <a:solidFill>
                  <a:schemeClr val="tx1"/>
                </a:solidFill>
              </a:defRPr>
            </a:lvl4pPr>
            <a:lvl5pPr marL="1828290" indent="0">
              <a:buNone/>
              <a:defRPr sz="1400">
                <a:solidFill>
                  <a:schemeClr val="tx1"/>
                </a:solidFill>
              </a:defRPr>
            </a:lvl5pPr>
          </a:lstStyle>
          <a:p>
            <a:pPr lvl="0"/>
            <a:r>
              <a:rPr lang="en-US"/>
              <a:t>Presenter Name</a:t>
            </a:r>
          </a:p>
        </p:txBody>
      </p:sp>
    </p:spTree>
    <p:extLst>
      <p:ext uri="{BB962C8B-B14F-4D97-AF65-F5344CB8AC3E}">
        <p14:creationId xmlns:p14="http://schemas.microsoft.com/office/powerpoint/2010/main" val="638458047"/>
      </p:ext>
    </p:extLst>
  </p:cSld>
  <p:clrMapOvr>
    <a:masterClrMapping/>
  </p:clrMapOvr>
  <p:transition spd="slow">
    <p:push dir="u"/>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Title Page 2 ">
    <p:spTree>
      <p:nvGrpSpPr>
        <p:cNvPr id="1" name=""/>
        <p:cNvGrpSpPr/>
        <p:nvPr/>
      </p:nvGrpSpPr>
      <p:grpSpPr>
        <a:xfrm>
          <a:off x="0" y="0"/>
          <a:ext cx="0" cy="0"/>
          <a:chOff x="0" y="0"/>
          <a:chExt cx="0" cy="0"/>
        </a:xfrm>
      </p:grpSpPr>
      <p:sp>
        <p:nvSpPr>
          <p:cNvPr id="33" name="Title 1">
            <a:extLst>
              <a:ext uri="{FF2B5EF4-FFF2-40B4-BE49-F238E27FC236}">
                <a16:creationId xmlns:a16="http://schemas.microsoft.com/office/drawing/2014/main" id="{E02383DA-65B3-044E-9E1B-2CC00A0B1CC6}"/>
              </a:ext>
            </a:extLst>
          </p:cNvPr>
          <p:cNvSpPr>
            <a:spLocks noGrp="1"/>
          </p:cNvSpPr>
          <p:nvPr>
            <p:ph type="ctrTitle" hasCustomPrompt="1"/>
          </p:nvPr>
        </p:nvSpPr>
        <p:spPr>
          <a:xfrm>
            <a:off x="1194730" y="2303030"/>
            <a:ext cx="6862150" cy="1125969"/>
          </a:xfrm>
          <a:prstGeom prst="rect">
            <a:avLst/>
          </a:prstGeom>
        </p:spPr>
        <p:txBody>
          <a:bodyPr wrap="square" lIns="0" tIns="0" rIns="0" bIns="0" anchor="t" anchorCtr="0">
            <a:normAutofit/>
          </a:bodyPr>
          <a:lstStyle>
            <a:lvl1pPr>
              <a:lnSpc>
                <a:spcPts val="3800"/>
              </a:lnSpc>
              <a:defRPr sz="3600" b="1" i="0" baseline="0">
                <a:solidFill>
                  <a:schemeClr val="tx1"/>
                </a:solidFill>
                <a:latin typeface="Calibri" panose="020F0502020204030204" pitchFamily="34" charset="0"/>
                <a:ea typeface="メイリオ" pitchFamily="50" charset="-128"/>
                <a:cs typeface="Calibri" pitchFamily="34" charset="0"/>
              </a:defRPr>
            </a:lvl1pPr>
          </a:lstStyle>
          <a:p>
            <a:r>
              <a:rPr lang="en-GB"/>
              <a:t>Click to add title</a:t>
            </a:r>
          </a:p>
        </p:txBody>
      </p:sp>
      <p:sp>
        <p:nvSpPr>
          <p:cNvPr id="28" name="Rectangle 27">
            <a:extLst>
              <a:ext uri="{FF2B5EF4-FFF2-40B4-BE49-F238E27FC236}">
                <a16:creationId xmlns:a16="http://schemas.microsoft.com/office/drawing/2014/main" id="{92F9C2FE-7E43-3948-92F0-0CEA804BDBFE}"/>
              </a:ext>
            </a:extLst>
          </p:cNvPr>
          <p:cNvSpPr/>
          <p:nvPr userDrawn="1"/>
        </p:nvSpPr>
        <p:spPr>
          <a:xfrm>
            <a:off x="749005" y="2110246"/>
            <a:ext cx="97200" cy="270718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kumimoji="0" lang="en-US" altLang="en-US" sz="1800">
              <a:solidFill>
                <a:srgbClr val="FFFFFF"/>
              </a:solidFill>
            </a:endParaRPr>
          </a:p>
        </p:txBody>
      </p:sp>
      <p:sp>
        <p:nvSpPr>
          <p:cNvPr id="29" name="Text Placeholder 2">
            <a:extLst>
              <a:ext uri="{FF2B5EF4-FFF2-40B4-BE49-F238E27FC236}">
                <a16:creationId xmlns:a16="http://schemas.microsoft.com/office/drawing/2014/main" id="{8F239D86-1AC3-1D48-9675-22CEFBB263F8}"/>
              </a:ext>
            </a:extLst>
          </p:cNvPr>
          <p:cNvSpPr>
            <a:spLocks noGrp="1"/>
          </p:cNvSpPr>
          <p:nvPr>
            <p:ph type="body" sz="quarter" idx="27" hasCustomPrompt="1"/>
          </p:nvPr>
        </p:nvSpPr>
        <p:spPr>
          <a:xfrm>
            <a:off x="1194729" y="3835926"/>
            <a:ext cx="6862150" cy="263075"/>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068" indent="0">
              <a:buNone/>
              <a:defRPr sz="1400">
                <a:solidFill>
                  <a:schemeClr val="tx1"/>
                </a:solidFill>
              </a:defRPr>
            </a:lvl2pPr>
            <a:lvl3pPr marL="914149" indent="0">
              <a:buNone/>
              <a:defRPr sz="1400">
                <a:solidFill>
                  <a:schemeClr val="tx1"/>
                </a:solidFill>
              </a:defRPr>
            </a:lvl3pPr>
            <a:lvl4pPr marL="1371219" indent="0">
              <a:buNone/>
              <a:defRPr sz="1400">
                <a:solidFill>
                  <a:schemeClr val="tx1"/>
                </a:solidFill>
              </a:defRPr>
            </a:lvl4pPr>
            <a:lvl5pPr marL="1828290" indent="0">
              <a:buNone/>
              <a:defRPr sz="1400">
                <a:solidFill>
                  <a:schemeClr val="tx1"/>
                </a:solidFill>
              </a:defRPr>
            </a:lvl5pPr>
          </a:lstStyle>
          <a:p>
            <a:pPr lvl="0"/>
            <a:r>
              <a:rPr lang="en-US"/>
              <a:t>Title of Position</a:t>
            </a:r>
          </a:p>
        </p:txBody>
      </p:sp>
      <p:sp>
        <p:nvSpPr>
          <p:cNvPr id="30" name="Text Placeholder 2">
            <a:extLst>
              <a:ext uri="{FF2B5EF4-FFF2-40B4-BE49-F238E27FC236}">
                <a16:creationId xmlns:a16="http://schemas.microsoft.com/office/drawing/2014/main" id="{91BF6710-27B9-2444-8317-2C64F0D30847}"/>
              </a:ext>
            </a:extLst>
          </p:cNvPr>
          <p:cNvSpPr>
            <a:spLocks noGrp="1"/>
          </p:cNvSpPr>
          <p:nvPr>
            <p:ph type="body" sz="quarter" idx="28" hasCustomPrompt="1"/>
          </p:nvPr>
        </p:nvSpPr>
        <p:spPr>
          <a:xfrm>
            <a:off x="1194729" y="4094940"/>
            <a:ext cx="6862150" cy="263075"/>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068" indent="0">
              <a:buNone/>
              <a:defRPr sz="1400">
                <a:solidFill>
                  <a:schemeClr val="tx1"/>
                </a:solidFill>
              </a:defRPr>
            </a:lvl2pPr>
            <a:lvl3pPr marL="914149" indent="0">
              <a:buNone/>
              <a:defRPr sz="1400">
                <a:solidFill>
                  <a:schemeClr val="tx1"/>
                </a:solidFill>
              </a:defRPr>
            </a:lvl3pPr>
            <a:lvl4pPr marL="1371219" indent="0">
              <a:buNone/>
              <a:defRPr sz="1400">
                <a:solidFill>
                  <a:schemeClr val="tx1"/>
                </a:solidFill>
              </a:defRPr>
            </a:lvl4pPr>
            <a:lvl5pPr marL="1828290" indent="0">
              <a:buNone/>
              <a:defRPr sz="1400">
                <a:solidFill>
                  <a:schemeClr val="tx1"/>
                </a:solidFill>
              </a:defRPr>
            </a:lvl5pPr>
          </a:lstStyle>
          <a:p>
            <a:pPr lvl="0"/>
            <a:r>
              <a:rPr lang="en-US"/>
              <a:t>Department</a:t>
            </a:r>
          </a:p>
        </p:txBody>
      </p:sp>
      <p:sp>
        <p:nvSpPr>
          <p:cNvPr id="31" name="Text Placeholder 2">
            <a:extLst>
              <a:ext uri="{FF2B5EF4-FFF2-40B4-BE49-F238E27FC236}">
                <a16:creationId xmlns:a16="http://schemas.microsoft.com/office/drawing/2014/main" id="{669B2D41-B11D-9D45-B189-F838AC342B07}"/>
              </a:ext>
            </a:extLst>
          </p:cNvPr>
          <p:cNvSpPr>
            <a:spLocks noGrp="1"/>
          </p:cNvSpPr>
          <p:nvPr>
            <p:ph type="body" sz="quarter" idx="29" hasCustomPrompt="1"/>
          </p:nvPr>
        </p:nvSpPr>
        <p:spPr>
          <a:xfrm>
            <a:off x="1194729" y="4349427"/>
            <a:ext cx="6862150" cy="263075"/>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068" indent="0">
              <a:buNone/>
              <a:defRPr sz="1400">
                <a:solidFill>
                  <a:schemeClr val="tx1"/>
                </a:solidFill>
              </a:defRPr>
            </a:lvl2pPr>
            <a:lvl3pPr marL="914149" indent="0">
              <a:buNone/>
              <a:defRPr sz="1400">
                <a:solidFill>
                  <a:schemeClr val="tx1"/>
                </a:solidFill>
              </a:defRPr>
            </a:lvl3pPr>
            <a:lvl4pPr marL="1371219" indent="0">
              <a:buNone/>
              <a:defRPr sz="1400">
                <a:solidFill>
                  <a:schemeClr val="tx1"/>
                </a:solidFill>
              </a:defRPr>
            </a:lvl4pPr>
            <a:lvl5pPr marL="1828290" indent="0">
              <a:buNone/>
              <a:defRPr sz="1400">
                <a:solidFill>
                  <a:schemeClr val="tx1"/>
                </a:solidFill>
              </a:defRPr>
            </a:lvl5pPr>
          </a:lstStyle>
          <a:p>
            <a:pPr lvl="0"/>
            <a:r>
              <a:rPr lang="en-US"/>
              <a:t>Date</a:t>
            </a:r>
          </a:p>
        </p:txBody>
      </p:sp>
      <p:sp>
        <p:nvSpPr>
          <p:cNvPr id="32" name="Text Placeholder 2">
            <a:extLst>
              <a:ext uri="{FF2B5EF4-FFF2-40B4-BE49-F238E27FC236}">
                <a16:creationId xmlns:a16="http://schemas.microsoft.com/office/drawing/2014/main" id="{D7467C81-9D88-4140-B42C-28DFB5646475}"/>
              </a:ext>
            </a:extLst>
          </p:cNvPr>
          <p:cNvSpPr>
            <a:spLocks noGrp="1"/>
          </p:cNvSpPr>
          <p:nvPr>
            <p:ph type="body" sz="quarter" idx="30" hasCustomPrompt="1"/>
          </p:nvPr>
        </p:nvSpPr>
        <p:spPr>
          <a:xfrm>
            <a:off x="1194729" y="3577405"/>
            <a:ext cx="6862150" cy="263075"/>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068" indent="0">
              <a:buNone/>
              <a:defRPr sz="1400">
                <a:solidFill>
                  <a:schemeClr val="tx1"/>
                </a:solidFill>
              </a:defRPr>
            </a:lvl2pPr>
            <a:lvl3pPr marL="914149" indent="0">
              <a:buNone/>
              <a:defRPr sz="1400">
                <a:solidFill>
                  <a:schemeClr val="tx1"/>
                </a:solidFill>
              </a:defRPr>
            </a:lvl3pPr>
            <a:lvl4pPr marL="1371219" indent="0">
              <a:buNone/>
              <a:defRPr sz="1400">
                <a:solidFill>
                  <a:schemeClr val="tx1"/>
                </a:solidFill>
              </a:defRPr>
            </a:lvl4pPr>
            <a:lvl5pPr marL="1828290" indent="0">
              <a:buNone/>
              <a:defRPr sz="1400">
                <a:solidFill>
                  <a:schemeClr val="tx1"/>
                </a:solidFill>
              </a:defRPr>
            </a:lvl5pPr>
          </a:lstStyle>
          <a:p>
            <a:pPr lvl="0"/>
            <a:r>
              <a:rPr lang="en-US"/>
              <a:t>Presenter Name</a:t>
            </a:r>
          </a:p>
        </p:txBody>
      </p:sp>
      <p:pic>
        <p:nvPicPr>
          <p:cNvPr id="12" name="Picture 11">
            <a:extLst>
              <a:ext uri="{FF2B5EF4-FFF2-40B4-BE49-F238E27FC236}">
                <a16:creationId xmlns:a16="http://schemas.microsoft.com/office/drawing/2014/main" id="{16819C41-2A79-B54D-9C44-C619DA694E6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571921" y="6357944"/>
            <a:ext cx="1958578" cy="117462"/>
          </a:xfrm>
          <a:prstGeom prst="rect">
            <a:avLst/>
          </a:prstGeom>
        </p:spPr>
      </p:pic>
      <p:pic>
        <p:nvPicPr>
          <p:cNvPr id="13" name="Picture 12">
            <a:extLst>
              <a:ext uri="{FF2B5EF4-FFF2-40B4-BE49-F238E27FC236}">
                <a16:creationId xmlns:a16="http://schemas.microsoft.com/office/drawing/2014/main" id="{3D2794BD-1A0D-7D48-855D-469111926BF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790516" y="-8600"/>
            <a:ext cx="2251710" cy="1248865"/>
          </a:xfrm>
          <a:prstGeom prst="rect">
            <a:avLst/>
          </a:prstGeom>
        </p:spPr>
      </p:pic>
      <p:sp>
        <p:nvSpPr>
          <p:cNvPr id="14" name="Text Placeholder 2">
            <a:extLst>
              <a:ext uri="{FF2B5EF4-FFF2-40B4-BE49-F238E27FC236}">
                <a16:creationId xmlns:a16="http://schemas.microsoft.com/office/drawing/2014/main" id="{B9909778-A51F-784D-ACA4-EC5DBA48BE16}"/>
              </a:ext>
            </a:extLst>
          </p:cNvPr>
          <p:cNvSpPr>
            <a:spLocks noGrp="1"/>
          </p:cNvSpPr>
          <p:nvPr>
            <p:ph type="body" sz="quarter" idx="16" hasCustomPrompt="1"/>
          </p:nvPr>
        </p:nvSpPr>
        <p:spPr>
          <a:xfrm>
            <a:off x="1194729" y="6319955"/>
            <a:ext cx="7699670" cy="234001"/>
          </a:xfrm>
        </p:spPr>
        <p:txBody>
          <a:bodyPr tIns="0" rIns="0" bIns="0" anchor="ctr" anchorCtr="0">
            <a:noAutofit/>
          </a:bodyPr>
          <a:lstStyle>
            <a:lvl1pPr marL="0" marR="0" indent="0" algn="l" defTabSz="914150" rtl="0" eaLnBrk="1" fontAlgn="auto" latinLnBrk="0" hangingPunct="1">
              <a:lnSpc>
                <a:spcPct val="100000"/>
              </a:lnSpc>
              <a:spcBef>
                <a:spcPct val="20000"/>
              </a:spcBef>
              <a:spcAft>
                <a:spcPts val="0"/>
              </a:spcAft>
              <a:buClr>
                <a:srgbClr val="4C4948"/>
              </a:buClr>
              <a:buSzTx/>
              <a:buFont typeface="Arial" panose="020B0604020202020204" pitchFamily="34" charset="0"/>
              <a:buNone/>
              <a:tabLst/>
              <a:defRPr sz="800"/>
            </a:lvl1pPr>
            <a:lvl2pPr>
              <a:defRPr sz="800"/>
            </a:lvl2pPr>
            <a:lvl3pPr>
              <a:defRPr sz="800"/>
            </a:lvl3pPr>
            <a:lvl4pPr>
              <a:defRPr sz="800"/>
            </a:lvl4pPr>
            <a:lvl5pPr>
              <a:defRPr sz="800"/>
            </a:lvl5pPr>
          </a:lstStyle>
          <a:p>
            <a:pPr marL="0" marR="0" lvl="0" indent="0" algn="l" defTabSz="914150" rtl="0" eaLnBrk="1" fontAlgn="auto" latinLnBrk="0" hangingPunct="1">
              <a:lnSpc>
                <a:spcPct val="100000"/>
              </a:lnSpc>
              <a:spcBef>
                <a:spcPct val="20000"/>
              </a:spcBef>
              <a:spcAft>
                <a:spcPts val="0"/>
              </a:spcAft>
              <a:buClr>
                <a:srgbClr val="4C4948"/>
              </a:buClr>
              <a:buSzTx/>
              <a:buFont typeface="Arial" panose="020B0604020202020204" pitchFamily="34" charset="0"/>
              <a:buNone/>
              <a:tabLst/>
              <a:defRPr/>
            </a:pPr>
            <a:r>
              <a:rPr lang="en-US"/>
              <a:t>Private and confidential. For internal use only.</a:t>
            </a:r>
          </a:p>
        </p:txBody>
      </p:sp>
    </p:spTree>
    <p:extLst>
      <p:ext uri="{BB962C8B-B14F-4D97-AF65-F5344CB8AC3E}">
        <p14:creationId xmlns:p14="http://schemas.microsoft.com/office/powerpoint/2010/main" val="420094520"/>
      </p:ext>
    </p:extLst>
  </p:cSld>
  <p:clrMapOvr>
    <a:masterClrMapping/>
  </p:clrMapOvr>
  <p:transition spd="slow">
    <p:push dir="u"/>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Standard 1-Column Text">
    <p:spTree>
      <p:nvGrpSpPr>
        <p:cNvPr id="1" name=""/>
        <p:cNvGrpSpPr/>
        <p:nvPr/>
      </p:nvGrpSpPr>
      <p:grpSpPr>
        <a:xfrm>
          <a:off x="0" y="0"/>
          <a:ext cx="0" cy="0"/>
          <a:chOff x="0" y="0"/>
          <a:chExt cx="0" cy="0"/>
        </a:xfrm>
      </p:grpSpPr>
      <p:sp>
        <p:nvSpPr>
          <p:cNvPr id="12" name="Text Placeholder 6">
            <a:extLst>
              <a:ext uri="{FF2B5EF4-FFF2-40B4-BE49-F238E27FC236}">
                <a16:creationId xmlns:a16="http://schemas.microsoft.com/office/drawing/2014/main" id="{FD2406EE-A554-5348-AE6D-4D8B343E6201}"/>
              </a:ext>
            </a:extLst>
          </p:cNvPr>
          <p:cNvSpPr>
            <a:spLocks noGrp="1"/>
          </p:cNvSpPr>
          <p:nvPr>
            <p:ph type="body" sz="quarter" idx="15" hasCustomPrompt="1"/>
          </p:nvPr>
        </p:nvSpPr>
        <p:spPr>
          <a:xfrm>
            <a:off x="311150" y="1102385"/>
            <a:ext cx="11569700" cy="5328857"/>
          </a:xfrm>
          <a:prstGeom prst="rect">
            <a:avLst/>
          </a:prstGeom>
        </p:spPr>
        <p:txBody>
          <a:bodyPr tIns="0" rIns="0" bIns="0" numCol="1">
            <a:normAutofit/>
          </a:bodyPr>
          <a:lstStyle>
            <a:lvl1pPr marL="0" indent="0">
              <a:lnSpc>
                <a:spcPct val="100000"/>
              </a:lnSpc>
              <a:spcBef>
                <a:spcPts val="0"/>
              </a:spcBef>
              <a:spcAft>
                <a:spcPts val="600"/>
              </a:spcAft>
              <a:buFont typeface="Arial" panose="020B0604020202020204" pitchFamily="34" charset="0"/>
              <a:buNone/>
              <a:defRPr sz="1600" b="0">
                <a:solidFill>
                  <a:schemeClr val="tx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a one-column layout. Click to add content</a:t>
            </a:r>
          </a:p>
        </p:txBody>
      </p:sp>
      <p:sp>
        <p:nvSpPr>
          <p:cNvPr id="19" name="Footer Placeholder 8">
            <a:extLst>
              <a:ext uri="{FF2B5EF4-FFF2-40B4-BE49-F238E27FC236}">
                <a16:creationId xmlns:a16="http://schemas.microsoft.com/office/drawing/2014/main" id="{CDA06C55-0643-C148-AAB1-C4BB26FD7B26}"/>
              </a:ext>
            </a:extLst>
          </p:cNvPr>
          <p:cNvSpPr>
            <a:spLocks noGrp="1"/>
          </p:cNvSpPr>
          <p:nvPr>
            <p:ph type="ftr" sz="quarter" idx="3"/>
          </p:nvPr>
        </p:nvSpPr>
        <p:spPr>
          <a:xfrm>
            <a:off x="7766050" y="6523001"/>
            <a:ext cx="4114800" cy="196131"/>
          </a:xfrm>
          <a:prstGeom prst="rect">
            <a:avLst/>
          </a:prstGeom>
        </p:spPr>
        <p:txBody>
          <a:bodyPr vert="horz" lIns="0" tIns="0" rIns="0" bIns="0" rtlCol="0" anchor="ctr"/>
          <a:lstStyle>
            <a:lvl1pPr algn="r">
              <a:defRPr sz="800" b="1" spc="100" baseline="0">
                <a:solidFill>
                  <a:schemeClr val="tx1"/>
                </a:solidFill>
              </a:defRPr>
            </a:lvl1pPr>
          </a:lstStyle>
          <a:p>
            <a:r>
              <a:rPr lang="en-JP"/>
              <a:t> </a:t>
            </a:r>
          </a:p>
        </p:txBody>
      </p:sp>
      <p:pic>
        <p:nvPicPr>
          <p:cNvPr id="14" name="Picture 13" descr="Takeda">
            <a:extLst>
              <a:ext uri="{FF2B5EF4-FFF2-40B4-BE49-F238E27FC236}">
                <a16:creationId xmlns:a16="http://schemas.microsoft.com/office/drawing/2014/main" id="{A75F5BF7-D49E-8A49-AE81-CB31E57D5A7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46331" y="-1615"/>
            <a:ext cx="1696232" cy="940780"/>
          </a:xfrm>
          <a:prstGeom prst="rect">
            <a:avLst/>
          </a:prstGeom>
        </p:spPr>
      </p:pic>
      <p:sp>
        <p:nvSpPr>
          <p:cNvPr id="22" name="タイトル プレースホルダ 1">
            <a:extLst>
              <a:ext uri="{FF2B5EF4-FFF2-40B4-BE49-F238E27FC236}">
                <a16:creationId xmlns:a16="http://schemas.microsoft.com/office/drawing/2014/main" id="{86D2E5B8-9E2B-DB46-A55A-5F26569C4F99}"/>
              </a:ext>
            </a:extLst>
          </p:cNvPr>
          <p:cNvSpPr>
            <a:spLocks noGrp="1"/>
          </p:cNvSpPr>
          <p:nvPr>
            <p:ph type="title" hasCustomPrompt="1"/>
          </p:nvPr>
        </p:nvSpPr>
        <p:spPr>
          <a:xfrm>
            <a:off x="606078" y="161605"/>
            <a:ext cx="9940253" cy="685801"/>
          </a:xfrm>
          <a:prstGeom prst="rect">
            <a:avLst/>
          </a:prstGeom>
        </p:spPr>
        <p:txBody>
          <a:bodyPr vert="horz" lIns="0" tIns="0" rIns="0" bIns="0" rtlCol="0" anchor="ctr">
            <a:normAutofit/>
          </a:bodyPr>
          <a:lstStyle/>
          <a:p>
            <a:r>
              <a:rPr kumimoji="1" lang="en-US" altLang="ja-JP"/>
              <a:t>Click to add title</a:t>
            </a:r>
            <a:endParaRPr kumimoji="1" lang="ja-JP" altLang="en-US"/>
          </a:p>
        </p:txBody>
      </p:sp>
      <p:sp>
        <p:nvSpPr>
          <p:cNvPr id="20" name="スライド番号プレースホルダ 5">
            <a:extLst>
              <a:ext uri="{FF2B5EF4-FFF2-40B4-BE49-F238E27FC236}">
                <a16:creationId xmlns:a16="http://schemas.microsoft.com/office/drawing/2014/main" id="{51A4825E-63A1-564F-BC3A-FBC167ECE5EB}"/>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1" name="Rectangle 20">
            <a:extLst>
              <a:ext uri="{FF2B5EF4-FFF2-40B4-BE49-F238E27FC236}">
                <a16:creationId xmlns:a16="http://schemas.microsoft.com/office/drawing/2014/main" id="{FCF9CDB0-5730-E246-B31F-F5963CF8EFDC}"/>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a:solidFill>
                <a:schemeClr val="accent1"/>
              </a:solidFill>
            </a:endParaRPr>
          </a:p>
        </p:txBody>
      </p:sp>
      <p:sp>
        <p:nvSpPr>
          <p:cNvPr id="24" name="Text Placeholder 6">
            <a:extLst>
              <a:ext uri="{FF2B5EF4-FFF2-40B4-BE49-F238E27FC236}">
                <a16:creationId xmlns:a16="http://schemas.microsoft.com/office/drawing/2014/main" id="{44EB3013-FCB4-1B4E-A9F2-FD57CF727CCC}"/>
              </a:ext>
            </a:extLst>
          </p:cNvPr>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Private and confidential. For internal use only.</a:t>
            </a:r>
          </a:p>
        </p:txBody>
      </p:sp>
    </p:spTree>
    <p:extLst>
      <p:ext uri="{BB962C8B-B14F-4D97-AF65-F5344CB8AC3E}">
        <p14:creationId xmlns:p14="http://schemas.microsoft.com/office/powerpoint/2010/main" val="3103199440"/>
      </p:ext>
    </p:extLst>
  </p:cSld>
  <p:clrMapOvr>
    <a:masterClrMapping/>
  </p:clrMapOvr>
  <p:transition spd="slow">
    <p:push dir="u"/>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19" name="Footer Placeholder 8">
            <a:extLst>
              <a:ext uri="{FF2B5EF4-FFF2-40B4-BE49-F238E27FC236}">
                <a16:creationId xmlns:a16="http://schemas.microsoft.com/office/drawing/2014/main" id="{CDA06C55-0643-C148-AAB1-C4BB26FD7B26}"/>
              </a:ext>
            </a:extLst>
          </p:cNvPr>
          <p:cNvSpPr>
            <a:spLocks noGrp="1"/>
          </p:cNvSpPr>
          <p:nvPr>
            <p:ph type="ftr" sz="quarter" idx="3"/>
          </p:nvPr>
        </p:nvSpPr>
        <p:spPr>
          <a:xfrm>
            <a:off x="7766050" y="6523001"/>
            <a:ext cx="4114800" cy="196131"/>
          </a:xfrm>
          <a:prstGeom prst="rect">
            <a:avLst/>
          </a:prstGeom>
        </p:spPr>
        <p:txBody>
          <a:bodyPr vert="horz" lIns="0" tIns="0" rIns="0" bIns="0" rtlCol="0" anchor="ctr"/>
          <a:lstStyle>
            <a:lvl1pPr algn="r">
              <a:defRPr sz="800" b="1" spc="100" baseline="0">
                <a:solidFill>
                  <a:schemeClr val="tx1"/>
                </a:solidFill>
              </a:defRPr>
            </a:lvl1pPr>
          </a:lstStyle>
          <a:p>
            <a:r>
              <a:rPr lang="en-JP"/>
              <a:t> </a:t>
            </a:r>
          </a:p>
        </p:txBody>
      </p:sp>
      <p:pic>
        <p:nvPicPr>
          <p:cNvPr id="14" name="Picture 13" descr="Takeda">
            <a:extLst>
              <a:ext uri="{FF2B5EF4-FFF2-40B4-BE49-F238E27FC236}">
                <a16:creationId xmlns:a16="http://schemas.microsoft.com/office/drawing/2014/main" id="{A75F5BF7-D49E-8A49-AE81-CB31E57D5A7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46331" y="-1615"/>
            <a:ext cx="1696232" cy="940780"/>
          </a:xfrm>
          <a:prstGeom prst="rect">
            <a:avLst/>
          </a:prstGeom>
        </p:spPr>
      </p:pic>
      <p:sp>
        <p:nvSpPr>
          <p:cNvPr id="22" name="タイトル プレースホルダ 1">
            <a:extLst>
              <a:ext uri="{FF2B5EF4-FFF2-40B4-BE49-F238E27FC236}">
                <a16:creationId xmlns:a16="http://schemas.microsoft.com/office/drawing/2014/main" id="{86D2E5B8-9E2B-DB46-A55A-5F26569C4F99}"/>
              </a:ext>
            </a:extLst>
          </p:cNvPr>
          <p:cNvSpPr>
            <a:spLocks noGrp="1"/>
          </p:cNvSpPr>
          <p:nvPr>
            <p:ph type="title" hasCustomPrompt="1"/>
          </p:nvPr>
        </p:nvSpPr>
        <p:spPr>
          <a:xfrm>
            <a:off x="606078" y="161605"/>
            <a:ext cx="9940253" cy="685801"/>
          </a:xfrm>
          <a:prstGeom prst="rect">
            <a:avLst/>
          </a:prstGeom>
        </p:spPr>
        <p:txBody>
          <a:bodyPr vert="horz" lIns="0" tIns="0" rIns="0" bIns="0" rtlCol="0" anchor="ctr">
            <a:normAutofit/>
          </a:bodyPr>
          <a:lstStyle/>
          <a:p>
            <a:r>
              <a:rPr kumimoji="1" lang="en-US" altLang="ja-JP"/>
              <a:t>Click to add title</a:t>
            </a:r>
            <a:endParaRPr kumimoji="1" lang="ja-JP" altLang="en-US"/>
          </a:p>
        </p:txBody>
      </p:sp>
      <p:sp>
        <p:nvSpPr>
          <p:cNvPr id="20" name="スライド番号プレースホルダ 5">
            <a:extLst>
              <a:ext uri="{FF2B5EF4-FFF2-40B4-BE49-F238E27FC236}">
                <a16:creationId xmlns:a16="http://schemas.microsoft.com/office/drawing/2014/main" id="{51A4825E-63A1-564F-BC3A-FBC167ECE5EB}"/>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1" name="Rectangle 20">
            <a:extLst>
              <a:ext uri="{FF2B5EF4-FFF2-40B4-BE49-F238E27FC236}">
                <a16:creationId xmlns:a16="http://schemas.microsoft.com/office/drawing/2014/main" id="{FCF9CDB0-5730-E246-B31F-F5963CF8EFDC}"/>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a:solidFill>
                <a:schemeClr val="accent1"/>
              </a:solidFill>
            </a:endParaRPr>
          </a:p>
        </p:txBody>
      </p:sp>
      <p:sp>
        <p:nvSpPr>
          <p:cNvPr id="24" name="Text Placeholder 6">
            <a:extLst>
              <a:ext uri="{FF2B5EF4-FFF2-40B4-BE49-F238E27FC236}">
                <a16:creationId xmlns:a16="http://schemas.microsoft.com/office/drawing/2014/main" id="{44EB3013-FCB4-1B4E-A9F2-FD57CF727CCC}"/>
              </a:ext>
            </a:extLst>
          </p:cNvPr>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Private and confidential. For internal use only.</a:t>
            </a:r>
          </a:p>
        </p:txBody>
      </p:sp>
    </p:spTree>
    <p:extLst>
      <p:ext uri="{BB962C8B-B14F-4D97-AF65-F5344CB8AC3E}">
        <p14:creationId xmlns:p14="http://schemas.microsoft.com/office/powerpoint/2010/main" val="4241703486"/>
      </p:ext>
    </p:extLst>
  </p:cSld>
  <p:clrMapOvr>
    <a:masterClrMapping/>
  </p:clrMapOvr>
  <p:transition spd="slow">
    <p:push dir="u"/>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Tree>
    <p:extLst>
      <p:ext uri="{BB962C8B-B14F-4D97-AF65-F5344CB8AC3E}">
        <p14:creationId xmlns:p14="http://schemas.microsoft.com/office/powerpoint/2010/main" val="3630065260"/>
      </p:ext>
    </p:extLst>
  </p:cSld>
  <p:clrMapOvr>
    <a:masterClrMapping/>
  </p:clrMapOvr>
  <p:transition spd="slow">
    <p:push dir="u"/>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Standard 2-Column Text">
    <p:spTree>
      <p:nvGrpSpPr>
        <p:cNvPr id="1" name=""/>
        <p:cNvGrpSpPr/>
        <p:nvPr/>
      </p:nvGrpSpPr>
      <p:grpSpPr>
        <a:xfrm>
          <a:off x="0" y="0"/>
          <a:ext cx="0" cy="0"/>
          <a:chOff x="0" y="0"/>
          <a:chExt cx="0" cy="0"/>
        </a:xfrm>
      </p:grpSpPr>
      <p:sp>
        <p:nvSpPr>
          <p:cNvPr id="12" name="Text Placeholder 6">
            <a:extLst>
              <a:ext uri="{FF2B5EF4-FFF2-40B4-BE49-F238E27FC236}">
                <a16:creationId xmlns:a16="http://schemas.microsoft.com/office/drawing/2014/main" id="{FD2406EE-A554-5348-AE6D-4D8B343E6201}"/>
              </a:ext>
            </a:extLst>
          </p:cNvPr>
          <p:cNvSpPr>
            <a:spLocks noGrp="1"/>
          </p:cNvSpPr>
          <p:nvPr>
            <p:ph type="body" sz="quarter" idx="15" hasCustomPrompt="1"/>
          </p:nvPr>
        </p:nvSpPr>
        <p:spPr>
          <a:xfrm>
            <a:off x="311150" y="1102385"/>
            <a:ext cx="11569700" cy="5328857"/>
          </a:xfrm>
          <a:prstGeom prst="rect">
            <a:avLst/>
          </a:prstGeom>
        </p:spPr>
        <p:txBody>
          <a:bodyPr tIns="0" rIns="0" bIns="0" numCol="2" spcCol="540000">
            <a:normAutofit/>
          </a:bodyPr>
          <a:lstStyle>
            <a:lvl1pPr marL="0" indent="0">
              <a:lnSpc>
                <a:spcPct val="100000"/>
              </a:lnSpc>
              <a:spcBef>
                <a:spcPts val="0"/>
              </a:spcBef>
              <a:spcAft>
                <a:spcPts val="600"/>
              </a:spcAft>
              <a:buFont typeface="Arial" panose="020B0604020202020204" pitchFamily="34" charset="0"/>
              <a:buNone/>
              <a:defRPr sz="1600" b="0">
                <a:solidFill>
                  <a:schemeClr val="tx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a two-column layout. Click to add content. </a:t>
            </a:r>
          </a:p>
        </p:txBody>
      </p:sp>
      <p:sp>
        <p:nvSpPr>
          <p:cNvPr id="19" name="Footer Placeholder 8">
            <a:extLst>
              <a:ext uri="{FF2B5EF4-FFF2-40B4-BE49-F238E27FC236}">
                <a16:creationId xmlns:a16="http://schemas.microsoft.com/office/drawing/2014/main" id="{CDA06C55-0643-C148-AAB1-C4BB26FD7B26}"/>
              </a:ext>
            </a:extLst>
          </p:cNvPr>
          <p:cNvSpPr>
            <a:spLocks noGrp="1"/>
          </p:cNvSpPr>
          <p:nvPr>
            <p:ph type="ftr" sz="quarter" idx="3"/>
          </p:nvPr>
        </p:nvSpPr>
        <p:spPr>
          <a:xfrm>
            <a:off x="7766050" y="6523001"/>
            <a:ext cx="4114800" cy="196131"/>
          </a:xfrm>
          <a:prstGeom prst="rect">
            <a:avLst/>
          </a:prstGeom>
        </p:spPr>
        <p:txBody>
          <a:bodyPr vert="horz" lIns="0" tIns="0" rIns="0" bIns="0" rtlCol="0" anchor="ctr"/>
          <a:lstStyle>
            <a:lvl1pPr algn="r">
              <a:defRPr sz="800" b="1" spc="100" baseline="0">
                <a:solidFill>
                  <a:schemeClr val="tx1"/>
                </a:solidFill>
              </a:defRPr>
            </a:lvl1pPr>
          </a:lstStyle>
          <a:p>
            <a:r>
              <a:rPr lang="en-JP"/>
              <a:t> </a:t>
            </a:r>
          </a:p>
        </p:txBody>
      </p:sp>
      <p:pic>
        <p:nvPicPr>
          <p:cNvPr id="14" name="Picture 13" descr="Takeda">
            <a:extLst>
              <a:ext uri="{FF2B5EF4-FFF2-40B4-BE49-F238E27FC236}">
                <a16:creationId xmlns:a16="http://schemas.microsoft.com/office/drawing/2014/main" id="{A75F5BF7-D49E-8A49-AE81-CB31E57D5A7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46331" y="-1615"/>
            <a:ext cx="1696232" cy="940780"/>
          </a:xfrm>
          <a:prstGeom prst="rect">
            <a:avLst/>
          </a:prstGeom>
        </p:spPr>
      </p:pic>
      <p:sp>
        <p:nvSpPr>
          <p:cNvPr id="22" name="タイトル プレースホルダ 1">
            <a:extLst>
              <a:ext uri="{FF2B5EF4-FFF2-40B4-BE49-F238E27FC236}">
                <a16:creationId xmlns:a16="http://schemas.microsoft.com/office/drawing/2014/main" id="{86D2E5B8-9E2B-DB46-A55A-5F26569C4F99}"/>
              </a:ext>
            </a:extLst>
          </p:cNvPr>
          <p:cNvSpPr>
            <a:spLocks noGrp="1"/>
          </p:cNvSpPr>
          <p:nvPr>
            <p:ph type="title" hasCustomPrompt="1"/>
          </p:nvPr>
        </p:nvSpPr>
        <p:spPr>
          <a:xfrm>
            <a:off x="606078" y="161605"/>
            <a:ext cx="9940253" cy="685801"/>
          </a:xfrm>
          <a:prstGeom prst="rect">
            <a:avLst/>
          </a:prstGeom>
        </p:spPr>
        <p:txBody>
          <a:bodyPr vert="horz" lIns="0" tIns="0" rIns="0" bIns="0" rtlCol="0" anchor="ctr">
            <a:normAutofit/>
          </a:bodyPr>
          <a:lstStyle/>
          <a:p>
            <a:r>
              <a:rPr kumimoji="1" lang="en-US" altLang="ja-JP"/>
              <a:t>Two-column layout. Click to add title</a:t>
            </a:r>
            <a:endParaRPr kumimoji="1" lang="ja-JP" altLang="en-US"/>
          </a:p>
        </p:txBody>
      </p:sp>
      <p:sp>
        <p:nvSpPr>
          <p:cNvPr id="13" name="Rectangle 12">
            <a:extLst>
              <a:ext uri="{FF2B5EF4-FFF2-40B4-BE49-F238E27FC236}">
                <a16:creationId xmlns:a16="http://schemas.microsoft.com/office/drawing/2014/main" id="{F49634AC-7DDA-D44D-88DB-5850289DD643}"/>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a:solidFill>
                <a:schemeClr val="accent1"/>
              </a:solidFill>
            </a:endParaRPr>
          </a:p>
        </p:txBody>
      </p:sp>
      <p:sp>
        <p:nvSpPr>
          <p:cNvPr id="20" name="スライド番号プレースホルダ 5">
            <a:extLst>
              <a:ext uri="{FF2B5EF4-FFF2-40B4-BE49-F238E27FC236}">
                <a16:creationId xmlns:a16="http://schemas.microsoft.com/office/drawing/2014/main" id="{E22A984C-7436-8C4C-83C8-F2AD67592041}"/>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1" name="Text Placeholder 6">
            <a:extLst>
              <a:ext uri="{FF2B5EF4-FFF2-40B4-BE49-F238E27FC236}">
                <a16:creationId xmlns:a16="http://schemas.microsoft.com/office/drawing/2014/main" id="{0A6720AD-4FA4-A146-AEEB-A4E558BAA3EA}"/>
              </a:ext>
            </a:extLst>
          </p:cNvPr>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Private and confidential. For internal use only.</a:t>
            </a:r>
          </a:p>
        </p:txBody>
      </p:sp>
    </p:spTree>
    <p:extLst>
      <p:ext uri="{BB962C8B-B14F-4D97-AF65-F5344CB8AC3E}">
        <p14:creationId xmlns:p14="http://schemas.microsoft.com/office/powerpoint/2010/main" val="2437177725"/>
      </p:ext>
    </p:extLst>
  </p:cSld>
  <p:clrMapOvr>
    <a:masterClrMapping/>
  </p:clrMapOvr>
  <p:transition spd="slow">
    <p:push dir="u"/>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Section Title Page">
    <p:spTree>
      <p:nvGrpSpPr>
        <p:cNvPr id="1" name=""/>
        <p:cNvGrpSpPr/>
        <p:nvPr/>
      </p:nvGrpSpPr>
      <p:grpSpPr>
        <a:xfrm>
          <a:off x="0" y="0"/>
          <a:ext cx="0" cy="0"/>
          <a:chOff x="0" y="0"/>
          <a:chExt cx="0" cy="0"/>
        </a:xfrm>
      </p:grpSpPr>
      <p:sp>
        <p:nvSpPr>
          <p:cNvPr id="33" name="Title 1">
            <a:extLst>
              <a:ext uri="{FF2B5EF4-FFF2-40B4-BE49-F238E27FC236}">
                <a16:creationId xmlns:a16="http://schemas.microsoft.com/office/drawing/2014/main" id="{E02383DA-65B3-044E-9E1B-2CC00A0B1CC6}"/>
              </a:ext>
            </a:extLst>
          </p:cNvPr>
          <p:cNvSpPr>
            <a:spLocks noGrp="1"/>
          </p:cNvSpPr>
          <p:nvPr>
            <p:ph type="ctrTitle" hasCustomPrompt="1"/>
          </p:nvPr>
        </p:nvSpPr>
        <p:spPr>
          <a:xfrm>
            <a:off x="1194730" y="2303030"/>
            <a:ext cx="4354731" cy="2279130"/>
          </a:xfrm>
          <a:prstGeom prst="rect">
            <a:avLst/>
          </a:prstGeom>
        </p:spPr>
        <p:txBody>
          <a:bodyPr wrap="square" lIns="0" tIns="0" rIns="0" bIns="0" anchor="ctr" anchorCtr="0">
            <a:normAutofit/>
          </a:bodyPr>
          <a:lstStyle>
            <a:lvl1pPr>
              <a:lnSpc>
                <a:spcPts val="3800"/>
              </a:lnSpc>
              <a:defRPr sz="3600" b="1" i="0" baseline="0">
                <a:solidFill>
                  <a:schemeClr val="tx1"/>
                </a:solidFill>
                <a:latin typeface="Calibri" panose="020F0502020204030204" pitchFamily="34" charset="0"/>
                <a:ea typeface="メイリオ" pitchFamily="50" charset="-128"/>
                <a:cs typeface="Calibri" pitchFamily="34" charset="0"/>
              </a:defRPr>
            </a:lvl1pPr>
          </a:lstStyle>
          <a:p>
            <a:r>
              <a:rPr lang="en-GB"/>
              <a:t>Click to add section title</a:t>
            </a:r>
          </a:p>
        </p:txBody>
      </p:sp>
      <p:sp>
        <p:nvSpPr>
          <p:cNvPr id="28" name="Rectangle 27">
            <a:extLst>
              <a:ext uri="{FF2B5EF4-FFF2-40B4-BE49-F238E27FC236}">
                <a16:creationId xmlns:a16="http://schemas.microsoft.com/office/drawing/2014/main" id="{92F9C2FE-7E43-3948-92F0-0CEA804BDBFE}"/>
              </a:ext>
            </a:extLst>
          </p:cNvPr>
          <p:cNvSpPr/>
          <p:nvPr userDrawn="1"/>
        </p:nvSpPr>
        <p:spPr>
          <a:xfrm>
            <a:off x="749005" y="2110246"/>
            <a:ext cx="97200" cy="270718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kumimoji="0" lang="en-US" altLang="en-US" sz="1800">
              <a:solidFill>
                <a:srgbClr val="FFFFFF"/>
              </a:solidFill>
            </a:endParaRPr>
          </a:p>
        </p:txBody>
      </p:sp>
      <p:sp>
        <p:nvSpPr>
          <p:cNvPr id="13" name="Picture Placeholder 9">
            <a:extLst>
              <a:ext uri="{FF2B5EF4-FFF2-40B4-BE49-F238E27FC236}">
                <a16:creationId xmlns:a16="http://schemas.microsoft.com/office/drawing/2014/main" id="{46656F8F-0621-5F47-BF80-4A4E365A2D91}"/>
              </a:ext>
            </a:extLst>
          </p:cNvPr>
          <p:cNvSpPr>
            <a:spLocks noGrp="1"/>
          </p:cNvSpPr>
          <p:nvPr>
            <p:ph type="pic" sz="quarter" idx="10"/>
          </p:nvPr>
        </p:nvSpPr>
        <p:spPr>
          <a:xfrm>
            <a:off x="6642541" y="-1"/>
            <a:ext cx="5565823" cy="6416675"/>
          </a:xfrm>
          <a:custGeom>
            <a:avLst/>
            <a:gdLst>
              <a:gd name="connsiteX0" fmla="*/ 0 w 10888662"/>
              <a:gd name="connsiteY0" fmla="*/ 579722 h 6442075"/>
              <a:gd name="connsiteX1" fmla="*/ 579722 w 10888662"/>
              <a:gd name="connsiteY1" fmla="*/ 0 h 6442075"/>
              <a:gd name="connsiteX2" fmla="*/ 10308940 w 10888662"/>
              <a:gd name="connsiteY2" fmla="*/ 0 h 6442075"/>
              <a:gd name="connsiteX3" fmla="*/ 10888662 w 10888662"/>
              <a:gd name="connsiteY3" fmla="*/ 579722 h 6442075"/>
              <a:gd name="connsiteX4" fmla="*/ 10888662 w 10888662"/>
              <a:gd name="connsiteY4" fmla="*/ 5862353 h 6442075"/>
              <a:gd name="connsiteX5" fmla="*/ 10308940 w 10888662"/>
              <a:gd name="connsiteY5" fmla="*/ 6442075 h 6442075"/>
              <a:gd name="connsiteX6" fmla="*/ 579722 w 10888662"/>
              <a:gd name="connsiteY6" fmla="*/ 6442075 h 6442075"/>
              <a:gd name="connsiteX7" fmla="*/ 0 w 10888662"/>
              <a:gd name="connsiteY7" fmla="*/ 5862353 h 6442075"/>
              <a:gd name="connsiteX8" fmla="*/ 0 w 10888662"/>
              <a:gd name="connsiteY8" fmla="*/ 579722 h 6442075"/>
              <a:gd name="connsiteX0" fmla="*/ 0 w 10888662"/>
              <a:gd name="connsiteY0" fmla="*/ 659657 h 6522010"/>
              <a:gd name="connsiteX1" fmla="*/ 10308940 w 10888662"/>
              <a:gd name="connsiteY1" fmla="*/ 79935 h 6522010"/>
              <a:gd name="connsiteX2" fmla="*/ 10888662 w 10888662"/>
              <a:gd name="connsiteY2" fmla="*/ 659657 h 6522010"/>
              <a:gd name="connsiteX3" fmla="*/ 10888662 w 10888662"/>
              <a:gd name="connsiteY3" fmla="*/ 5942288 h 6522010"/>
              <a:gd name="connsiteX4" fmla="*/ 10308940 w 10888662"/>
              <a:gd name="connsiteY4" fmla="*/ 6522010 h 6522010"/>
              <a:gd name="connsiteX5" fmla="*/ 579722 w 10888662"/>
              <a:gd name="connsiteY5" fmla="*/ 6522010 h 6522010"/>
              <a:gd name="connsiteX6" fmla="*/ 0 w 10888662"/>
              <a:gd name="connsiteY6" fmla="*/ 5942288 h 6522010"/>
              <a:gd name="connsiteX7" fmla="*/ 0 w 10888662"/>
              <a:gd name="connsiteY7" fmla="*/ 659657 h 6522010"/>
              <a:gd name="connsiteX0" fmla="*/ 0 w 10888662"/>
              <a:gd name="connsiteY0" fmla="*/ 579722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579722 h 6442075"/>
              <a:gd name="connsiteX0" fmla="*/ 0 w 10888662"/>
              <a:gd name="connsiteY0" fmla="*/ 129257 h 6569679"/>
              <a:gd name="connsiteX1" fmla="*/ 10308940 w 10888662"/>
              <a:gd name="connsiteY1" fmla="*/ 127604 h 6569679"/>
              <a:gd name="connsiteX2" fmla="*/ 10888662 w 10888662"/>
              <a:gd name="connsiteY2" fmla="*/ 707326 h 6569679"/>
              <a:gd name="connsiteX3" fmla="*/ 10888662 w 10888662"/>
              <a:gd name="connsiteY3" fmla="*/ 5989957 h 6569679"/>
              <a:gd name="connsiteX4" fmla="*/ 10308940 w 10888662"/>
              <a:gd name="connsiteY4" fmla="*/ 6569679 h 6569679"/>
              <a:gd name="connsiteX5" fmla="*/ 579722 w 10888662"/>
              <a:gd name="connsiteY5" fmla="*/ 6569679 h 6569679"/>
              <a:gd name="connsiteX6" fmla="*/ 0 w 10888662"/>
              <a:gd name="connsiteY6" fmla="*/ 5989957 h 6569679"/>
              <a:gd name="connsiteX7" fmla="*/ 0 w 10888662"/>
              <a:gd name="connsiteY7" fmla="*/ 129257 h 6569679"/>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9657299 w 10888662"/>
              <a:gd name="connsiteY4" fmla="*/ 55276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522010"/>
              <a:gd name="connsiteX1" fmla="*/ 10308940 w 10888662"/>
              <a:gd name="connsiteY1" fmla="*/ 0 h 6522010"/>
              <a:gd name="connsiteX2" fmla="*/ 10888662 w 10888662"/>
              <a:gd name="connsiteY2" fmla="*/ 579722 h 6522010"/>
              <a:gd name="connsiteX3" fmla="*/ 10888662 w 10888662"/>
              <a:gd name="connsiteY3" fmla="*/ 5862353 h 6522010"/>
              <a:gd name="connsiteX4" fmla="*/ 579722 w 10888662"/>
              <a:gd name="connsiteY4" fmla="*/ 6442075 h 6522010"/>
              <a:gd name="connsiteX5" fmla="*/ 0 w 10888662"/>
              <a:gd name="connsiteY5" fmla="*/ 5862353 h 6522010"/>
              <a:gd name="connsiteX6" fmla="*/ 0 w 10888662"/>
              <a:gd name="connsiteY6" fmla="*/ 1653 h 6522010"/>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579722 w 10888662"/>
              <a:gd name="connsiteY4" fmla="*/ 6442075 h 6442075"/>
              <a:gd name="connsiteX5" fmla="*/ 0 w 10888662"/>
              <a:gd name="connsiteY5" fmla="*/ 5862353 h 6442075"/>
              <a:gd name="connsiteX6" fmla="*/ 0 w 10888662"/>
              <a:gd name="connsiteY6" fmla="*/ 1653 h 6442075"/>
              <a:gd name="connsiteX0" fmla="*/ 0 w 10888662"/>
              <a:gd name="connsiteY0" fmla="*/ 1653 h 6585432"/>
              <a:gd name="connsiteX1" fmla="*/ 10308940 w 10888662"/>
              <a:gd name="connsiteY1" fmla="*/ 0 h 6585432"/>
              <a:gd name="connsiteX2" fmla="*/ 10888662 w 10888662"/>
              <a:gd name="connsiteY2" fmla="*/ 579722 h 6585432"/>
              <a:gd name="connsiteX3" fmla="*/ 10878151 w 10888662"/>
              <a:gd name="connsiteY3" fmla="*/ 6461442 h 6585432"/>
              <a:gd name="connsiteX4" fmla="*/ 579722 w 10888662"/>
              <a:gd name="connsiteY4" fmla="*/ 6442075 h 6585432"/>
              <a:gd name="connsiteX5" fmla="*/ 0 w 10888662"/>
              <a:gd name="connsiteY5" fmla="*/ 5862353 h 6585432"/>
              <a:gd name="connsiteX6" fmla="*/ 0 w 10888662"/>
              <a:gd name="connsiteY6" fmla="*/ 1653 h 6585432"/>
              <a:gd name="connsiteX0" fmla="*/ 0 w 10888662"/>
              <a:gd name="connsiteY0" fmla="*/ 1653 h 6577502"/>
              <a:gd name="connsiteX1" fmla="*/ 10308940 w 10888662"/>
              <a:gd name="connsiteY1" fmla="*/ 0 h 6577502"/>
              <a:gd name="connsiteX2" fmla="*/ 10888662 w 10888662"/>
              <a:gd name="connsiteY2" fmla="*/ 579722 h 6577502"/>
              <a:gd name="connsiteX3" fmla="*/ 10878151 w 10888662"/>
              <a:gd name="connsiteY3" fmla="*/ 6450932 h 6577502"/>
              <a:gd name="connsiteX4" fmla="*/ 579722 w 10888662"/>
              <a:gd name="connsiteY4" fmla="*/ 6442075 h 6577502"/>
              <a:gd name="connsiteX5" fmla="*/ 0 w 10888662"/>
              <a:gd name="connsiteY5" fmla="*/ 5862353 h 6577502"/>
              <a:gd name="connsiteX6" fmla="*/ 0 w 10888662"/>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0888662"/>
              <a:gd name="connsiteY0" fmla="*/ 1653 h 6450932"/>
              <a:gd name="connsiteX1" fmla="*/ 10308940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0999550"/>
              <a:gd name="connsiteY0" fmla="*/ 1653 h 6450932"/>
              <a:gd name="connsiteX1" fmla="*/ 10844968 w 10999550"/>
              <a:gd name="connsiteY1" fmla="*/ 0 h 6450932"/>
              <a:gd name="connsiteX2" fmla="*/ 10888662 w 10999550"/>
              <a:gd name="connsiteY2" fmla="*/ 579722 h 6450932"/>
              <a:gd name="connsiteX3" fmla="*/ 10878151 w 10999550"/>
              <a:gd name="connsiteY3" fmla="*/ 6450932 h 6450932"/>
              <a:gd name="connsiteX4" fmla="*/ 579722 w 10999550"/>
              <a:gd name="connsiteY4" fmla="*/ 6442075 h 6450932"/>
              <a:gd name="connsiteX5" fmla="*/ 0 w 10999550"/>
              <a:gd name="connsiteY5" fmla="*/ 5862353 h 6450932"/>
              <a:gd name="connsiteX6" fmla="*/ 0 w 10999550"/>
              <a:gd name="connsiteY6" fmla="*/ 1653 h 6450932"/>
              <a:gd name="connsiteX0" fmla="*/ 0 w 11022020"/>
              <a:gd name="connsiteY0" fmla="*/ 1653 h 6450932"/>
              <a:gd name="connsiteX1" fmla="*/ 10876499 w 11022020"/>
              <a:gd name="connsiteY1" fmla="*/ 0 h 6450932"/>
              <a:gd name="connsiteX2" fmla="*/ 10888662 w 11022020"/>
              <a:gd name="connsiteY2" fmla="*/ 579722 h 6450932"/>
              <a:gd name="connsiteX3" fmla="*/ 10878151 w 11022020"/>
              <a:gd name="connsiteY3" fmla="*/ 6450932 h 6450932"/>
              <a:gd name="connsiteX4" fmla="*/ 579722 w 11022020"/>
              <a:gd name="connsiteY4" fmla="*/ 6442075 h 6450932"/>
              <a:gd name="connsiteX5" fmla="*/ 0 w 11022020"/>
              <a:gd name="connsiteY5" fmla="*/ 5862353 h 6450932"/>
              <a:gd name="connsiteX6" fmla="*/ 0 w 11022020"/>
              <a:gd name="connsiteY6" fmla="*/ 1653 h 6450932"/>
              <a:gd name="connsiteX0" fmla="*/ 0 w 10888662"/>
              <a:gd name="connsiteY0" fmla="*/ 1653 h 6450932"/>
              <a:gd name="connsiteX1" fmla="*/ 10876499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2200990"/>
              <a:gd name="connsiteY0" fmla="*/ 1653 h 6450932"/>
              <a:gd name="connsiteX1" fmla="*/ 10876499 w 12200990"/>
              <a:gd name="connsiteY1" fmla="*/ 0 h 6450932"/>
              <a:gd name="connsiteX2" fmla="*/ 10878151 w 12200990"/>
              <a:gd name="connsiteY2" fmla="*/ 6450932 h 6450932"/>
              <a:gd name="connsiteX3" fmla="*/ 579722 w 12200990"/>
              <a:gd name="connsiteY3" fmla="*/ 6442075 h 6450932"/>
              <a:gd name="connsiteX4" fmla="*/ 0 w 12200990"/>
              <a:gd name="connsiteY4" fmla="*/ 5862353 h 6450932"/>
              <a:gd name="connsiteX5" fmla="*/ 0 w 12200990"/>
              <a:gd name="connsiteY5" fmla="*/ 1653 h 6450932"/>
              <a:gd name="connsiteX0" fmla="*/ 0 w 11640630"/>
              <a:gd name="connsiteY0" fmla="*/ 1653 h 6450932"/>
              <a:gd name="connsiteX1" fmla="*/ 10876499 w 11640630"/>
              <a:gd name="connsiteY1" fmla="*/ 0 h 6450932"/>
              <a:gd name="connsiteX2" fmla="*/ 10878151 w 11640630"/>
              <a:gd name="connsiteY2" fmla="*/ 6450932 h 6450932"/>
              <a:gd name="connsiteX3" fmla="*/ 579722 w 11640630"/>
              <a:gd name="connsiteY3" fmla="*/ 6442075 h 6450932"/>
              <a:gd name="connsiteX4" fmla="*/ 0 w 11640630"/>
              <a:gd name="connsiteY4" fmla="*/ 5862353 h 6450932"/>
              <a:gd name="connsiteX5" fmla="*/ 0 w 11640630"/>
              <a:gd name="connsiteY5" fmla="*/ 1653 h 6450932"/>
              <a:gd name="connsiteX0" fmla="*/ 0 w 10878151"/>
              <a:gd name="connsiteY0" fmla="*/ 1653 h 6450932"/>
              <a:gd name="connsiteX1" fmla="*/ 10876499 w 10878151"/>
              <a:gd name="connsiteY1" fmla="*/ 0 h 6450932"/>
              <a:gd name="connsiteX2" fmla="*/ 10878151 w 10878151"/>
              <a:gd name="connsiteY2" fmla="*/ 6450932 h 6450932"/>
              <a:gd name="connsiteX3" fmla="*/ 579722 w 10878151"/>
              <a:gd name="connsiteY3" fmla="*/ 6442075 h 6450932"/>
              <a:gd name="connsiteX4" fmla="*/ 0 w 10878151"/>
              <a:gd name="connsiteY4" fmla="*/ 5862353 h 6450932"/>
              <a:gd name="connsiteX5" fmla="*/ 0 w 10878151"/>
              <a:gd name="connsiteY5" fmla="*/ 1653 h 6450932"/>
              <a:gd name="connsiteX0" fmla="*/ 0 w 11843451"/>
              <a:gd name="connsiteY0" fmla="*/ 1653 h 6450932"/>
              <a:gd name="connsiteX1" fmla="*/ 11843451 w 11843451"/>
              <a:gd name="connsiteY1" fmla="*/ 0 h 6450932"/>
              <a:gd name="connsiteX2" fmla="*/ 10878151 w 11843451"/>
              <a:gd name="connsiteY2" fmla="*/ 6450932 h 6450932"/>
              <a:gd name="connsiteX3" fmla="*/ 579722 w 11843451"/>
              <a:gd name="connsiteY3" fmla="*/ 6442075 h 6450932"/>
              <a:gd name="connsiteX4" fmla="*/ 0 w 11843451"/>
              <a:gd name="connsiteY4" fmla="*/ 5862353 h 6450932"/>
              <a:gd name="connsiteX5" fmla="*/ 0 w 11843451"/>
              <a:gd name="connsiteY5" fmla="*/ 1653 h 6450932"/>
              <a:gd name="connsiteX0" fmla="*/ 0 w 11855613"/>
              <a:gd name="connsiteY0" fmla="*/ 1653 h 6450932"/>
              <a:gd name="connsiteX1" fmla="*/ 11843451 w 11855613"/>
              <a:gd name="connsiteY1" fmla="*/ 0 h 6450932"/>
              <a:gd name="connsiteX2" fmla="*/ 11855613 w 11855613"/>
              <a:gd name="connsiteY2" fmla="*/ 6450932 h 6450932"/>
              <a:gd name="connsiteX3" fmla="*/ 579722 w 11855613"/>
              <a:gd name="connsiteY3" fmla="*/ 6442075 h 6450932"/>
              <a:gd name="connsiteX4" fmla="*/ 0 w 11855613"/>
              <a:gd name="connsiteY4" fmla="*/ 5862353 h 6450932"/>
              <a:gd name="connsiteX5" fmla="*/ 0 w 11855613"/>
              <a:gd name="connsiteY5" fmla="*/ 1653 h 6450932"/>
              <a:gd name="connsiteX0" fmla="*/ 0 w 11864472"/>
              <a:gd name="connsiteY0" fmla="*/ 1653 h 6450932"/>
              <a:gd name="connsiteX1" fmla="*/ 11864472 w 11864472"/>
              <a:gd name="connsiteY1" fmla="*/ 0 h 6450932"/>
              <a:gd name="connsiteX2" fmla="*/ 11855613 w 11864472"/>
              <a:gd name="connsiteY2" fmla="*/ 6450932 h 6450932"/>
              <a:gd name="connsiteX3" fmla="*/ 579722 w 11864472"/>
              <a:gd name="connsiteY3" fmla="*/ 6442075 h 6450932"/>
              <a:gd name="connsiteX4" fmla="*/ 0 w 11864472"/>
              <a:gd name="connsiteY4" fmla="*/ 5862353 h 6450932"/>
              <a:gd name="connsiteX5" fmla="*/ 0 w 11864472"/>
              <a:gd name="connsiteY5" fmla="*/ 1653 h 6450932"/>
              <a:gd name="connsiteX0" fmla="*/ 0 w 11864472"/>
              <a:gd name="connsiteY0" fmla="*/ 1653 h 6442075"/>
              <a:gd name="connsiteX1" fmla="*/ 11864472 w 11864472"/>
              <a:gd name="connsiteY1" fmla="*/ 0 h 6442075"/>
              <a:gd name="connsiteX2" fmla="*/ 11855613 w 11864472"/>
              <a:gd name="connsiteY2" fmla="*/ 6440421 h 6442075"/>
              <a:gd name="connsiteX3" fmla="*/ 579722 w 11864472"/>
              <a:gd name="connsiteY3" fmla="*/ 6442075 h 6442075"/>
              <a:gd name="connsiteX4" fmla="*/ 0 w 11864472"/>
              <a:gd name="connsiteY4" fmla="*/ 5862353 h 6442075"/>
              <a:gd name="connsiteX5" fmla="*/ 0 w 11864472"/>
              <a:gd name="connsiteY5" fmla="*/ 1653 h 6442075"/>
              <a:gd name="connsiteX0" fmla="*/ 0 w 11864472"/>
              <a:gd name="connsiteY0" fmla="*/ 0 h 6630428"/>
              <a:gd name="connsiteX1" fmla="*/ 11864472 w 11864472"/>
              <a:gd name="connsiteY1" fmla="*/ 188353 h 6630428"/>
              <a:gd name="connsiteX2" fmla="*/ 11855613 w 11864472"/>
              <a:gd name="connsiteY2" fmla="*/ 6628774 h 6630428"/>
              <a:gd name="connsiteX3" fmla="*/ 579722 w 11864472"/>
              <a:gd name="connsiteY3" fmla="*/ 6630428 h 6630428"/>
              <a:gd name="connsiteX4" fmla="*/ 0 w 11864472"/>
              <a:gd name="connsiteY4" fmla="*/ 6050706 h 6630428"/>
              <a:gd name="connsiteX5" fmla="*/ 0 w 11864472"/>
              <a:gd name="connsiteY5" fmla="*/ 0 h 6630428"/>
              <a:gd name="connsiteX0" fmla="*/ 0 w 11864472"/>
              <a:gd name="connsiteY0" fmla="*/ 13527 h 6643955"/>
              <a:gd name="connsiteX1" fmla="*/ 11864472 w 11864472"/>
              <a:gd name="connsiteY1" fmla="*/ 0 h 6643955"/>
              <a:gd name="connsiteX2" fmla="*/ 11855613 w 11864472"/>
              <a:gd name="connsiteY2" fmla="*/ 6642301 h 6643955"/>
              <a:gd name="connsiteX3" fmla="*/ 579722 w 11864472"/>
              <a:gd name="connsiteY3" fmla="*/ 6643955 h 6643955"/>
              <a:gd name="connsiteX4" fmla="*/ 0 w 11864472"/>
              <a:gd name="connsiteY4" fmla="*/ 6064233 h 6643955"/>
              <a:gd name="connsiteX5" fmla="*/ 0 w 11864472"/>
              <a:gd name="connsiteY5" fmla="*/ 13527 h 6643955"/>
              <a:gd name="connsiteX0" fmla="*/ 0 w 11864472"/>
              <a:gd name="connsiteY0" fmla="*/ 1319813 h 6643955"/>
              <a:gd name="connsiteX1" fmla="*/ 11864472 w 11864472"/>
              <a:gd name="connsiteY1" fmla="*/ 0 h 6643955"/>
              <a:gd name="connsiteX2" fmla="*/ 11855613 w 11864472"/>
              <a:gd name="connsiteY2" fmla="*/ 6642301 h 6643955"/>
              <a:gd name="connsiteX3" fmla="*/ 579722 w 11864472"/>
              <a:gd name="connsiteY3" fmla="*/ 6643955 h 6643955"/>
              <a:gd name="connsiteX4" fmla="*/ 0 w 11864472"/>
              <a:gd name="connsiteY4" fmla="*/ 6064233 h 6643955"/>
              <a:gd name="connsiteX5" fmla="*/ 0 w 11864472"/>
              <a:gd name="connsiteY5" fmla="*/ 1319813 h 6643955"/>
              <a:gd name="connsiteX0" fmla="*/ 0 w 11864472"/>
              <a:gd name="connsiteY0" fmla="*/ 13527 h 5337669"/>
              <a:gd name="connsiteX1" fmla="*/ 11864472 w 11864472"/>
              <a:gd name="connsiteY1" fmla="*/ 0 h 5337669"/>
              <a:gd name="connsiteX2" fmla="*/ 11855613 w 11864472"/>
              <a:gd name="connsiteY2" fmla="*/ 5336015 h 5337669"/>
              <a:gd name="connsiteX3" fmla="*/ 579722 w 11864472"/>
              <a:gd name="connsiteY3" fmla="*/ 5337669 h 5337669"/>
              <a:gd name="connsiteX4" fmla="*/ 0 w 11864472"/>
              <a:gd name="connsiteY4" fmla="*/ 4757947 h 5337669"/>
              <a:gd name="connsiteX5" fmla="*/ 0 w 11864472"/>
              <a:gd name="connsiteY5" fmla="*/ 13527 h 5337669"/>
              <a:gd name="connsiteX0" fmla="*/ 0 w 11864472"/>
              <a:gd name="connsiteY0" fmla="*/ 1652 h 5337669"/>
              <a:gd name="connsiteX1" fmla="*/ 11864472 w 11864472"/>
              <a:gd name="connsiteY1" fmla="*/ 0 h 5337669"/>
              <a:gd name="connsiteX2" fmla="*/ 11855613 w 11864472"/>
              <a:gd name="connsiteY2" fmla="*/ 5336015 h 5337669"/>
              <a:gd name="connsiteX3" fmla="*/ 579722 w 11864472"/>
              <a:gd name="connsiteY3" fmla="*/ 5337669 h 5337669"/>
              <a:gd name="connsiteX4" fmla="*/ 0 w 11864472"/>
              <a:gd name="connsiteY4" fmla="*/ 4757947 h 5337669"/>
              <a:gd name="connsiteX5" fmla="*/ 0 w 11864472"/>
              <a:gd name="connsiteY5" fmla="*/ 1652 h 5337669"/>
              <a:gd name="connsiteX0" fmla="*/ 0 w 11864472"/>
              <a:gd name="connsiteY0" fmla="*/ 2201927 h 5337669"/>
              <a:gd name="connsiteX1" fmla="*/ 11864472 w 11864472"/>
              <a:gd name="connsiteY1" fmla="*/ 0 h 5337669"/>
              <a:gd name="connsiteX2" fmla="*/ 11855613 w 11864472"/>
              <a:gd name="connsiteY2" fmla="*/ 5336015 h 5337669"/>
              <a:gd name="connsiteX3" fmla="*/ 579722 w 11864472"/>
              <a:gd name="connsiteY3" fmla="*/ 5337669 h 5337669"/>
              <a:gd name="connsiteX4" fmla="*/ 0 w 11864472"/>
              <a:gd name="connsiteY4" fmla="*/ 4757947 h 5337669"/>
              <a:gd name="connsiteX5" fmla="*/ 0 w 11864472"/>
              <a:gd name="connsiteY5" fmla="*/ 2201927 h 5337669"/>
              <a:gd name="connsiteX0" fmla="*/ 0 w 11864472"/>
              <a:gd name="connsiteY0" fmla="*/ 1652 h 3137394"/>
              <a:gd name="connsiteX1" fmla="*/ 11864472 w 11864472"/>
              <a:gd name="connsiteY1" fmla="*/ 0 h 3137394"/>
              <a:gd name="connsiteX2" fmla="*/ 11855613 w 11864472"/>
              <a:gd name="connsiteY2" fmla="*/ 3135740 h 3137394"/>
              <a:gd name="connsiteX3" fmla="*/ 579722 w 11864472"/>
              <a:gd name="connsiteY3" fmla="*/ 3137394 h 3137394"/>
              <a:gd name="connsiteX4" fmla="*/ 0 w 11864472"/>
              <a:gd name="connsiteY4" fmla="*/ 2557672 h 3137394"/>
              <a:gd name="connsiteX5" fmla="*/ 0 w 11864472"/>
              <a:gd name="connsiteY5" fmla="*/ 1652 h 3137394"/>
              <a:gd name="connsiteX0" fmla="*/ 0 w 11864472"/>
              <a:gd name="connsiteY0" fmla="*/ 0 h 3420555"/>
              <a:gd name="connsiteX1" fmla="*/ 11864472 w 11864472"/>
              <a:gd name="connsiteY1" fmla="*/ 283161 h 3420555"/>
              <a:gd name="connsiteX2" fmla="*/ 11855613 w 11864472"/>
              <a:gd name="connsiteY2" fmla="*/ 3418901 h 3420555"/>
              <a:gd name="connsiteX3" fmla="*/ 579722 w 11864472"/>
              <a:gd name="connsiteY3" fmla="*/ 3420555 h 3420555"/>
              <a:gd name="connsiteX4" fmla="*/ 0 w 11864472"/>
              <a:gd name="connsiteY4" fmla="*/ 2840833 h 3420555"/>
              <a:gd name="connsiteX5" fmla="*/ 0 w 11864472"/>
              <a:gd name="connsiteY5" fmla="*/ 0 h 3420555"/>
              <a:gd name="connsiteX0" fmla="*/ 0 w 11864472"/>
              <a:gd name="connsiteY0" fmla="*/ 1652 h 3422207"/>
              <a:gd name="connsiteX1" fmla="*/ 11864472 w 11864472"/>
              <a:gd name="connsiteY1" fmla="*/ 0 h 3422207"/>
              <a:gd name="connsiteX2" fmla="*/ 11855613 w 11864472"/>
              <a:gd name="connsiteY2" fmla="*/ 3420553 h 3422207"/>
              <a:gd name="connsiteX3" fmla="*/ 579722 w 11864472"/>
              <a:gd name="connsiteY3" fmla="*/ 3422207 h 3422207"/>
              <a:gd name="connsiteX4" fmla="*/ 0 w 11864472"/>
              <a:gd name="connsiteY4" fmla="*/ 2842485 h 3422207"/>
              <a:gd name="connsiteX5" fmla="*/ 0 w 11864472"/>
              <a:gd name="connsiteY5" fmla="*/ 1652 h 3422207"/>
              <a:gd name="connsiteX0" fmla="*/ 0 w 11855613"/>
              <a:gd name="connsiteY0" fmla="*/ 0 h 3420555"/>
              <a:gd name="connsiteX1" fmla="*/ 11834492 w 11855613"/>
              <a:gd name="connsiteY1" fmla="*/ 58309 h 3420555"/>
              <a:gd name="connsiteX2" fmla="*/ 11855613 w 11855613"/>
              <a:gd name="connsiteY2" fmla="*/ 3418901 h 3420555"/>
              <a:gd name="connsiteX3" fmla="*/ 579722 w 11855613"/>
              <a:gd name="connsiteY3" fmla="*/ 3420555 h 3420555"/>
              <a:gd name="connsiteX4" fmla="*/ 0 w 11855613"/>
              <a:gd name="connsiteY4" fmla="*/ 2840833 h 3420555"/>
              <a:gd name="connsiteX5" fmla="*/ 0 w 11855613"/>
              <a:gd name="connsiteY5" fmla="*/ 0 h 3420555"/>
              <a:gd name="connsiteX0" fmla="*/ 0 w 11855613"/>
              <a:gd name="connsiteY0" fmla="*/ 1652 h 3362246"/>
              <a:gd name="connsiteX1" fmla="*/ 11834492 w 11855613"/>
              <a:gd name="connsiteY1" fmla="*/ 0 h 3362246"/>
              <a:gd name="connsiteX2" fmla="*/ 11855613 w 11855613"/>
              <a:gd name="connsiteY2" fmla="*/ 3360592 h 3362246"/>
              <a:gd name="connsiteX3" fmla="*/ 579722 w 11855613"/>
              <a:gd name="connsiteY3" fmla="*/ 3362246 h 3362246"/>
              <a:gd name="connsiteX4" fmla="*/ 0 w 11855613"/>
              <a:gd name="connsiteY4" fmla="*/ 2782524 h 3362246"/>
              <a:gd name="connsiteX5" fmla="*/ 0 w 11855613"/>
              <a:gd name="connsiteY5" fmla="*/ 1652 h 3362246"/>
              <a:gd name="connsiteX0" fmla="*/ 0 w 11864473"/>
              <a:gd name="connsiteY0" fmla="*/ 0 h 3360594"/>
              <a:gd name="connsiteX1" fmla="*/ 11864473 w 11864473"/>
              <a:gd name="connsiteY1" fmla="*/ 13338 h 3360594"/>
              <a:gd name="connsiteX2" fmla="*/ 11855613 w 11864473"/>
              <a:gd name="connsiteY2" fmla="*/ 3358940 h 3360594"/>
              <a:gd name="connsiteX3" fmla="*/ 579722 w 11864473"/>
              <a:gd name="connsiteY3" fmla="*/ 3360594 h 3360594"/>
              <a:gd name="connsiteX4" fmla="*/ 0 w 11864473"/>
              <a:gd name="connsiteY4" fmla="*/ 2780872 h 3360594"/>
              <a:gd name="connsiteX5" fmla="*/ 0 w 11864473"/>
              <a:gd name="connsiteY5" fmla="*/ 0 h 3360594"/>
              <a:gd name="connsiteX0" fmla="*/ 0 w 11864473"/>
              <a:gd name="connsiteY0" fmla="*/ 1652 h 3362246"/>
              <a:gd name="connsiteX1" fmla="*/ 11864473 w 11864473"/>
              <a:gd name="connsiteY1" fmla="*/ 0 h 3362246"/>
              <a:gd name="connsiteX2" fmla="*/ 11855613 w 11864473"/>
              <a:gd name="connsiteY2" fmla="*/ 3360592 h 3362246"/>
              <a:gd name="connsiteX3" fmla="*/ 579722 w 11864473"/>
              <a:gd name="connsiteY3" fmla="*/ 3362246 h 3362246"/>
              <a:gd name="connsiteX4" fmla="*/ 0 w 11864473"/>
              <a:gd name="connsiteY4" fmla="*/ 2782524 h 3362246"/>
              <a:gd name="connsiteX5" fmla="*/ 0 w 11864473"/>
              <a:gd name="connsiteY5" fmla="*/ 1652 h 3362246"/>
              <a:gd name="connsiteX0" fmla="*/ 0 w 11855629"/>
              <a:gd name="connsiteY0" fmla="*/ 1652 h 3362246"/>
              <a:gd name="connsiteX1" fmla="*/ 11459359 w 11855629"/>
              <a:gd name="connsiteY1" fmla="*/ 0 h 3362246"/>
              <a:gd name="connsiteX2" fmla="*/ 11855613 w 11855629"/>
              <a:gd name="connsiteY2" fmla="*/ 3360592 h 3362246"/>
              <a:gd name="connsiteX3" fmla="*/ 579722 w 11855629"/>
              <a:gd name="connsiteY3" fmla="*/ 3362246 h 3362246"/>
              <a:gd name="connsiteX4" fmla="*/ 0 w 11855629"/>
              <a:gd name="connsiteY4" fmla="*/ 2782524 h 3362246"/>
              <a:gd name="connsiteX5" fmla="*/ 0 w 11855629"/>
              <a:gd name="connsiteY5" fmla="*/ 1652 h 3362246"/>
              <a:gd name="connsiteX0" fmla="*/ 0 w 11459359"/>
              <a:gd name="connsiteY0" fmla="*/ 1652 h 3362246"/>
              <a:gd name="connsiteX1" fmla="*/ 11459359 w 11459359"/>
              <a:gd name="connsiteY1" fmla="*/ 0 h 3362246"/>
              <a:gd name="connsiteX2" fmla="*/ 11438924 w 11459359"/>
              <a:gd name="connsiteY2" fmla="*/ 3360592 h 3362246"/>
              <a:gd name="connsiteX3" fmla="*/ 579722 w 11459359"/>
              <a:gd name="connsiteY3" fmla="*/ 3362246 h 3362246"/>
              <a:gd name="connsiteX4" fmla="*/ 0 w 11459359"/>
              <a:gd name="connsiteY4" fmla="*/ 2782524 h 3362246"/>
              <a:gd name="connsiteX5" fmla="*/ 0 w 11459359"/>
              <a:gd name="connsiteY5" fmla="*/ 1652 h 3362246"/>
              <a:gd name="connsiteX0" fmla="*/ 0 w 11459359"/>
              <a:gd name="connsiteY0" fmla="*/ 1652 h 3362246"/>
              <a:gd name="connsiteX1" fmla="*/ 11459359 w 11459359"/>
              <a:gd name="connsiteY1" fmla="*/ 0 h 3362246"/>
              <a:gd name="connsiteX2" fmla="*/ 11438924 w 11459359"/>
              <a:gd name="connsiteY2" fmla="*/ 3360592 h 3362246"/>
              <a:gd name="connsiteX3" fmla="*/ 1584742 w 11459359"/>
              <a:gd name="connsiteY3" fmla="*/ 3362246 h 3362246"/>
              <a:gd name="connsiteX4" fmla="*/ 0 w 11459359"/>
              <a:gd name="connsiteY4" fmla="*/ 2782524 h 3362246"/>
              <a:gd name="connsiteX5" fmla="*/ 0 w 11459359"/>
              <a:gd name="connsiteY5" fmla="*/ 1652 h 3362246"/>
              <a:gd name="connsiteX0" fmla="*/ 0 w 11459359"/>
              <a:gd name="connsiteY0" fmla="*/ 1652 h 3360592"/>
              <a:gd name="connsiteX1" fmla="*/ 11459359 w 11459359"/>
              <a:gd name="connsiteY1" fmla="*/ 0 h 3360592"/>
              <a:gd name="connsiteX2" fmla="*/ 11438924 w 11459359"/>
              <a:gd name="connsiteY2" fmla="*/ 3360592 h 3360592"/>
              <a:gd name="connsiteX3" fmla="*/ 1188396 w 11459359"/>
              <a:gd name="connsiteY3" fmla="*/ 3358591 h 3360592"/>
              <a:gd name="connsiteX4" fmla="*/ 0 w 11459359"/>
              <a:gd name="connsiteY4" fmla="*/ 2782524 h 3360592"/>
              <a:gd name="connsiteX5" fmla="*/ 0 w 11459359"/>
              <a:gd name="connsiteY5" fmla="*/ 1652 h 3360592"/>
              <a:gd name="connsiteX0" fmla="*/ 0 w 11459359"/>
              <a:gd name="connsiteY0" fmla="*/ 1652 h 3360592"/>
              <a:gd name="connsiteX1" fmla="*/ 11459359 w 11459359"/>
              <a:gd name="connsiteY1" fmla="*/ 0 h 3360592"/>
              <a:gd name="connsiteX2" fmla="*/ 11438924 w 11459359"/>
              <a:gd name="connsiteY2" fmla="*/ 3360592 h 3360592"/>
              <a:gd name="connsiteX3" fmla="*/ 1188396 w 11459359"/>
              <a:gd name="connsiteY3" fmla="*/ 3358591 h 3360592"/>
              <a:gd name="connsiteX4" fmla="*/ 0 w 11459359"/>
              <a:gd name="connsiteY4" fmla="*/ 2946995 h 3360592"/>
              <a:gd name="connsiteX5" fmla="*/ 0 w 11459359"/>
              <a:gd name="connsiteY5" fmla="*/ 1652 h 3360592"/>
              <a:gd name="connsiteX0" fmla="*/ 0 w 11459359"/>
              <a:gd name="connsiteY0" fmla="*/ 1652 h 3360592"/>
              <a:gd name="connsiteX1" fmla="*/ 11459359 w 11459359"/>
              <a:gd name="connsiteY1" fmla="*/ 0 h 3360592"/>
              <a:gd name="connsiteX2" fmla="*/ 11438924 w 11459359"/>
              <a:gd name="connsiteY2" fmla="*/ 3360592 h 3360592"/>
              <a:gd name="connsiteX3" fmla="*/ 1188396 w 11459359"/>
              <a:gd name="connsiteY3" fmla="*/ 3358591 h 3360592"/>
              <a:gd name="connsiteX4" fmla="*/ 0 w 11459359"/>
              <a:gd name="connsiteY4" fmla="*/ 2946995 h 3360592"/>
              <a:gd name="connsiteX5" fmla="*/ 0 w 11459359"/>
              <a:gd name="connsiteY5" fmla="*/ 1652 h 3360592"/>
              <a:gd name="connsiteX0" fmla="*/ 0 w 11459359"/>
              <a:gd name="connsiteY0" fmla="*/ 1652 h 3360592"/>
              <a:gd name="connsiteX1" fmla="*/ 11459359 w 11459359"/>
              <a:gd name="connsiteY1" fmla="*/ 0 h 3360592"/>
              <a:gd name="connsiteX2" fmla="*/ 11438924 w 11459359"/>
              <a:gd name="connsiteY2" fmla="*/ 3360592 h 3360592"/>
              <a:gd name="connsiteX3" fmla="*/ 1188396 w 11459359"/>
              <a:gd name="connsiteY3" fmla="*/ 3358591 h 3360592"/>
              <a:gd name="connsiteX4" fmla="*/ 0 w 11459359"/>
              <a:gd name="connsiteY4" fmla="*/ 2946995 h 3360592"/>
              <a:gd name="connsiteX5" fmla="*/ 0 w 11459359"/>
              <a:gd name="connsiteY5" fmla="*/ 1652 h 33605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459359" h="3360592">
                <a:moveTo>
                  <a:pt x="0" y="1652"/>
                </a:moveTo>
                <a:lnTo>
                  <a:pt x="11459359" y="0"/>
                </a:lnTo>
                <a:cubicBezTo>
                  <a:pt x="11456406" y="1115201"/>
                  <a:pt x="11441877" y="2245391"/>
                  <a:pt x="11438924" y="3360592"/>
                </a:cubicBezTo>
                <a:lnTo>
                  <a:pt x="1188396" y="3358591"/>
                </a:lnTo>
                <a:cubicBezTo>
                  <a:pt x="848612" y="3356903"/>
                  <a:pt x="0" y="3267167"/>
                  <a:pt x="0" y="2946995"/>
                </a:cubicBezTo>
                <a:lnTo>
                  <a:pt x="0" y="1652"/>
                </a:lnTo>
                <a:close/>
              </a:path>
            </a:pathLst>
          </a:custGeom>
          <a:noFill/>
        </p:spPr>
        <p:txBody>
          <a:bodyPr/>
          <a:lstStyle>
            <a:lvl1pPr marL="0" indent="0">
              <a:buNone/>
              <a:defRPr sz="2400">
                <a:solidFill>
                  <a:schemeClr val="bg1"/>
                </a:solidFill>
              </a:defRPr>
            </a:lvl1pPr>
          </a:lstStyle>
          <a:p>
            <a:r>
              <a:rPr lang="en-US"/>
              <a:t>Click icon to add picture</a:t>
            </a:r>
            <a:endParaRPr lang="en-JP"/>
          </a:p>
        </p:txBody>
      </p:sp>
    </p:spTree>
    <p:extLst>
      <p:ext uri="{BB962C8B-B14F-4D97-AF65-F5344CB8AC3E}">
        <p14:creationId xmlns:p14="http://schemas.microsoft.com/office/powerpoint/2010/main" val="3242252246"/>
      </p:ext>
    </p:extLst>
  </p:cSld>
  <p:clrMapOvr>
    <a:masterClrMapping/>
  </p:clrMapOvr>
  <p:transition spd="slow">
    <p:push dir="u"/>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Blank slide">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30A5DA52-BBAF-EA48-AEC6-EA08F428CF57}"/>
              </a:ext>
            </a:extLst>
          </p:cNvPr>
          <p:cNvSpPr>
            <a:spLocks noGrp="1"/>
          </p:cNvSpPr>
          <p:nvPr>
            <p:ph type="body" sz="quarter" idx="10" hasCustomPrompt="1"/>
          </p:nvPr>
        </p:nvSpPr>
        <p:spPr>
          <a:xfrm>
            <a:off x="300038" y="371959"/>
            <a:ext cx="11591925" cy="6044716"/>
          </a:xfrm>
          <a:prstGeom prst="rect">
            <a:avLst/>
          </a:prstGeom>
        </p:spPr>
        <p:txBody>
          <a:bodyPr anchor="ctr" anchorCtr="0"/>
          <a:lstStyle>
            <a:lvl1pPr marL="0" indent="0" algn="ctr">
              <a:lnSpc>
                <a:spcPct val="100000"/>
              </a:lnSpc>
              <a:buNone/>
              <a:defRPr sz="3000"/>
            </a:lvl1pPr>
          </a:lstStyle>
          <a:p>
            <a:pPr lvl="0"/>
            <a:r>
              <a:rPr lang="en-US"/>
              <a:t>Blank slide</a:t>
            </a:r>
            <a:endParaRPr lang="en-JP"/>
          </a:p>
        </p:txBody>
      </p:sp>
    </p:spTree>
    <p:extLst>
      <p:ext uri="{BB962C8B-B14F-4D97-AF65-F5344CB8AC3E}">
        <p14:creationId xmlns:p14="http://schemas.microsoft.com/office/powerpoint/2010/main" val="2769672086"/>
      </p:ext>
    </p:extLst>
  </p:cSld>
  <p:clrMapOvr>
    <a:masterClrMapping/>
  </p:clrMapOvr>
  <p:transition spd="slow">
    <p:push dir="u"/>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Advanced 3-Column Text">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65925D82-457F-D84D-B8DF-D8ADFD7E71DF}"/>
              </a:ext>
            </a:extLst>
          </p:cNvPr>
          <p:cNvSpPr>
            <a:spLocks noGrp="1"/>
          </p:cNvSpPr>
          <p:nvPr>
            <p:ph type="body" sz="quarter" idx="14" hasCustomPrompt="1"/>
          </p:nvPr>
        </p:nvSpPr>
        <p:spPr>
          <a:xfrm>
            <a:off x="311150" y="3178298"/>
            <a:ext cx="5708650" cy="272786"/>
          </a:xfrm>
          <a:prstGeom prst="rect">
            <a:avLst/>
          </a:prstGeom>
        </p:spPr>
        <p:txBody>
          <a:bodyPr tIns="0" rIns="0" bIns="0" numCol="1">
            <a:noAutofit/>
          </a:bodyPr>
          <a:lstStyle>
            <a:lvl1pPr marL="0" indent="0">
              <a:lnSpc>
                <a:spcPct val="100000"/>
              </a:lnSpc>
              <a:spcBef>
                <a:spcPts val="0"/>
              </a:spcBef>
              <a:spcAft>
                <a:spcPts val="600"/>
              </a:spcAft>
              <a:buNone/>
              <a:defRPr sz="18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Secondary Title</a:t>
            </a:r>
          </a:p>
        </p:txBody>
      </p:sp>
      <p:sp>
        <p:nvSpPr>
          <p:cNvPr id="12" name="Text Placeholder 6">
            <a:extLst>
              <a:ext uri="{FF2B5EF4-FFF2-40B4-BE49-F238E27FC236}">
                <a16:creationId xmlns:a16="http://schemas.microsoft.com/office/drawing/2014/main" id="{FD2406EE-A554-5348-AE6D-4D8B343E6201}"/>
              </a:ext>
            </a:extLst>
          </p:cNvPr>
          <p:cNvSpPr>
            <a:spLocks noGrp="1"/>
          </p:cNvSpPr>
          <p:nvPr>
            <p:ph type="body" sz="quarter" idx="15" hasCustomPrompt="1"/>
          </p:nvPr>
        </p:nvSpPr>
        <p:spPr>
          <a:xfrm>
            <a:off x="311149" y="3575904"/>
            <a:ext cx="3763545" cy="2840771"/>
          </a:xfrm>
          <a:prstGeom prst="rect">
            <a:avLst/>
          </a:prstGeom>
        </p:spPr>
        <p:txBody>
          <a:bodyPr tIns="0" rIns="0" bIns="0" numCol="1">
            <a:noAutofit/>
          </a:bodyPr>
          <a:lstStyle>
            <a:lvl1pPr marL="171450" indent="-171450">
              <a:lnSpc>
                <a:spcPct val="100000"/>
              </a:lnSpc>
              <a:spcBef>
                <a:spcPts val="0"/>
              </a:spcBef>
              <a:spcAft>
                <a:spcPts val="600"/>
              </a:spcAft>
              <a:buFont typeface="Arial" panose="020B0604020202020204" pitchFamily="34" charset="0"/>
              <a:buChar char="•"/>
              <a:defRPr sz="1400" b="0">
                <a:solidFill>
                  <a:schemeClr val="tx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Secondary text. </a:t>
            </a:r>
          </a:p>
        </p:txBody>
      </p:sp>
      <p:sp>
        <p:nvSpPr>
          <p:cNvPr id="17" name="Text Placeholder 6">
            <a:extLst>
              <a:ext uri="{FF2B5EF4-FFF2-40B4-BE49-F238E27FC236}">
                <a16:creationId xmlns:a16="http://schemas.microsoft.com/office/drawing/2014/main" id="{3BB454FD-9C16-FC47-B46E-6675394572BB}"/>
              </a:ext>
            </a:extLst>
          </p:cNvPr>
          <p:cNvSpPr>
            <a:spLocks noGrp="1"/>
          </p:cNvSpPr>
          <p:nvPr>
            <p:ph type="body" sz="quarter" idx="18" hasCustomPrompt="1"/>
          </p:nvPr>
        </p:nvSpPr>
        <p:spPr>
          <a:xfrm>
            <a:off x="4213726" y="3575904"/>
            <a:ext cx="3763545" cy="2840771"/>
          </a:xfrm>
          <a:prstGeom prst="rect">
            <a:avLst/>
          </a:prstGeom>
        </p:spPr>
        <p:txBody>
          <a:bodyPr tIns="0" rIns="0" bIns="0" numCol="1">
            <a:noAutofit/>
          </a:bodyPr>
          <a:lstStyle>
            <a:lvl1pPr marL="171450" indent="-171450">
              <a:lnSpc>
                <a:spcPct val="100000"/>
              </a:lnSpc>
              <a:spcBef>
                <a:spcPts val="0"/>
              </a:spcBef>
              <a:spcAft>
                <a:spcPts val="600"/>
              </a:spcAft>
              <a:buFont typeface="Arial" panose="020B0604020202020204" pitchFamily="34" charset="0"/>
              <a:buChar char="•"/>
              <a:defRPr sz="1400" b="0">
                <a:solidFill>
                  <a:schemeClr val="tx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Secondary text. </a:t>
            </a:r>
          </a:p>
        </p:txBody>
      </p:sp>
      <p:sp>
        <p:nvSpPr>
          <p:cNvPr id="18" name="Text Placeholder 6">
            <a:extLst>
              <a:ext uri="{FF2B5EF4-FFF2-40B4-BE49-F238E27FC236}">
                <a16:creationId xmlns:a16="http://schemas.microsoft.com/office/drawing/2014/main" id="{568F3A49-7287-1C4D-93C8-50E3C0B4F15A}"/>
              </a:ext>
            </a:extLst>
          </p:cNvPr>
          <p:cNvSpPr>
            <a:spLocks noGrp="1"/>
          </p:cNvSpPr>
          <p:nvPr>
            <p:ph type="body" sz="quarter" idx="19" hasCustomPrompt="1"/>
          </p:nvPr>
        </p:nvSpPr>
        <p:spPr>
          <a:xfrm>
            <a:off x="8099967" y="3575904"/>
            <a:ext cx="3763545" cy="2840771"/>
          </a:xfrm>
          <a:prstGeom prst="rect">
            <a:avLst/>
          </a:prstGeom>
        </p:spPr>
        <p:txBody>
          <a:bodyPr tIns="0" rIns="0" bIns="0" numCol="1">
            <a:noAutofit/>
          </a:bodyPr>
          <a:lstStyle>
            <a:lvl1pPr marL="171450" indent="-171450">
              <a:lnSpc>
                <a:spcPct val="100000"/>
              </a:lnSpc>
              <a:spcBef>
                <a:spcPts val="0"/>
              </a:spcBef>
              <a:spcAft>
                <a:spcPts val="600"/>
              </a:spcAft>
              <a:buFont typeface="Arial" panose="020B0604020202020204" pitchFamily="34" charset="0"/>
              <a:buChar char="•"/>
              <a:defRPr sz="1400" b="0">
                <a:solidFill>
                  <a:schemeClr val="tx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Secondary text. </a:t>
            </a:r>
          </a:p>
        </p:txBody>
      </p:sp>
      <p:sp>
        <p:nvSpPr>
          <p:cNvPr id="21" name="Footer Placeholder 8">
            <a:extLst>
              <a:ext uri="{FF2B5EF4-FFF2-40B4-BE49-F238E27FC236}">
                <a16:creationId xmlns:a16="http://schemas.microsoft.com/office/drawing/2014/main" id="{519BC59F-4516-0043-8BAC-F9FE45B6A9F4}"/>
              </a:ext>
            </a:extLst>
          </p:cNvPr>
          <p:cNvSpPr>
            <a:spLocks noGrp="1"/>
          </p:cNvSpPr>
          <p:nvPr>
            <p:ph type="ftr" sz="quarter" idx="3"/>
          </p:nvPr>
        </p:nvSpPr>
        <p:spPr>
          <a:xfrm>
            <a:off x="7766050" y="6523001"/>
            <a:ext cx="4114800" cy="196131"/>
          </a:xfrm>
          <a:prstGeom prst="rect">
            <a:avLst/>
          </a:prstGeom>
        </p:spPr>
        <p:txBody>
          <a:bodyPr vert="horz" lIns="91440" tIns="45720" rIns="0" bIns="45720" rtlCol="0" anchor="ctr"/>
          <a:lstStyle>
            <a:lvl1pPr algn="r">
              <a:defRPr sz="800" b="1" spc="100" baseline="0">
                <a:solidFill>
                  <a:schemeClr val="tx1"/>
                </a:solidFill>
              </a:defRPr>
            </a:lvl1pPr>
          </a:lstStyle>
          <a:p>
            <a:r>
              <a:rPr lang="en-JP"/>
              <a:t> </a:t>
            </a:r>
          </a:p>
        </p:txBody>
      </p:sp>
      <p:pic>
        <p:nvPicPr>
          <p:cNvPr id="14" name="Picture 13" descr="Takeda">
            <a:extLst>
              <a:ext uri="{FF2B5EF4-FFF2-40B4-BE49-F238E27FC236}">
                <a16:creationId xmlns:a16="http://schemas.microsoft.com/office/drawing/2014/main" id="{0E2D4ABB-BC5B-754B-B0DE-676246A385A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46331" y="-1615"/>
            <a:ext cx="1696232" cy="940780"/>
          </a:xfrm>
          <a:prstGeom prst="rect">
            <a:avLst/>
          </a:prstGeom>
        </p:spPr>
      </p:pic>
      <p:sp>
        <p:nvSpPr>
          <p:cNvPr id="24" name="タイトル プレースホルダ 1">
            <a:extLst>
              <a:ext uri="{FF2B5EF4-FFF2-40B4-BE49-F238E27FC236}">
                <a16:creationId xmlns:a16="http://schemas.microsoft.com/office/drawing/2014/main" id="{CC986DF6-9894-F144-B9DA-A9DBE0000AB8}"/>
              </a:ext>
            </a:extLst>
          </p:cNvPr>
          <p:cNvSpPr>
            <a:spLocks noGrp="1"/>
          </p:cNvSpPr>
          <p:nvPr>
            <p:ph type="title" hasCustomPrompt="1"/>
          </p:nvPr>
        </p:nvSpPr>
        <p:spPr>
          <a:xfrm>
            <a:off x="606078" y="161605"/>
            <a:ext cx="9940253" cy="685801"/>
          </a:xfrm>
          <a:prstGeom prst="rect">
            <a:avLst/>
          </a:prstGeom>
        </p:spPr>
        <p:txBody>
          <a:bodyPr vert="horz" lIns="0" tIns="0" rIns="0" bIns="0" rtlCol="0" anchor="ctr">
            <a:normAutofit/>
          </a:bodyPr>
          <a:lstStyle/>
          <a:p>
            <a:r>
              <a:rPr kumimoji="1" lang="en-US" altLang="ja-JP"/>
              <a:t>Click to add title</a:t>
            </a:r>
            <a:endParaRPr kumimoji="1" lang="ja-JP" altLang="en-US"/>
          </a:p>
        </p:txBody>
      </p:sp>
      <p:sp>
        <p:nvSpPr>
          <p:cNvPr id="23" name="Rectangle 22">
            <a:extLst>
              <a:ext uri="{FF2B5EF4-FFF2-40B4-BE49-F238E27FC236}">
                <a16:creationId xmlns:a16="http://schemas.microsoft.com/office/drawing/2014/main" id="{886528CE-2840-6C44-965A-04D8835743E3}"/>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a:solidFill>
                <a:schemeClr val="accent1"/>
              </a:solidFill>
            </a:endParaRPr>
          </a:p>
        </p:txBody>
      </p:sp>
      <p:sp>
        <p:nvSpPr>
          <p:cNvPr id="27" name="スライド番号プレースホルダ 5">
            <a:extLst>
              <a:ext uri="{FF2B5EF4-FFF2-40B4-BE49-F238E27FC236}">
                <a16:creationId xmlns:a16="http://schemas.microsoft.com/office/drawing/2014/main" id="{854E474F-30B0-604E-9699-287AC57CAAFA}"/>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8" name="Text Placeholder 6">
            <a:extLst>
              <a:ext uri="{FF2B5EF4-FFF2-40B4-BE49-F238E27FC236}">
                <a16:creationId xmlns:a16="http://schemas.microsoft.com/office/drawing/2014/main" id="{C9681050-C142-4F4F-B3C6-6F52F3C55CD6}"/>
              </a:ext>
            </a:extLst>
          </p:cNvPr>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Private and confidential. For internal use only.</a:t>
            </a:r>
          </a:p>
        </p:txBody>
      </p:sp>
      <p:sp>
        <p:nvSpPr>
          <p:cNvPr id="22" name="Text Placeholder 2">
            <a:extLst>
              <a:ext uri="{FF2B5EF4-FFF2-40B4-BE49-F238E27FC236}">
                <a16:creationId xmlns:a16="http://schemas.microsoft.com/office/drawing/2014/main" id="{110504E2-40F0-054E-8424-D247EF2CA216}"/>
              </a:ext>
            </a:extLst>
          </p:cNvPr>
          <p:cNvSpPr>
            <a:spLocks noGrp="1"/>
          </p:cNvSpPr>
          <p:nvPr>
            <p:ph type="body" sz="quarter" idx="20" hasCustomPrompt="1"/>
          </p:nvPr>
        </p:nvSpPr>
        <p:spPr>
          <a:xfrm>
            <a:off x="311151" y="1491373"/>
            <a:ext cx="11569700" cy="1464957"/>
          </a:xfrm>
        </p:spPr>
        <p:txBody>
          <a:bodyPr tIns="0" rIns="0" bIns="0" numCol="1" spcCol="126000">
            <a:noAutofit/>
          </a:bodyPr>
          <a:lstStyle>
            <a:lvl1pPr marL="0" indent="0">
              <a:lnSpc>
                <a:spcPct val="100000"/>
              </a:lnSpc>
              <a:spcBef>
                <a:spcPts val="0"/>
              </a:spcBef>
              <a:buNone/>
              <a:defRPr sz="1600" b="1"/>
            </a:lvl1pPr>
            <a:lvl2pPr marL="457068" indent="0">
              <a:buNone/>
              <a:defRPr sz="1800" b="1"/>
            </a:lvl2pPr>
            <a:lvl3pPr marL="914149" indent="0">
              <a:buNone/>
              <a:defRPr sz="1800" b="1"/>
            </a:lvl3pPr>
            <a:lvl4pPr marL="1371219" indent="0">
              <a:buNone/>
              <a:defRPr sz="1800" b="1"/>
            </a:lvl4pPr>
            <a:lvl5pPr marL="1828290" indent="0">
              <a:buNone/>
              <a:defRPr sz="1800" b="1"/>
            </a:lvl5pPr>
          </a:lstStyle>
          <a:p>
            <a:pPr lvl="0"/>
            <a:r>
              <a:rPr lang="en-US"/>
              <a:t>This is your Primary Text.</a:t>
            </a:r>
            <a:endParaRPr lang="en-JP"/>
          </a:p>
        </p:txBody>
      </p:sp>
      <p:sp>
        <p:nvSpPr>
          <p:cNvPr id="25" name="Text Placeholder 6">
            <a:extLst>
              <a:ext uri="{FF2B5EF4-FFF2-40B4-BE49-F238E27FC236}">
                <a16:creationId xmlns:a16="http://schemas.microsoft.com/office/drawing/2014/main" id="{073E75F2-7FFB-DC4C-8964-799372FCF583}"/>
              </a:ext>
            </a:extLst>
          </p:cNvPr>
          <p:cNvSpPr>
            <a:spLocks noGrp="1"/>
          </p:cNvSpPr>
          <p:nvPr>
            <p:ph type="body" sz="quarter" idx="21" hasCustomPrompt="1"/>
          </p:nvPr>
        </p:nvSpPr>
        <p:spPr>
          <a:xfrm>
            <a:off x="311150" y="1093767"/>
            <a:ext cx="11569700" cy="272786"/>
          </a:xfrm>
        </p:spPr>
        <p:txBody>
          <a:bodyPr tIns="0" rIns="0" bIns="0" numCol="1">
            <a:noAutofit/>
          </a:bodyPr>
          <a:lstStyle>
            <a:lvl1pPr marL="0" indent="0">
              <a:lnSpc>
                <a:spcPct val="100000"/>
              </a:lnSpc>
              <a:spcBef>
                <a:spcPts val="0"/>
              </a:spcBef>
              <a:spcAft>
                <a:spcPts val="600"/>
              </a:spcAft>
              <a:buNone/>
              <a:defRPr sz="20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Primary Title</a:t>
            </a:r>
          </a:p>
        </p:txBody>
      </p:sp>
    </p:spTree>
    <p:extLst>
      <p:ext uri="{BB962C8B-B14F-4D97-AF65-F5344CB8AC3E}">
        <p14:creationId xmlns:p14="http://schemas.microsoft.com/office/powerpoint/2010/main" val="2056880574"/>
      </p:ext>
    </p:extLst>
  </p:cSld>
  <p:clrMapOvr>
    <a:masterClrMapping/>
  </p:clrMapOvr>
  <p:transition spd="slow">
    <p:push dir="u"/>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 Page 2 ">
    <p:spTree>
      <p:nvGrpSpPr>
        <p:cNvPr id="1" name=""/>
        <p:cNvGrpSpPr/>
        <p:nvPr/>
      </p:nvGrpSpPr>
      <p:grpSpPr>
        <a:xfrm>
          <a:off x="0" y="0"/>
          <a:ext cx="0" cy="0"/>
          <a:chOff x="0" y="0"/>
          <a:chExt cx="0" cy="0"/>
        </a:xfrm>
      </p:grpSpPr>
      <p:sp>
        <p:nvSpPr>
          <p:cNvPr id="33" name="Title 1">
            <a:extLst>
              <a:ext uri="{FF2B5EF4-FFF2-40B4-BE49-F238E27FC236}">
                <a16:creationId xmlns:a16="http://schemas.microsoft.com/office/drawing/2014/main" id="{E02383DA-65B3-044E-9E1B-2CC00A0B1CC6}"/>
              </a:ext>
            </a:extLst>
          </p:cNvPr>
          <p:cNvSpPr>
            <a:spLocks noGrp="1"/>
          </p:cNvSpPr>
          <p:nvPr>
            <p:ph type="ctrTitle" hasCustomPrompt="1"/>
          </p:nvPr>
        </p:nvSpPr>
        <p:spPr>
          <a:xfrm>
            <a:off x="1194730" y="2303030"/>
            <a:ext cx="6862150" cy="1125969"/>
          </a:xfrm>
          <a:prstGeom prst="rect">
            <a:avLst/>
          </a:prstGeom>
        </p:spPr>
        <p:txBody>
          <a:bodyPr wrap="square" lIns="0" tIns="0" rIns="0" bIns="0" anchor="t" anchorCtr="0">
            <a:normAutofit/>
          </a:bodyPr>
          <a:lstStyle>
            <a:lvl1pPr>
              <a:lnSpc>
                <a:spcPts val="3800"/>
              </a:lnSpc>
              <a:defRPr sz="3600" b="1" i="0" baseline="0">
                <a:solidFill>
                  <a:schemeClr val="tx1"/>
                </a:solidFill>
                <a:latin typeface="Calibri" panose="020F0502020204030204" pitchFamily="34" charset="0"/>
                <a:ea typeface="メイリオ" pitchFamily="50" charset="-128"/>
                <a:cs typeface="Calibri" pitchFamily="34" charset="0"/>
              </a:defRPr>
            </a:lvl1pPr>
          </a:lstStyle>
          <a:p>
            <a:r>
              <a:rPr lang="en-GB"/>
              <a:t>Click to add title</a:t>
            </a:r>
          </a:p>
        </p:txBody>
      </p:sp>
      <p:sp>
        <p:nvSpPr>
          <p:cNvPr id="28" name="Rectangle 27">
            <a:extLst>
              <a:ext uri="{FF2B5EF4-FFF2-40B4-BE49-F238E27FC236}">
                <a16:creationId xmlns:a16="http://schemas.microsoft.com/office/drawing/2014/main" id="{92F9C2FE-7E43-3948-92F0-0CEA804BDBFE}"/>
              </a:ext>
            </a:extLst>
          </p:cNvPr>
          <p:cNvSpPr/>
          <p:nvPr userDrawn="1"/>
        </p:nvSpPr>
        <p:spPr>
          <a:xfrm>
            <a:off x="749005" y="2110246"/>
            <a:ext cx="97200" cy="270718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kumimoji="0" lang="en-US" altLang="en-US" sz="1800">
              <a:solidFill>
                <a:srgbClr val="FFFFFF"/>
              </a:solidFill>
            </a:endParaRPr>
          </a:p>
        </p:txBody>
      </p:sp>
      <p:sp>
        <p:nvSpPr>
          <p:cNvPr id="29" name="Text Placeholder 2">
            <a:extLst>
              <a:ext uri="{FF2B5EF4-FFF2-40B4-BE49-F238E27FC236}">
                <a16:creationId xmlns:a16="http://schemas.microsoft.com/office/drawing/2014/main" id="{8F239D86-1AC3-1D48-9675-22CEFBB263F8}"/>
              </a:ext>
            </a:extLst>
          </p:cNvPr>
          <p:cNvSpPr>
            <a:spLocks noGrp="1"/>
          </p:cNvSpPr>
          <p:nvPr>
            <p:ph type="body" sz="quarter" idx="27" hasCustomPrompt="1"/>
          </p:nvPr>
        </p:nvSpPr>
        <p:spPr>
          <a:xfrm>
            <a:off x="1194729" y="3835926"/>
            <a:ext cx="6862150" cy="263075"/>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068" indent="0">
              <a:buNone/>
              <a:defRPr sz="1400">
                <a:solidFill>
                  <a:schemeClr val="tx1"/>
                </a:solidFill>
              </a:defRPr>
            </a:lvl2pPr>
            <a:lvl3pPr marL="914149" indent="0">
              <a:buNone/>
              <a:defRPr sz="1400">
                <a:solidFill>
                  <a:schemeClr val="tx1"/>
                </a:solidFill>
              </a:defRPr>
            </a:lvl3pPr>
            <a:lvl4pPr marL="1371219" indent="0">
              <a:buNone/>
              <a:defRPr sz="1400">
                <a:solidFill>
                  <a:schemeClr val="tx1"/>
                </a:solidFill>
              </a:defRPr>
            </a:lvl4pPr>
            <a:lvl5pPr marL="1828290" indent="0">
              <a:buNone/>
              <a:defRPr sz="1400">
                <a:solidFill>
                  <a:schemeClr val="tx1"/>
                </a:solidFill>
              </a:defRPr>
            </a:lvl5pPr>
          </a:lstStyle>
          <a:p>
            <a:pPr lvl="0"/>
            <a:r>
              <a:rPr lang="en-US"/>
              <a:t>Title of Position</a:t>
            </a:r>
          </a:p>
        </p:txBody>
      </p:sp>
      <p:sp>
        <p:nvSpPr>
          <p:cNvPr id="30" name="Text Placeholder 2">
            <a:extLst>
              <a:ext uri="{FF2B5EF4-FFF2-40B4-BE49-F238E27FC236}">
                <a16:creationId xmlns:a16="http://schemas.microsoft.com/office/drawing/2014/main" id="{91BF6710-27B9-2444-8317-2C64F0D30847}"/>
              </a:ext>
            </a:extLst>
          </p:cNvPr>
          <p:cNvSpPr>
            <a:spLocks noGrp="1"/>
          </p:cNvSpPr>
          <p:nvPr>
            <p:ph type="body" sz="quarter" idx="28" hasCustomPrompt="1"/>
          </p:nvPr>
        </p:nvSpPr>
        <p:spPr>
          <a:xfrm>
            <a:off x="1194729" y="4094940"/>
            <a:ext cx="6862150" cy="263075"/>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068" indent="0">
              <a:buNone/>
              <a:defRPr sz="1400">
                <a:solidFill>
                  <a:schemeClr val="tx1"/>
                </a:solidFill>
              </a:defRPr>
            </a:lvl2pPr>
            <a:lvl3pPr marL="914149" indent="0">
              <a:buNone/>
              <a:defRPr sz="1400">
                <a:solidFill>
                  <a:schemeClr val="tx1"/>
                </a:solidFill>
              </a:defRPr>
            </a:lvl3pPr>
            <a:lvl4pPr marL="1371219" indent="0">
              <a:buNone/>
              <a:defRPr sz="1400">
                <a:solidFill>
                  <a:schemeClr val="tx1"/>
                </a:solidFill>
              </a:defRPr>
            </a:lvl4pPr>
            <a:lvl5pPr marL="1828290" indent="0">
              <a:buNone/>
              <a:defRPr sz="1400">
                <a:solidFill>
                  <a:schemeClr val="tx1"/>
                </a:solidFill>
              </a:defRPr>
            </a:lvl5pPr>
          </a:lstStyle>
          <a:p>
            <a:pPr lvl="0"/>
            <a:r>
              <a:rPr lang="en-US"/>
              <a:t>Department</a:t>
            </a:r>
          </a:p>
        </p:txBody>
      </p:sp>
      <p:sp>
        <p:nvSpPr>
          <p:cNvPr id="31" name="Text Placeholder 2">
            <a:extLst>
              <a:ext uri="{FF2B5EF4-FFF2-40B4-BE49-F238E27FC236}">
                <a16:creationId xmlns:a16="http://schemas.microsoft.com/office/drawing/2014/main" id="{669B2D41-B11D-9D45-B189-F838AC342B07}"/>
              </a:ext>
            </a:extLst>
          </p:cNvPr>
          <p:cNvSpPr>
            <a:spLocks noGrp="1"/>
          </p:cNvSpPr>
          <p:nvPr>
            <p:ph type="body" sz="quarter" idx="29" hasCustomPrompt="1"/>
          </p:nvPr>
        </p:nvSpPr>
        <p:spPr>
          <a:xfrm>
            <a:off x="1194729" y="4349427"/>
            <a:ext cx="6862150" cy="263075"/>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068" indent="0">
              <a:buNone/>
              <a:defRPr sz="1400">
                <a:solidFill>
                  <a:schemeClr val="tx1"/>
                </a:solidFill>
              </a:defRPr>
            </a:lvl2pPr>
            <a:lvl3pPr marL="914149" indent="0">
              <a:buNone/>
              <a:defRPr sz="1400">
                <a:solidFill>
                  <a:schemeClr val="tx1"/>
                </a:solidFill>
              </a:defRPr>
            </a:lvl3pPr>
            <a:lvl4pPr marL="1371219" indent="0">
              <a:buNone/>
              <a:defRPr sz="1400">
                <a:solidFill>
                  <a:schemeClr val="tx1"/>
                </a:solidFill>
              </a:defRPr>
            </a:lvl4pPr>
            <a:lvl5pPr marL="1828290" indent="0">
              <a:buNone/>
              <a:defRPr sz="1400">
                <a:solidFill>
                  <a:schemeClr val="tx1"/>
                </a:solidFill>
              </a:defRPr>
            </a:lvl5pPr>
          </a:lstStyle>
          <a:p>
            <a:pPr lvl="0"/>
            <a:r>
              <a:rPr lang="en-US"/>
              <a:t>Date</a:t>
            </a:r>
          </a:p>
        </p:txBody>
      </p:sp>
      <p:sp>
        <p:nvSpPr>
          <p:cNvPr id="32" name="Text Placeholder 2">
            <a:extLst>
              <a:ext uri="{FF2B5EF4-FFF2-40B4-BE49-F238E27FC236}">
                <a16:creationId xmlns:a16="http://schemas.microsoft.com/office/drawing/2014/main" id="{D7467C81-9D88-4140-B42C-28DFB5646475}"/>
              </a:ext>
            </a:extLst>
          </p:cNvPr>
          <p:cNvSpPr>
            <a:spLocks noGrp="1"/>
          </p:cNvSpPr>
          <p:nvPr>
            <p:ph type="body" sz="quarter" idx="30" hasCustomPrompt="1"/>
          </p:nvPr>
        </p:nvSpPr>
        <p:spPr>
          <a:xfrm>
            <a:off x="1194729" y="3577405"/>
            <a:ext cx="6862150" cy="263075"/>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068" indent="0">
              <a:buNone/>
              <a:defRPr sz="1400">
                <a:solidFill>
                  <a:schemeClr val="tx1"/>
                </a:solidFill>
              </a:defRPr>
            </a:lvl2pPr>
            <a:lvl3pPr marL="914149" indent="0">
              <a:buNone/>
              <a:defRPr sz="1400">
                <a:solidFill>
                  <a:schemeClr val="tx1"/>
                </a:solidFill>
              </a:defRPr>
            </a:lvl3pPr>
            <a:lvl4pPr marL="1371219" indent="0">
              <a:buNone/>
              <a:defRPr sz="1400">
                <a:solidFill>
                  <a:schemeClr val="tx1"/>
                </a:solidFill>
              </a:defRPr>
            </a:lvl4pPr>
            <a:lvl5pPr marL="1828290" indent="0">
              <a:buNone/>
              <a:defRPr sz="1400">
                <a:solidFill>
                  <a:schemeClr val="tx1"/>
                </a:solidFill>
              </a:defRPr>
            </a:lvl5pPr>
          </a:lstStyle>
          <a:p>
            <a:pPr lvl="0"/>
            <a:r>
              <a:rPr lang="en-US"/>
              <a:t>Presenter Name</a:t>
            </a:r>
          </a:p>
        </p:txBody>
      </p:sp>
      <p:pic>
        <p:nvPicPr>
          <p:cNvPr id="12" name="Picture 11">
            <a:extLst>
              <a:ext uri="{FF2B5EF4-FFF2-40B4-BE49-F238E27FC236}">
                <a16:creationId xmlns:a16="http://schemas.microsoft.com/office/drawing/2014/main" id="{16819C41-2A79-B54D-9C44-C619DA694E6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571921" y="6357944"/>
            <a:ext cx="1958578" cy="117462"/>
          </a:xfrm>
          <a:prstGeom prst="rect">
            <a:avLst/>
          </a:prstGeom>
        </p:spPr>
      </p:pic>
      <p:pic>
        <p:nvPicPr>
          <p:cNvPr id="13" name="Picture 12">
            <a:extLst>
              <a:ext uri="{FF2B5EF4-FFF2-40B4-BE49-F238E27FC236}">
                <a16:creationId xmlns:a16="http://schemas.microsoft.com/office/drawing/2014/main" id="{3D2794BD-1A0D-7D48-855D-469111926BF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790516" y="-8600"/>
            <a:ext cx="2251710" cy="1248865"/>
          </a:xfrm>
          <a:prstGeom prst="rect">
            <a:avLst/>
          </a:prstGeom>
        </p:spPr>
      </p:pic>
      <p:sp>
        <p:nvSpPr>
          <p:cNvPr id="14" name="Text Placeholder 2">
            <a:extLst>
              <a:ext uri="{FF2B5EF4-FFF2-40B4-BE49-F238E27FC236}">
                <a16:creationId xmlns:a16="http://schemas.microsoft.com/office/drawing/2014/main" id="{B9909778-A51F-784D-ACA4-EC5DBA48BE16}"/>
              </a:ext>
            </a:extLst>
          </p:cNvPr>
          <p:cNvSpPr>
            <a:spLocks noGrp="1"/>
          </p:cNvSpPr>
          <p:nvPr>
            <p:ph type="body" sz="quarter" idx="16" hasCustomPrompt="1"/>
          </p:nvPr>
        </p:nvSpPr>
        <p:spPr>
          <a:xfrm>
            <a:off x="1194729" y="6319955"/>
            <a:ext cx="7699670" cy="234001"/>
          </a:xfrm>
        </p:spPr>
        <p:txBody>
          <a:bodyPr tIns="0" rIns="0" bIns="0" anchor="ctr" anchorCtr="0">
            <a:noAutofit/>
          </a:bodyPr>
          <a:lstStyle>
            <a:lvl1pPr marL="0" marR="0" indent="0" algn="l" defTabSz="914150" rtl="0" eaLnBrk="1" fontAlgn="auto" latinLnBrk="0" hangingPunct="1">
              <a:lnSpc>
                <a:spcPct val="100000"/>
              </a:lnSpc>
              <a:spcBef>
                <a:spcPct val="20000"/>
              </a:spcBef>
              <a:spcAft>
                <a:spcPts val="0"/>
              </a:spcAft>
              <a:buClr>
                <a:srgbClr val="4C4948"/>
              </a:buClr>
              <a:buSzTx/>
              <a:buFont typeface="Arial" panose="020B0604020202020204" pitchFamily="34" charset="0"/>
              <a:buNone/>
              <a:tabLst/>
              <a:defRPr sz="800"/>
            </a:lvl1pPr>
            <a:lvl2pPr>
              <a:defRPr sz="800"/>
            </a:lvl2pPr>
            <a:lvl3pPr>
              <a:defRPr sz="800"/>
            </a:lvl3pPr>
            <a:lvl4pPr>
              <a:defRPr sz="800"/>
            </a:lvl4pPr>
            <a:lvl5pPr>
              <a:defRPr sz="800"/>
            </a:lvl5pPr>
          </a:lstStyle>
          <a:p>
            <a:pPr marL="0" marR="0" lvl="0" indent="0" algn="l" defTabSz="914150" rtl="0" eaLnBrk="1" fontAlgn="auto" latinLnBrk="0" hangingPunct="1">
              <a:lnSpc>
                <a:spcPct val="100000"/>
              </a:lnSpc>
              <a:spcBef>
                <a:spcPct val="20000"/>
              </a:spcBef>
              <a:spcAft>
                <a:spcPts val="0"/>
              </a:spcAft>
              <a:buClr>
                <a:srgbClr val="4C4948"/>
              </a:buClr>
              <a:buSzTx/>
              <a:buFont typeface="Arial" panose="020B0604020202020204" pitchFamily="34" charset="0"/>
              <a:buNone/>
              <a:tabLst/>
              <a:defRPr/>
            </a:pPr>
            <a:r>
              <a:rPr lang="en-US"/>
              <a:t>Private and confidential. For internal use only.</a:t>
            </a:r>
          </a:p>
        </p:txBody>
      </p:sp>
    </p:spTree>
    <p:extLst>
      <p:ext uri="{BB962C8B-B14F-4D97-AF65-F5344CB8AC3E}">
        <p14:creationId xmlns:p14="http://schemas.microsoft.com/office/powerpoint/2010/main" val="2748355997"/>
      </p:ext>
    </p:extLst>
  </p:cSld>
  <p:clrMapOvr>
    <a:masterClrMapping/>
  </p:clrMapOvr>
  <p:transition spd="slow">
    <p:push dir="u"/>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Advanced 2/3 Image">
    <p:spTree>
      <p:nvGrpSpPr>
        <p:cNvPr id="1" name=""/>
        <p:cNvGrpSpPr/>
        <p:nvPr/>
      </p:nvGrpSpPr>
      <p:grpSpPr>
        <a:xfrm>
          <a:off x="0" y="0"/>
          <a:ext cx="0" cy="0"/>
          <a:chOff x="0" y="0"/>
          <a:chExt cx="0" cy="0"/>
        </a:xfrm>
      </p:grpSpPr>
      <p:sp>
        <p:nvSpPr>
          <p:cNvPr id="13" name="Picture Placeholder 9">
            <a:extLst>
              <a:ext uri="{FF2B5EF4-FFF2-40B4-BE49-F238E27FC236}">
                <a16:creationId xmlns:a16="http://schemas.microsoft.com/office/drawing/2014/main" id="{B3311DE3-EC35-4C49-805E-57AB2D90E99E}"/>
              </a:ext>
            </a:extLst>
          </p:cNvPr>
          <p:cNvSpPr>
            <a:spLocks noGrp="1"/>
          </p:cNvSpPr>
          <p:nvPr>
            <p:ph type="pic" sz="quarter" idx="10" hasCustomPrompt="1"/>
          </p:nvPr>
        </p:nvSpPr>
        <p:spPr>
          <a:xfrm>
            <a:off x="4210743" y="1093767"/>
            <a:ext cx="7988356" cy="5322908"/>
          </a:xfrm>
          <a:custGeom>
            <a:avLst/>
            <a:gdLst>
              <a:gd name="connsiteX0" fmla="*/ 0 w 10888662"/>
              <a:gd name="connsiteY0" fmla="*/ 579722 h 6442075"/>
              <a:gd name="connsiteX1" fmla="*/ 579722 w 10888662"/>
              <a:gd name="connsiteY1" fmla="*/ 0 h 6442075"/>
              <a:gd name="connsiteX2" fmla="*/ 10308940 w 10888662"/>
              <a:gd name="connsiteY2" fmla="*/ 0 h 6442075"/>
              <a:gd name="connsiteX3" fmla="*/ 10888662 w 10888662"/>
              <a:gd name="connsiteY3" fmla="*/ 579722 h 6442075"/>
              <a:gd name="connsiteX4" fmla="*/ 10888662 w 10888662"/>
              <a:gd name="connsiteY4" fmla="*/ 5862353 h 6442075"/>
              <a:gd name="connsiteX5" fmla="*/ 10308940 w 10888662"/>
              <a:gd name="connsiteY5" fmla="*/ 6442075 h 6442075"/>
              <a:gd name="connsiteX6" fmla="*/ 579722 w 10888662"/>
              <a:gd name="connsiteY6" fmla="*/ 6442075 h 6442075"/>
              <a:gd name="connsiteX7" fmla="*/ 0 w 10888662"/>
              <a:gd name="connsiteY7" fmla="*/ 5862353 h 6442075"/>
              <a:gd name="connsiteX8" fmla="*/ 0 w 10888662"/>
              <a:gd name="connsiteY8" fmla="*/ 579722 h 6442075"/>
              <a:gd name="connsiteX0" fmla="*/ 0 w 10888662"/>
              <a:gd name="connsiteY0" fmla="*/ 659657 h 6522010"/>
              <a:gd name="connsiteX1" fmla="*/ 10308940 w 10888662"/>
              <a:gd name="connsiteY1" fmla="*/ 79935 h 6522010"/>
              <a:gd name="connsiteX2" fmla="*/ 10888662 w 10888662"/>
              <a:gd name="connsiteY2" fmla="*/ 659657 h 6522010"/>
              <a:gd name="connsiteX3" fmla="*/ 10888662 w 10888662"/>
              <a:gd name="connsiteY3" fmla="*/ 5942288 h 6522010"/>
              <a:gd name="connsiteX4" fmla="*/ 10308940 w 10888662"/>
              <a:gd name="connsiteY4" fmla="*/ 6522010 h 6522010"/>
              <a:gd name="connsiteX5" fmla="*/ 579722 w 10888662"/>
              <a:gd name="connsiteY5" fmla="*/ 6522010 h 6522010"/>
              <a:gd name="connsiteX6" fmla="*/ 0 w 10888662"/>
              <a:gd name="connsiteY6" fmla="*/ 5942288 h 6522010"/>
              <a:gd name="connsiteX7" fmla="*/ 0 w 10888662"/>
              <a:gd name="connsiteY7" fmla="*/ 659657 h 6522010"/>
              <a:gd name="connsiteX0" fmla="*/ 0 w 10888662"/>
              <a:gd name="connsiteY0" fmla="*/ 579722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579722 h 6442075"/>
              <a:gd name="connsiteX0" fmla="*/ 0 w 10888662"/>
              <a:gd name="connsiteY0" fmla="*/ 129257 h 6569679"/>
              <a:gd name="connsiteX1" fmla="*/ 10308940 w 10888662"/>
              <a:gd name="connsiteY1" fmla="*/ 127604 h 6569679"/>
              <a:gd name="connsiteX2" fmla="*/ 10888662 w 10888662"/>
              <a:gd name="connsiteY2" fmla="*/ 707326 h 6569679"/>
              <a:gd name="connsiteX3" fmla="*/ 10888662 w 10888662"/>
              <a:gd name="connsiteY3" fmla="*/ 5989957 h 6569679"/>
              <a:gd name="connsiteX4" fmla="*/ 10308940 w 10888662"/>
              <a:gd name="connsiteY4" fmla="*/ 6569679 h 6569679"/>
              <a:gd name="connsiteX5" fmla="*/ 579722 w 10888662"/>
              <a:gd name="connsiteY5" fmla="*/ 6569679 h 6569679"/>
              <a:gd name="connsiteX6" fmla="*/ 0 w 10888662"/>
              <a:gd name="connsiteY6" fmla="*/ 5989957 h 6569679"/>
              <a:gd name="connsiteX7" fmla="*/ 0 w 10888662"/>
              <a:gd name="connsiteY7" fmla="*/ 129257 h 6569679"/>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9657299 w 10888662"/>
              <a:gd name="connsiteY4" fmla="*/ 55276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522010"/>
              <a:gd name="connsiteX1" fmla="*/ 10308940 w 10888662"/>
              <a:gd name="connsiteY1" fmla="*/ 0 h 6522010"/>
              <a:gd name="connsiteX2" fmla="*/ 10888662 w 10888662"/>
              <a:gd name="connsiteY2" fmla="*/ 579722 h 6522010"/>
              <a:gd name="connsiteX3" fmla="*/ 10888662 w 10888662"/>
              <a:gd name="connsiteY3" fmla="*/ 5862353 h 6522010"/>
              <a:gd name="connsiteX4" fmla="*/ 579722 w 10888662"/>
              <a:gd name="connsiteY4" fmla="*/ 6442075 h 6522010"/>
              <a:gd name="connsiteX5" fmla="*/ 0 w 10888662"/>
              <a:gd name="connsiteY5" fmla="*/ 5862353 h 6522010"/>
              <a:gd name="connsiteX6" fmla="*/ 0 w 10888662"/>
              <a:gd name="connsiteY6" fmla="*/ 1653 h 6522010"/>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579722 w 10888662"/>
              <a:gd name="connsiteY4" fmla="*/ 6442075 h 6442075"/>
              <a:gd name="connsiteX5" fmla="*/ 0 w 10888662"/>
              <a:gd name="connsiteY5" fmla="*/ 5862353 h 6442075"/>
              <a:gd name="connsiteX6" fmla="*/ 0 w 10888662"/>
              <a:gd name="connsiteY6" fmla="*/ 1653 h 6442075"/>
              <a:gd name="connsiteX0" fmla="*/ 0 w 10888662"/>
              <a:gd name="connsiteY0" fmla="*/ 1653 h 6585432"/>
              <a:gd name="connsiteX1" fmla="*/ 10308940 w 10888662"/>
              <a:gd name="connsiteY1" fmla="*/ 0 h 6585432"/>
              <a:gd name="connsiteX2" fmla="*/ 10888662 w 10888662"/>
              <a:gd name="connsiteY2" fmla="*/ 579722 h 6585432"/>
              <a:gd name="connsiteX3" fmla="*/ 10878151 w 10888662"/>
              <a:gd name="connsiteY3" fmla="*/ 6461442 h 6585432"/>
              <a:gd name="connsiteX4" fmla="*/ 579722 w 10888662"/>
              <a:gd name="connsiteY4" fmla="*/ 6442075 h 6585432"/>
              <a:gd name="connsiteX5" fmla="*/ 0 w 10888662"/>
              <a:gd name="connsiteY5" fmla="*/ 5862353 h 6585432"/>
              <a:gd name="connsiteX6" fmla="*/ 0 w 10888662"/>
              <a:gd name="connsiteY6" fmla="*/ 1653 h 6585432"/>
              <a:gd name="connsiteX0" fmla="*/ 0 w 10888662"/>
              <a:gd name="connsiteY0" fmla="*/ 1653 h 6577502"/>
              <a:gd name="connsiteX1" fmla="*/ 10308940 w 10888662"/>
              <a:gd name="connsiteY1" fmla="*/ 0 h 6577502"/>
              <a:gd name="connsiteX2" fmla="*/ 10888662 w 10888662"/>
              <a:gd name="connsiteY2" fmla="*/ 579722 h 6577502"/>
              <a:gd name="connsiteX3" fmla="*/ 10878151 w 10888662"/>
              <a:gd name="connsiteY3" fmla="*/ 6450932 h 6577502"/>
              <a:gd name="connsiteX4" fmla="*/ 579722 w 10888662"/>
              <a:gd name="connsiteY4" fmla="*/ 6442075 h 6577502"/>
              <a:gd name="connsiteX5" fmla="*/ 0 w 10888662"/>
              <a:gd name="connsiteY5" fmla="*/ 5862353 h 6577502"/>
              <a:gd name="connsiteX6" fmla="*/ 0 w 10888662"/>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0888662"/>
              <a:gd name="connsiteY0" fmla="*/ 1653 h 6450932"/>
              <a:gd name="connsiteX1" fmla="*/ 10308940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0999550"/>
              <a:gd name="connsiteY0" fmla="*/ 1653 h 6450932"/>
              <a:gd name="connsiteX1" fmla="*/ 10844968 w 10999550"/>
              <a:gd name="connsiteY1" fmla="*/ 0 h 6450932"/>
              <a:gd name="connsiteX2" fmla="*/ 10888662 w 10999550"/>
              <a:gd name="connsiteY2" fmla="*/ 579722 h 6450932"/>
              <a:gd name="connsiteX3" fmla="*/ 10878151 w 10999550"/>
              <a:gd name="connsiteY3" fmla="*/ 6450932 h 6450932"/>
              <a:gd name="connsiteX4" fmla="*/ 579722 w 10999550"/>
              <a:gd name="connsiteY4" fmla="*/ 6442075 h 6450932"/>
              <a:gd name="connsiteX5" fmla="*/ 0 w 10999550"/>
              <a:gd name="connsiteY5" fmla="*/ 5862353 h 6450932"/>
              <a:gd name="connsiteX6" fmla="*/ 0 w 10999550"/>
              <a:gd name="connsiteY6" fmla="*/ 1653 h 6450932"/>
              <a:gd name="connsiteX0" fmla="*/ 0 w 11022020"/>
              <a:gd name="connsiteY0" fmla="*/ 1653 h 6450932"/>
              <a:gd name="connsiteX1" fmla="*/ 10876499 w 11022020"/>
              <a:gd name="connsiteY1" fmla="*/ 0 h 6450932"/>
              <a:gd name="connsiteX2" fmla="*/ 10888662 w 11022020"/>
              <a:gd name="connsiteY2" fmla="*/ 579722 h 6450932"/>
              <a:gd name="connsiteX3" fmla="*/ 10878151 w 11022020"/>
              <a:gd name="connsiteY3" fmla="*/ 6450932 h 6450932"/>
              <a:gd name="connsiteX4" fmla="*/ 579722 w 11022020"/>
              <a:gd name="connsiteY4" fmla="*/ 6442075 h 6450932"/>
              <a:gd name="connsiteX5" fmla="*/ 0 w 11022020"/>
              <a:gd name="connsiteY5" fmla="*/ 5862353 h 6450932"/>
              <a:gd name="connsiteX6" fmla="*/ 0 w 11022020"/>
              <a:gd name="connsiteY6" fmla="*/ 1653 h 6450932"/>
              <a:gd name="connsiteX0" fmla="*/ 0 w 10888662"/>
              <a:gd name="connsiteY0" fmla="*/ 1653 h 6450932"/>
              <a:gd name="connsiteX1" fmla="*/ 10876499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2200990"/>
              <a:gd name="connsiteY0" fmla="*/ 1653 h 6450932"/>
              <a:gd name="connsiteX1" fmla="*/ 10876499 w 12200990"/>
              <a:gd name="connsiteY1" fmla="*/ 0 h 6450932"/>
              <a:gd name="connsiteX2" fmla="*/ 10878151 w 12200990"/>
              <a:gd name="connsiteY2" fmla="*/ 6450932 h 6450932"/>
              <a:gd name="connsiteX3" fmla="*/ 579722 w 12200990"/>
              <a:gd name="connsiteY3" fmla="*/ 6442075 h 6450932"/>
              <a:gd name="connsiteX4" fmla="*/ 0 w 12200990"/>
              <a:gd name="connsiteY4" fmla="*/ 5862353 h 6450932"/>
              <a:gd name="connsiteX5" fmla="*/ 0 w 12200990"/>
              <a:gd name="connsiteY5" fmla="*/ 1653 h 6450932"/>
              <a:gd name="connsiteX0" fmla="*/ 0 w 11640630"/>
              <a:gd name="connsiteY0" fmla="*/ 1653 h 6450932"/>
              <a:gd name="connsiteX1" fmla="*/ 10876499 w 11640630"/>
              <a:gd name="connsiteY1" fmla="*/ 0 h 6450932"/>
              <a:gd name="connsiteX2" fmla="*/ 10878151 w 11640630"/>
              <a:gd name="connsiteY2" fmla="*/ 6450932 h 6450932"/>
              <a:gd name="connsiteX3" fmla="*/ 579722 w 11640630"/>
              <a:gd name="connsiteY3" fmla="*/ 6442075 h 6450932"/>
              <a:gd name="connsiteX4" fmla="*/ 0 w 11640630"/>
              <a:gd name="connsiteY4" fmla="*/ 5862353 h 6450932"/>
              <a:gd name="connsiteX5" fmla="*/ 0 w 11640630"/>
              <a:gd name="connsiteY5" fmla="*/ 1653 h 6450932"/>
              <a:gd name="connsiteX0" fmla="*/ 0 w 10878151"/>
              <a:gd name="connsiteY0" fmla="*/ 1653 h 6450932"/>
              <a:gd name="connsiteX1" fmla="*/ 10876499 w 10878151"/>
              <a:gd name="connsiteY1" fmla="*/ 0 h 6450932"/>
              <a:gd name="connsiteX2" fmla="*/ 10878151 w 10878151"/>
              <a:gd name="connsiteY2" fmla="*/ 6450932 h 6450932"/>
              <a:gd name="connsiteX3" fmla="*/ 579722 w 10878151"/>
              <a:gd name="connsiteY3" fmla="*/ 6442075 h 6450932"/>
              <a:gd name="connsiteX4" fmla="*/ 0 w 10878151"/>
              <a:gd name="connsiteY4" fmla="*/ 5862353 h 6450932"/>
              <a:gd name="connsiteX5" fmla="*/ 0 w 10878151"/>
              <a:gd name="connsiteY5" fmla="*/ 1653 h 6450932"/>
              <a:gd name="connsiteX0" fmla="*/ 0 w 11843451"/>
              <a:gd name="connsiteY0" fmla="*/ 1653 h 6450932"/>
              <a:gd name="connsiteX1" fmla="*/ 11843451 w 11843451"/>
              <a:gd name="connsiteY1" fmla="*/ 0 h 6450932"/>
              <a:gd name="connsiteX2" fmla="*/ 10878151 w 11843451"/>
              <a:gd name="connsiteY2" fmla="*/ 6450932 h 6450932"/>
              <a:gd name="connsiteX3" fmla="*/ 579722 w 11843451"/>
              <a:gd name="connsiteY3" fmla="*/ 6442075 h 6450932"/>
              <a:gd name="connsiteX4" fmla="*/ 0 w 11843451"/>
              <a:gd name="connsiteY4" fmla="*/ 5862353 h 6450932"/>
              <a:gd name="connsiteX5" fmla="*/ 0 w 11843451"/>
              <a:gd name="connsiteY5" fmla="*/ 1653 h 6450932"/>
              <a:gd name="connsiteX0" fmla="*/ 0 w 11855613"/>
              <a:gd name="connsiteY0" fmla="*/ 1653 h 6450932"/>
              <a:gd name="connsiteX1" fmla="*/ 11843451 w 11855613"/>
              <a:gd name="connsiteY1" fmla="*/ 0 h 6450932"/>
              <a:gd name="connsiteX2" fmla="*/ 11855613 w 11855613"/>
              <a:gd name="connsiteY2" fmla="*/ 6450932 h 6450932"/>
              <a:gd name="connsiteX3" fmla="*/ 579722 w 11855613"/>
              <a:gd name="connsiteY3" fmla="*/ 6442075 h 6450932"/>
              <a:gd name="connsiteX4" fmla="*/ 0 w 11855613"/>
              <a:gd name="connsiteY4" fmla="*/ 5862353 h 6450932"/>
              <a:gd name="connsiteX5" fmla="*/ 0 w 11855613"/>
              <a:gd name="connsiteY5" fmla="*/ 1653 h 6450932"/>
              <a:gd name="connsiteX0" fmla="*/ 0 w 11864472"/>
              <a:gd name="connsiteY0" fmla="*/ 1653 h 6450932"/>
              <a:gd name="connsiteX1" fmla="*/ 11864472 w 11864472"/>
              <a:gd name="connsiteY1" fmla="*/ 0 h 6450932"/>
              <a:gd name="connsiteX2" fmla="*/ 11855613 w 11864472"/>
              <a:gd name="connsiteY2" fmla="*/ 6450932 h 6450932"/>
              <a:gd name="connsiteX3" fmla="*/ 579722 w 11864472"/>
              <a:gd name="connsiteY3" fmla="*/ 6442075 h 6450932"/>
              <a:gd name="connsiteX4" fmla="*/ 0 w 11864472"/>
              <a:gd name="connsiteY4" fmla="*/ 5862353 h 6450932"/>
              <a:gd name="connsiteX5" fmla="*/ 0 w 11864472"/>
              <a:gd name="connsiteY5" fmla="*/ 1653 h 6450932"/>
              <a:gd name="connsiteX0" fmla="*/ 0 w 11864472"/>
              <a:gd name="connsiteY0" fmla="*/ 1653 h 6442075"/>
              <a:gd name="connsiteX1" fmla="*/ 11864472 w 11864472"/>
              <a:gd name="connsiteY1" fmla="*/ 0 h 6442075"/>
              <a:gd name="connsiteX2" fmla="*/ 11855613 w 11864472"/>
              <a:gd name="connsiteY2" fmla="*/ 6440421 h 6442075"/>
              <a:gd name="connsiteX3" fmla="*/ 579722 w 11864472"/>
              <a:gd name="connsiteY3" fmla="*/ 6442075 h 6442075"/>
              <a:gd name="connsiteX4" fmla="*/ 0 w 11864472"/>
              <a:gd name="connsiteY4" fmla="*/ 5862353 h 6442075"/>
              <a:gd name="connsiteX5" fmla="*/ 0 w 11864472"/>
              <a:gd name="connsiteY5" fmla="*/ 1653 h 6442075"/>
              <a:gd name="connsiteX0" fmla="*/ 0 w 11855613"/>
              <a:gd name="connsiteY0" fmla="*/ 1653 h 6442075"/>
              <a:gd name="connsiteX1" fmla="*/ 8912928 w 11855613"/>
              <a:gd name="connsiteY1" fmla="*/ 0 h 6442075"/>
              <a:gd name="connsiteX2" fmla="*/ 11855613 w 11855613"/>
              <a:gd name="connsiteY2" fmla="*/ 6440421 h 6442075"/>
              <a:gd name="connsiteX3" fmla="*/ 579722 w 11855613"/>
              <a:gd name="connsiteY3" fmla="*/ 6442075 h 6442075"/>
              <a:gd name="connsiteX4" fmla="*/ 0 w 11855613"/>
              <a:gd name="connsiteY4" fmla="*/ 5862353 h 6442075"/>
              <a:gd name="connsiteX5" fmla="*/ 0 w 11855613"/>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74032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36077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1615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15642"/>
              <a:gd name="connsiteY0" fmla="*/ 1653 h 6442075"/>
              <a:gd name="connsiteX1" fmla="*/ 8912928 w 8915642"/>
              <a:gd name="connsiteY1" fmla="*/ 0 h 6442075"/>
              <a:gd name="connsiteX2" fmla="*/ 8915642 w 8915642"/>
              <a:gd name="connsiteY2" fmla="*/ 6440421 h 6442075"/>
              <a:gd name="connsiteX3" fmla="*/ 579722 w 8915642"/>
              <a:gd name="connsiteY3" fmla="*/ 6442075 h 6442075"/>
              <a:gd name="connsiteX4" fmla="*/ 0 w 8915642"/>
              <a:gd name="connsiteY4" fmla="*/ 5862353 h 6442075"/>
              <a:gd name="connsiteX5" fmla="*/ 0 w 8915642"/>
              <a:gd name="connsiteY5" fmla="*/ 1653 h 6442075"/>
              <a:gd name="connsiteX0" fmla="*/ 0 w 8915642"/>
              <a:gd name="connsiteY0" fmla="*/ 1 h 6633463"/>
              <a:gd name="connsiteX1" fmla="*/ 8912928 w 8915642"/>
              <a:gd name="connsiteY1" fmla="*/ 191388 h 6633463"/>
              <a:gd name="connsiteX2" fmla="*/ 8915642 w 8915642"/>
              <a:gd name="connsiteY2" fmla="*/ 6631809 h 6633463"/>
              <a:gd name="connsiteX3" fmla="*/ 579722 w 8915642"/>
              <a:gd name="connsiteY3" fmla="*/ 6633463 h 6633463"/>
              <a:gd name="connsiteX4" fmla="*/ 0 w 8915642"/>
              <a:gd name="connsiteY4" fmla="*/ 6053741 h 6633463"/>
              <a:gd name="connsiteX5" fmla="*/ 0 w 8915642"/>
              <a:gd name="connsiteY5" fmla="*/ 1 h 6633463"/>
              <a:gd name="connsiteX0" fmla="*/ 0 w 8933278"/>
              <a:gd name="connsiteY0" fmla="*/ 1653 h 6635115"/>
              <a:gd name="connsiteX1" fmla="*/ 8933248 w 8933278"/>
              <a:gd name="connsiteY1" fmla="*/ 0 h 6635115"/>
              <a:gd name="connsiteX2" fmla="*/ 8915642 w 8933278"/>
              <a:gd name="connsiteY2" fmla="*/ 6633461 h 6635115"/>
              <a:gd name="connsiteX3" fmla="*/ 579722 w 8933278"/>
              <a:gd name="connsiteY3" fmla="*/ 6635115 h 6635115"/>
              <a:gd name="connsiteX4" fmla="*/ 0 w 8933278"/>
              <a:gd name="connsiteY4" fmla="*/ 6055393 h 6635115"/>
              <a:gd name="connsiteX5" fmla="*/ 0 w 8933278"/>
              <a:gd name="connsiteY5" fmla="*/ 1653 h 6635115"/>
              <a:gd name="connsiteX0" fmla="*/ 0 w 8933323"/>
              <a:gd name="connsiteY0" fmla="*/ 1653 h 6645336"/>
              <a:gd name="connsiteX1" fmla="*/ 8933248 w 8933323"/>
              <a:gd name="connsiteY1" fmla="*/ 0 h 6645336"/>
              <a:gd name="connsiteX2" fmla="*/ 8927517 w 8933323"/>
              <a:gd name="connsiteY2" fmla="*/ 6645336 h 6645336"/>
              <a:gd name="connsiteX3" fmla="*/ 579722 w 8933323"/>
              <a:gd name="connsiteY3" fmla="*/ 6635115 h 6645336"/>
              <a:gd name="connsiteX4" fmla="*/ 0 w 8933323"/>
              <a:gd name="connsiteY4" fmla="*/ 6055393 h 6645336"/>
              <a:gd name="connsiteX5" fmla="*/ 0 w 8933323"/>
              <a:gd name="connsiteY5" fmla="*/ 1653 h 6645336"/>
              <a:gd name="connsiteX0" fmla="*/ 0 w 8927517"/>
              <a:gd name="connsiteY0" fmla="*/ 1653 h 6645336"/>
              <a:gd name="connsiteX1" fmla="*/ 7971347 w 8927517"/>
              <a:gd name="connsiteY1" fmla="*/ 0 h 6645336"/>
              <a:gd name="connsiteX2" fmla="*/ 8927517 w 8927517"/>
              <a:gd name="connsiteY2" fmla="*/ 6645336 h 6645336"/>
              <a:gd name="connsiteX3" fmla="*/ 579722 w 8927517"/>
              <a:gd name="connsiteY3" fmla="*/ 6635115 h 6645336"/>
              <a:gd name="connsiteX4" fmla="*/ 0 w 8927517"/>
              <a:gd name="connsiteY4" fmla="*/ 6055393 h 6645336"/>
              <a:gd name="connsiteX5" fmla="*/ 0 w 8927517"/>
              <a:gd name="connsiteY5" fmla="*/ 1653 h 6645336"/>
              <a:gd name="connsiteX0" fmla="*/ 0 w 7971422"/>
              <a:gd name="connsiteY0" fmla="*/ 1653 h 6645336"/>
              <a:gd name="connsiteX1" fmla="*/ 7971347 w 7971422"/>
              <a:gd name="connsiteY1" fmla="*/ 0 h 6645336"/>
              <a:gd name="connsiteX2" fmla="*/ 7965616 w 7971422"/>
              <a:gd name="connsiteY2" fmla="*/ 6645336 h 6645336"/>
              <a:gd name="connsiteX3" fmla="*/ 579722 w 7971422"/>
              <a:gd name="connsiteY3" fmla="*/ 6635115 h 6645336"/>
              <a:gd name="connsiteX4" fmla="*/ 0 w 7971422"/>
              <a:gd name="connsiteY4" fmla="*/ 6055393 h 6645336"/>
              <a:gd name="connsiteX5" fmla="*/ 0 w 7971422"/>
              <a:gd name="connsiteY5" fmla="*/ 1653 h 6645336"/>
              <a:gd name="connsiteX0" fmla="*/ 0 w 7971422"/>
              <a:gd name="connsiteY0" fmla="*/ 1301816 h 6645336"/>
              <a:gd name="connsiteX1" fmla="*/ 7971347 w 7971422"/>
              <a:gd name="connsiteY1" fmla="*/ 0 h 6645336"/>
              <a:gd name="connsiteX2" fmla="*/ 7965616 w 7971422"/>
              <a:gd name="connsiteY2" fmla="*/ 6645336 h 6645336"/>
              <a:gd name="connsiteX3" fmla="*/ 579722 w 7971422"/>
              <a:gd name="connsiteY3" fmla="*/ 6635115 h 6645336"/>
              <a:gd name="connsiteX4" fmla="*/ 0 w 7971422"/>
              <a:gd name="connsiteY4" fmla="*/ 6055393 h 6645336"/>
              <a:gd name="connsiteX5" fmla="*/ 0 w 7971422"/>
              <a:gd name="connsiteY5" fmla="*/ 1301816 h 6645336"/>
              <a:gd name="connsiteX0" fmla="*/ 0 w 7965616"/>
              <a:gd name="connsiteY0" fmla="*/ 1653 h 5345173"/>
              <a:gd name="connsiteX1" fmla="*/ 7957060 w 7965616"/>
              <a:gd name="connsiteY1" fmla="*/ 0 h 5345173"/>
              <a:gd name="connsiteX2" fmla="*/ 7965616 w 7965616"/>
              <a:gd name="connsiteY2" fmla="*/ 5345173 h 5345173"/>
              <a:gd name="connsiteX3" fmla="*/ 579722 w 7965616"/>
              <a:gd name="connsiteY3" fmla="*/ 5334952 h 5345173"/>
              <a:gd name="connsiteX4" fmla="*/ 0 w 7965616"/>
              <a:gd name="connsiteY4" fmla="*/ 4755230 h 5345173"/>
              <a:gd name="connsiteX5" fmla="*/ 0 w 7965616"/>
              <a:gd name="connsiteY5" fmla="*/ 1653 h 5345173"/>
              <a:gd name="connsiteX0" fmla="*/ 0 w 7971422"/>
              <a:gd name="connsiteY0" fmla="*/ 1653 h 5345173"/>
              <a:gd name="connsiteX1" fmla="*/ 7971347 w 7971422"/>
              <a:gd name="connsiteY1" fmla="*/ 0 h 5345173"/>
              <a:gd name="connsiteX2" fmla="*/ 7965616 w 7971422"/>
              <a:gd name="connsiteY2" fmla="*/ 5345173 h 5345173"/>
              <a:gd name="connsiteX3" fmla="*/ 579722 w 7971422"/>
              <a:gd name="connsiteY3" fmla="*/ 5334952 h 5345173"/>
              <a:gd name="connsiteX4" fmla="*/ 0 w 7971422"/>
              <a:gd name="connsiteY4" fmla="*/ 4755230 h 5345173"/>
              <a:gd name="connsiteX5" fmla="*/ 0 w 7971422"/>
              <a:gd name="connsiteY5" fmla="*/ 1653 h 5345173"/>
              <a:gd name="connsiteX0" fmla="*/ 0 w 7988356"/>
              <a:gd name="connsiteY0" fmla="*/ 187920 h 5345173"/>
              <a:gd name="connsiteX1" fmla="*/ 7988281 w 7988356"/>
              <a:gd name="connsiteY1" fmla="*/ 0 h 5345173"/>
              <a:gd name="connsiteX2" fmla="*/ 7982550 w 7988356"/>
              <a:gd name="connsiteY2" fmla="*/ 5345173 h 5345173"/>
              <a:gd name="connsiteX3" fmla="*/ 596656 w 7988356"/>
              <a:gd name="connsiteY3" fmla="*/ 5334952 h 5345173"/>
              <a:gd name="connsiteX4" fmla="*/ 16934 w 7988356"/>
              <a:gd name="connsiteY4" fmla="*/ 4755230 h 5345173"/>
              <a:gd name="connsiteX5" fmla="*/ 0 w 7988356"/>
              <a:gd name="connsiteY5" fmla="*/ 187920 h 5345173"/>
              <a:gd name="connsiteX0" fmla="*/ 0 w 7988356"/>
              <a:gd name="connsiteY0" fmla="*/ 210145 h 5345173"/>
              <a:gd name="connsiteX1" fmla="*/ 7988281 w 7988356"/>
              <a:gd name="connsiteY1" fmla="*/ 0 h 5345173"/>
              <a:gd name="connsiteX2" fmla="*/ 7982550 w 7988356"/>
              <a:gd name="connsiteY2" fmla="*/ 5345173 h 5345173"/>
              <a:gd name="connsiteX3" fmla="*/ 596656 w 7988356"/>
              <a:gd name="connsiteY3" fmla="*/ 5334952 h 5345173"/>
              <a:gd name="connsiteX4" fmla="*/ 16934 w 7988356"/>
              <a:gd name="connsiteY4" fmla="*/ 4755230 h 5345173"/>
              <a:gd name="connsiteX5" fmla="*/ 0 w 7988356"/>
              <a:gd name="connsiteY5" fmla="*/ 210145 h 5345173"/>
              <a:gd name="connsiteX0" fmla="*/ 0 w 7988356"/>
              <a:gd name="connsiteY0" fmla="*/ 0 h 5135028"/>
              <a:gd name="connsiteX1" fmla="*/ 7988281 w 7988356"/>
              <a:gd name="connsiteY1" fmla="*/ 7569 h 5135028"/>
              <a:gd name="connsiteX2" fmla="*/ 7982550 w 7988356"/>
              <a:gd name="connsiteY2" fmla="*/ 5135028 h 5135028"/>
              <a:gd name="connsiteX3" fmla="*/ 596656 w 7988356"/>
              <a:gd name="connsiteY3" fmla="*/ 5124807 h 5135028"/>
              <a:gd name="connsiteX4" fmla="*/ 16934 w 7988356"/>
              <a:gd name="connsiteY4" fmla="*/ 4545085 h 5135028"/>
              <a:gd name="connsiteX5" fmla="*/ 0 w 7988356"/>
              <a:gd name="connsiteY5" fmla="*/ 0 h 51350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988356" h="5135028">
                <a:moveTo>
                  <a:pt x="0" y="0"/>
                </a:moveTo>
                <a:lnTo>
                  <a:pt x="7988281" y="7569"/>
                </a:lnTo>
                <a:cubicBezTo>
                  <a:pt x="7989186" y="2154376"/>
                  <a:pt x="7981645" y="2988221"/>
                  <a:pt x="7982550" y="5135028"/>
                </a:cubicBezTo>
                <a:lnTo>
                  <a:pt x="596656" y="5124807"/>
                </a:lnTo>
                <a:cubicBezTo>
                  <a:pt x="276484" y="5124807"/>
                  <a:pt x="16934" y="4865257"/>
                  <a:pt x="16934" y="4545085"/>
                </a:cubicBezTo>
                <a:cubicBezTo>
                  <a:pt x="11289" y="3022648"/>
                  <a:pt x="5645" y="1522437"/>
                  <a:pt x="0" y="0"/>
                </a:cubicBezTo>
                <a:close/>
              </a:path>
            </a:pathLst>
          </a:custGeom>
          <a:noFill/>
        </p:spPr>
        <p:txBody>
          <a:bodyPr>
            <a:normAutofit/>
          </a:bodyPr>
          <a:lstStyle>
            <a:lvl1pPr marL="0" indent="0">
              <a:buNone/>
              <a:defRPr sz="1400">
                <a:solidFill>
                  <a:schemeClr val="tx1"/>
                </a:solidFill>
              </a:defRPr>
            </a:lvl1pPr>
          </a:lstStyle>
          <a:p>
            <a:r>
              <a:rPr lang="en-JP"/>
              <a:t>Insert Photo</a:t>
            </a:r>
          </a:p>
        </p:txBody>
      </p:sp>
      <p:sp>
        <p:nvSpPr>
          <p:cNvPr id="7" name="Text Placeholder 6">
            <a:extLst>
              <a:ext uri="{FF2B5EF4-FFF2-40B4-BE49-F238E27FC236}">
                <a16:creationId xmlns:a16="http://schemas.microsoft.com/office/drawing/2014/main" id="{65925D82-457F-D84D-B8DF-D8ADFD7E71DF}"/>
              </a:ext>
            </a:extLst>
          </p:cNvPr>
          <p:cNvSpPr>
            <a:spLocks noGrp="1"/>
          </p:cNvSpPr>
          <p:nvPr>
            <p:ph type="body" sz="quarter" idx="14" hasCustomPrompt="1"/>
          </p:nvPr>
        </p:nvSpPr>
        <p:spPr>
          <a:xfrm>
            <a:off x="311150" y="3178298"/>
            <a:ext cx="3751966" cy="272786"/>
          </a:xfrm>
          <a:prstGeom prst="rect">
            <a:avLst/>
          </a:prstGeom>
        </p:spPr>
        <p:txBody>
          <a:bodyPr tIns="0" rIns="0" bIns="0" numCol="1">
            <a:noAutofit/>
          </a:bodyPr>
          <a:lstStyle>
            <a:lvl1pPr marL="0" indent="0">
              <a:lnSpc>
                <a:spcPct val="100000"/>
              </a:lnSpc>
              <a:spcBef>
                <a:spcPts val="0"/>
              </a:spcBef>
              <a:spcAft>
                <a:spcPts val="600"/>
              </a:spcAft>
              <a:buNone/>
              <a:defRPr sz="18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Secondary Title</a:t>
            </a:r>
          </a:p>
        </p:txBody>
      </p:sp>
      <p:sp>
        <p:nvSpPr>
          <p:cNvPr id="12" name="Text Placeholder 6">
            <a:extLst>
              <a:ext uri="{FF2B5EF4-FFF2-40B4-BE49-F238E27FC236}">
                <a16:creationId xmlns:a16="http://schemas.microsoft.com/office/drawing/2014/main" id="{FD2406EE-A554-5348-AE6D-4D8B343E6201}"/>
              </a:ext>
            </a:extLst>
          </p:cNvPr>
          <p:cNvSpPr>
            <a:spLocks noGrp="1"/>
          </p:cNvSpPr>
          <p:nvPr>
            <p:ph type="body" sz="quarter" idx="15" hasCustomPrompt="1"/>
          </p:nvPr>
        </p:nvSpPr>
        <p:spPr>
          <a:xfrm>
            <a:off x="311150" y="3575904"/>
            <a:ext cx="3751966" cy="2840771"/>
          </a:xfrm>
          <a:prstGeom prst="rect">
            <a:avLst/>
          </a:prstGeom>
        </p:spPr>
        <p:txBody>
          <a:bodyPr tIns="0" rIns="0" bIns="0" numCol="1">
            <a:noAutofit/>
          </a:bodyPr>
          <a:lstStyle>
            <a:lvl1pPr marL="171450" indent="-171450">
              <a:lnSpc>
                <a:spcPct val="100000"/>
              </a:lnSpc>
              <a:spcBef>
                <a:spcPts val="0"/>
              </a:spcBef>
              <a:spcAft>
                <a:spcPts val="600"/>
              </a:spcAft>
              <a:buFont typeface="Arial" panose="020B0604020202020204" pitchFamily="34" charset="0"/>
              <a:buChar char="•"/>
              <a:defRPr sz="1400" b="0">
                <a:solidFill>
                  <a:schemeClr val="tx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Secondary text. </a:t>
            </a:r>
          </a:p>
        </p:txBody>
      </p:sp>
      <p:sp>
        <p:nvSpPr>
          <p:cNvPr id="20" name="Footer Placeholder 8">
            <a:extLst>
              <a:ext uri="{FF2B5EF4-FFF2-40B4-BE49-F238E27FC236}">
                <a16:creationId xmlns:a16="http://schemas.microsoft.com/office/drawing/2014/main" id="{E4ACE247-6DA5-F044-A880-12BDFE14907B}"/>
              </a:ext>
            </a:extLst>
          </p:cNvPr>
          <p:cNvSpPr>
            <a:spLocks noGrp="1"/>
          </p:cNvSpPr>
          <p:nvPr>
            <p:ph type="ftr" sz="quarter" idx="3"/>
          </p:nvPr>
        </p:nvSpPr>
        <p:spPr>
          <a:xfrm>
            <a:off x="7766050" y="6523001"/>
            <a:ext cx="4114800" cy="196131"/>
          </a:xfrm>
          <a:prstGeom prst="rect">
            <a:avLst/>
          </a:prstGeom>
        </p:spPr>
        <p:txBody>
          <a:bodyPr vert="horz" lIns="91440" tIns="45720" rIns="0" bIns="45720" rtlCol="0" anchor="ctr"/>
          <a:lstStyle>
            <a:lvl1pPr algn="r">
              <a:defRPr sz="800" b="1" spc="100" baseline="0">
                <a:solidFill>
                  <a:schemeClr val="tx1"/>
                </a:solidFill>
              </a:defRPr>
            </a:lvl1pPr>
          </a:lstStyle>
          <a:p>
            <a:r>
              <a:rPr lang="en-JP"/>
              <a:t> </a:t>
            </a:r>
          </a:p>
        </p:txBody>
      </p:sp>
      <p:pic>
        <p:nvPicPr>
          <p:cNvPr id="14" name="Picture 13" descr="Takeda">
            <a:extLst>
              <a:ext uri="{FF2B5EF4-FFF2-40B4-BE49-F238E27FC236}">
                <a16:creationId xmlns:a16="http://schemas.microsoft.com/office/drawing/2014/main" id="{1397373C-4723-444D-99E3-0FBCAFDAD4F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46331" y="-1615"/>
            <a:ext cx="1696232" cy="940780"/>
          </a:xfrm>
          <a:prstGeom prst="rect">
            <a:avLst/>
          </a:prstGeom>
        </p:spPr>
      </p:pic>
      <p:sp>
        <p:nvSpPr>
          <p:cNvPr id="22" name="タイトル プレースホルダ 1">
            <a:extLst>
              <a:ext uri="{FF2B5EF4-FFF2-40B4-BE49-F238E27FC236}">
                <a16:creationId xmlns:a16="http://schemas.microsoft.com/office/drawing/2014/main" id="{1545CFCD-ABA6-1349-9917-1DDD2762CB59}"/>
              </a:ext>
            </a:extLst>
          </p:cNvPr>
          <p:cNvSpPr>
            <a:spLocks noGrp="1"/>
          </p:cNvSpPr>
          <p:nvPr>
            <p:ph type="title" hasCustomPrompt="1"/>
          </p:nvPr>
        </p:nvSpPr>
        <p:spPr>
          <a:xfrm>
            <a:off x="606078" y="161605"/>
            <a:ext cx="9940253" cy="685801"/>
          </a:xfrm>
          <a:prstGeom prst="rect">
            <a:avLst/>
          </a:prstGeom>
        </p:spPr>
        <p:txBody>
          <a:bodyPr vert="horz" lIns="0" tIns="0" rIns="0" bIns="0" rtlCol="0" anchor="ctr">
            <a:normAutofit/>
          </a:bodyPr>
          <a:lstStyle/>
          <a:p>
            <a:r>
              <a:rPr kumimoji="1" lang="en-US" altLang="ja-JP"/>
              <a:t>Click to add title</a:t>
            </a:r>
            <a:endParaRPr kumimoji="1" lang="ja-JP" altLang="en-US"/>
          </a:p>
        </p:txBody>
      </p:sp>
      <p:sp>
        <p:nvSpPr>
          <p:cNvPr id="21" name="Rectangle 20">
            <a:extLst>
              <a:ext uri="{FF2B5EF4-FFF2-40B4-BE49-F238E27FC236}">
                <a16:creationId xmlns:a16="http://schemas.microsoft.com/office/drawing/2014/main" id="{97730F84-B57E-C441-B81C-A0677388FA64}"/>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a:solidFill>
                <a:schemeClr val="accent1"/>
              </a:solidFill>
            </a:endParaRPr>
          </a:p>
        </p:txBody>
      </p:sp>
      <p:sp>
        <p:nvSpPr>
          <p:cNvPr id="25" name="スライド番号プレースホルダ 5">
            <a:extLst>
              <a:ext uri="{FF2B5EF4-FFF2-40B4-BE49-F238E27FC236}">
                <a16:creationId xmlns:a16="http://schemas.microsoft.com/office/drawing/2014/main" id="{78815F79-70B9-A343-88C1-1B41F15106A1}"/>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6" name="Text Placeholder 6">
            <a:extLst>
              <a:ext uri="{FF2B5EF4-FFF2-40B4-BE49-F238E27FC236}">
                <a16:creationId xmlns:a16="http://schemas.microsoft.com/office/drawing/2014/main" id="{6ACFB15D-3880-FB46-8B5A-E057FE4C9B56}"/>
              </a:ext>
            </a:extLst>
          </p:cNvPr>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Private and confidential. For internal use only.</a:t>
            </a:r>
          </a:p>
        </p:txBody>
      </p:sp>
      <p:sp>
        <p:nvSpPr>
          <p:cNvPr id="17" name="Text Placeholder 2">
            <a:extLst>
              <a:ext uri="{FF2B5EF4-FFF2-40B4-BE49-F238E27FC236}">
                <a16:creationId xmlns:a16="http://schemas.microsoft.com/office/drawing/2014/main" id="{EF3CD883-F623-E54C-A27A-38B7EB957052}"/>
              </a:ext>
            </a:extLst>
          </p:cNvPr>
          <p:cNvSpPr>
            <a:spLocks noGrp="1"/>
          </p:cNvSpPr>
          <p:nvPr>
            <p:ph type="body" sz="quarter" idx="20" hasCustomPrompt="1"/>
          </p:nvPr>
        </p:nvSpPr>
        <p:spPr>
          <a:xfrm>
            <a:off x="311151" y="1491373"/>
            <a:ext cx="3751965" cy="1464957"/>
          </a:xfrm>
        </p:spPr>
        <p:txBody>
          <a:bodyPr tIns="0" rIns="0" bIns="0" numCol="1" spcCol="126000">
            <a:noAutofit/>
          </a:bodyPr>
          <a:lstStyle>
            <a:lvl1pPr marL="0" indent="0">
              <a:lnSpc>
                <a:spcPct val="100000"/>
              </a:lnSpc>
              <a:spcBef>
                <a:spcPts val="0"/>
              </a:spcBef>
              <a:buNone/>
              <a:defRPr sz="1600" b="1"/>
            </a:lvl1pPr>
            <a:lvl2pPr marL="457068" indent="0">
              <a:buNone/>
              <a:defRPr sz="1800" b="1"/>
            </a:lvl2pPr>
            <a:lvl3pPr marL="914149" indent="0">
              <a:buNone/>
              <a:defRPr sz="1800" b="1"/>
            </a:lvl3pPr>
            <a:lvl4pPr marL="1371219" indent="0">
              <a:buNone/>
              <a:defRPr sz="1800" b="1"/>
            </a:lvl4pPr>
            <a:lvl5pPr marL="1828290" indent="0">
              <a:buNone/>
              <a:defRPr sz="1800" b="1"/>
            </a:lvl5pPr>
          </a:lstStyle>
          <a:p>
            <a:pPr lvl="0"/>
            <a:r>
              <a:rPr lang="en-US"/>
              <a:t>This is your Primary Text.</a:t>
            </a:r>
            <a:endParaRPr lang="en-JP"/>
          </a:p>
        </p:txBody>
      </p:sp>
      <p:sp>
        <p:nvSpPr>
          <p:cNvPr id="18" name="Text Placeholder 6">
            <a:extLst>
              <a:ext uri="{FF2B5EF4-FFF2-40B4-BE49-F238E27FC236}">
                <a16:creationId xmlns:a16="http://schemas.microsoft.com/office/drawing/2014/main" id="{B2D601E3-CC68-7845-AAF4-3AD141198B4E}"/>
              </a:ext>
            </a:extLst>
          </p:cNvPr>
          <p:cNvSpPr>
            <a:spLocks noGrp="1"/>
          </p:cNvSpPr>
          <p:nvPr>
            <p:ph type="body" sz="quarter" idx="21" hasCustomPrompt="1"/>
          </p:nvPr>
        </p:nvSpPr>
        <p:spPr>
          <a:xfrm>
            <a:off x="311150" y="1093767"/>
            <a:ext cx="3751965" cy="272786"/>
          </a:xfrm>
        </p:spPr>
        <p:txBody>
          <a:bodyPr tIns="0" rIns="0" bIns="0" numCol="1">
            <a:noAutofit/>
          </a:bodyPr>
          <a:lstStyle>
            <a:lvl1pPr marL="0" indent="0">
              <a:lnSpc>
                <a:spcPct val="100000"/>
              </a:lnSpc>
              <a:spcBef>
                <a:spcPts val="0"/>
              </a:spcBef>
              <a:spcAft>
                <a:spcPts val="600"/>
              </a:spcAft>
              <a:buNone/>
              <a:defRPr sz="20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Primary Title</a:t>
            </a:r>
          </a:p>
        </p:txBody>
      </p:sp>
    </p:spTree>
    <p:extLst>
      <p:ext uri="{BB962C8B-B14F-4D97-AF65-F5344CB8AC3E}">
        <p14:creationId xmlns:p14="http://schemas.microsoft.com/office/powerpoint/2010/main" val="2962093690"/>
      </p:ext>
    </p:extLst>
  </p:cSld>
  <p:clrMapOvr>
    <a:masterClrMapping/>
  </p:clrMapOvr>
  <p:transition spd="slow">
    <p:push dir="u"/>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Advanced 1/2 Image (Full Bleed)">
    <p:spTree>
      <p:nvGrpSpPr>
        <p:cNvPr id="1" name=""/>
        <p:cNvGrpSpPr/>
        <p:nvPr/>
      </p:nvGrpSpPr>
      <p:grpSpPr>
        <a:xfrm>
          <a:off x="0" y="0"/>
          <a:ext cx="0" cy="0"/>
          <a:chOff x="0" y="0"/>
          <a:chExt cx="0" cy="0"/>
        </a:xfrm>
      </p:grpSpPr>
      <p:sp>
        <p:nvSpPr>
          <p:cNvPr id="13" name="Picture Placeholder 9">
            <a:extLst>
              <a:ext uri="{FF2B5EF4-FFF2-40B4-BE49-F238E27FC236}">
                <a16:creationId xmlns:a16="http://schemas.microsoft.com/office/drawing/2014/main" id="{DA0F537B-2380-C640-8119-936AD7786464}"/>
              </a:ext>
            </a:extLst>
          </p:cNvPr>
          <p:cNvSpPr>
            <a:spLocks noGrp="1"/>
          </p:cNvSpPr>
          <p:nvPr>
            <p:ph type="pic" sz="quarter" idx="18" hasCustomPrompt="1"/>
          </p:nvPr>
        </p:nvSpPr>
        <p:spPr>
          <a:xfrm>
            <a:off x="6185454" y="-5494"/>
            <a:ext cx="6024384" cy="6863494"/>
          </a:xfrm>
          <a:custGeom>
            <a:avLst/>
            <a:gdLst>
              <a:gd name="connsiteX0" fmla="*/ 0 w 10888662"/>
              <a:gd name="connsiteY0" fmla="*/ 579722 h 6442075"/>
              <a:gd name="connsiteX1" fmla="*/ 579722 w 10888662"/>
              <a:gd name="connsiteY1" fmla="*/ 0 h 6442075"/>
              <a:gd name="connsiteX2" fmla="*/ 10308940 w 10888662"/>
              <a:gd name="connsiteY2" fmla="*/ 0 h 6442075"/>
              <a:gd name="connsiteX3" fmla="*/ 10888662 w 10888662"/>
              <a:gd name="connsiteY3" fmla="*/ 579722 h 6442075"/>
              <a:gd name="connsiteX4" fmla="*/ 10888662 w 10888662"/>
              <a:gd name="connsiteY4" fmla="*/ 5862353 h 6442075"/>
              <a:gd name="connsiteX5" fmla="*/ 10308940 w 10888662"/>
              <a:gd name="connsiteY5" fmla="*/ 6442075 h 6442075"/>
              <a:gd name="connsiteX6" fmla="*/ 579722 w 10888662"/>
              <a:gd name="connsiteY6" fmla="*/ 6442075 h 6442075"/>
              <a:gd name="connsiteX7" fmla="*/ 0 w 10888662"/>
              <a:gd name="connsiteY7" fmla="*/ 5862353 h 6442075"/>
              <a:gd name="connsiteX8" fmla="*/ 0 w 10888662"/>
              <a:gd name="connsiteY8" fmla="*/ 579722 h 6442075"/>
              <a:gd name="connsiteX0" fmla="*/ 0 w 10888662"/>
              <a:gd name="connsiteY0" fmla="*/ 659657 h 6522010"/>
              <a:gd name="connsiteX1" fmla="*/ 10308940 w 10888662"/>
              <a:gd name="connsiteY1" fmla="*/ 79935 h 6522010"/>
              <a:gd name="connsiteX2" fmla="*/ 10888662 w 10888662"/>
              <a:gd name="connsiteY2" fmla="*/ 659657 h 6522010"/>
              <a:gd name="connsiteX3" fmla="*/ 10888662 w 10888662"/>
              <a:gd name="connsiteY3" fmla="*/ 5942288 h 6522010"/>
              <a:gd name="connsiteX4" fmla="*/ 10308940 w 10888662"/>
              <a:gd name="connsiteY4" fmla="*/ 6522010 h 6522010"/>
              <a:gd name="connsiteX5" fmla="*/ 579722 w 10888662"/>
              <a:gd name="connsiteY5" fmla="*/ 6522010 h 6522010"/>
              <a:gd name="connsiteX6" fmla="*/ 0 w 10888662"/>
              <a:gd name="connsiteY6" fmla="*/ 5942288 h 6522010"/>
              <a:gd name="connsiteX7" fmla="*/ 0 w 10888662"/>
              <a:gd name="connsiteY7" fmla="*/ 659657 h 6522010"/>
              <a:gd name="connsiteX0" fmla="*/ 0 w 10888662"/>
              <a:gd name="connsiteY0" fmla="*/ 579722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579722 h 6442075"/>
              <a:gd name="connsiteX0" fmla="*/ 0 w 10888662"/>
              <a:gd name="connsiteY0" fmla="*/ 129257 h 6569679"/>
              <a:gd name="connsiteX1" fmla="*/ 10308940 w 10888662"/>
              <a:gd name="connsiteY1" fmla="*/ 127604 h 6569679"/>
              <a:gd name="connsiteX2" fmla="*/ 10888662 w 10888662"/>
              <a:gd name="connsiteY2" fmla="*/ 707326 h 6569679"/>
              <a:gd name="connsiteX3" fmla="*/ 10888662 w 10888662"/>
              <a:gd name="connsiteY3" fmla="*/ 5989957 h 6569679"/>
              <a:gd name="connsiteX4" fmla="*/ 10308940 w 10888662"/>
              <a:gd name="connsiteY4" fmla="*/ 6569679 h 6569679"/>
              <a:gd name="connsiteX5" fmla="*/ 579722 w 10888662"/>
              <a:gd name="connsiteY5" fmla="*/ 6569679 h 6569679"/>
              <a:gd name="connsiteX6" fmla="*/ 0 w 10888662"/>
              <a:gd name="connsiteY6" fmla="*/ 5989957 h 6569679"/>
              <a:gd name="connsiteX7" fmla="*/ 0 w 10888662"/>
              <a:gd name="connsiteY7" fmla="*/ 129257 h 6569679"/>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9657299 w 10888662"/>
              <a:gd name="connsiteY4" fmla="*/ 55276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522010"/>
              <a:gd name="connsiteX1" fmla="*/ 10308940 w 10888662"/>
              <a:gd name="connsiteY1" fmla="*/ 0 h 6522010"/>
              <a:gd name="connsiteX2" fmla="*/ 10888662 w 10888662"/>
              <a:gd name="connsiteY2" fmla="*/ 579722 h 6522010"/>
              <a:gd name="connsiteX3" fmla="*/ 10888662 w 10888662"/>
              <a:gd name="connsiteY3" fmla="*/ 5862353 h 6522010"/>
              <a:gd name="connsiteX4" fmla="*/ 579722 w 10888662"/>
              <a:gd name="connsiteY4" fmla="*/ 6442075 h 6522010"/>
              <a:gd name="connsiteX5" fmla="*/ 0 w 10888662"/>
              <a:gd name="connsiteY5" fmla="*/ 5862353 h 6522010"/>
              <a:gd name="connsiteX6" fmla="*/ 0 w 10888662"/>
              <a:gd name="connsiteY6" fmla="*/ 1653 h 6522010"/>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579722 w 10888662"/>
              <a:gd name="connsiteY4" fmla="*/ 6442075 h 6442075"/>
              <a:gd name="connsiteX5" fmla="*/ 0 w 10888662"/>
              <a:gd name="connsiteY5" fmla="*/ 5862353 h 6442075"/>
              <a:gd name="connsiteX6" fmla="*/ 0 w 10888662"/>
              <a:gd name="connsiteY6" fmla="*/ 1653 h 6442075"/>
              <a:gd name="connsiteX0" fmla="*/ 0 w 10888662"/>
              <a:gd name="connsiteY0" fmla="*/ 1653 h 6585432"/>
              <a:gd name="connsiteX1" fmla="*/ 10308940 w 10888662"/>
              <a:gd name="connsiteY1" fmla="*/ 0 h 6585432"/>
              <a:gd name="connsiteX2" fmla="*/ 10888662 w 10888662"/>
              <a:gd name="connsiteY2" fmla="*/ 579722 h 6585432"/>
              <a:gd name="connsiteX3" fmla="*/ 10878151 w 10888662"/>
              <a:gd name="connsiteY3" fmla="*/ 6461442 h 6585432"/>
              <a:gd name="connsiteX4" fmla="*/ 579722 w 10888662"/>
              <a:gd name="connsiteY4" fmla="*/ 6442075 h 6585432"/>
              <a:gd name="connsiteX5" fmla="*/ 0 w 10888662"/>
              <a:gd name="connsiteY5" fmla="*/ 5862353 h 6585432"/>
              <a:gd name="connsiteX6" fmla="*/ 0 w 10888662"/>
              <a:gd name="connsiteY6" fmla="*/ 1653 h 6585432"/>
              <a:gd name="connsiteX0" fmla="*/ 0 w 10888662"/>
              <a:gd name="connsiteY0" fmla="*/ 1653 h 6577502"/>
              <a:gd name="connsiteX1" fmla="*/ 10308940 w 10888662"/>
              <a:gd name="connsiteY1" fmla="*/ 0 h 6577502"/>
              <a:gd name="connsiteX2" fmla="*/ 10888662 w 10888662"/>
              <a:gd name="connsiteY2" fmla="*/ 579722 h 6577502"/>
              <a:gd name="connsiteX3" fmla="*/ 10878151 w 10888662"/>
              <a:gd name="connsiteY3" fmla="*/ 6450932 h 6577502"/>
              <a:gd name="connsiteX4" fmla="*/ 579722 w 10888662"/>
              <a:gd name="connsiteY4" fmla="*/ 6442075 h 6577502"/>
              <a:gd name="connsiteX5" fmla="*/ 0 w 10888662"/>
              <a:gd name="connsiteY5" fmla="*/ 5862353 h 6577502"/>
              <a:gd name="connsiteX6" fmla="*/ 0 w 10888662"/>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0888662"/>
              <a:gd name="connsiteY0" fmla="*/ 1653 h 6450932"/>
              <a:gd name="connsiteX1" fmla="*/ 10308940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0999550"/>
              <a:gd name="connsiteY0" fmla="*/ 1653 h 6450932"/>
              <a:gd name="connsiteX1" fmla="*/ 10844968 w 10999550"/>
              <a:gd name="connsiteY1" fmla="*/ 0 h 6450932"/>
              <a:gd name="connsiteX2" fmla="*/ 10888662 w 10999550"/>
              <a:gd name="connsiteY2" fmla="*/ 579722 h 6450932"/>
              <a:gd name="connsiteX3" fmla="*/ 10878151 w 10999550"/>
              <a:gd name="connsiteY3" fmla="*/ 6450932 h 6450932"/>
              <a:gd name="connsiteX4" fmla="*/ 579722 w 10999550"/>
              <a:gd name="connsiteY4" fmla="*/ 6442075 h 6450932"/>
              <a:gd name="connsiteX5" fmla="*/ 0 w 10999550"/>
              <a:gd name="connsiteY5" fmla="*/ 5862353 h 6450932"/>
              <a:gd name="connsiteX6" fmla="*/ 0 w 10999550"/>
              <a:gd name="connsiteY6" fmla="*/ 1653 h 6450932"/>
              <a:gd name="connsiteX0" fmla="*/ 0 w 11022020"/>
              <a:gd name="connsiteY0" fmla="*/ 1653 h 6450932"/>
              <a:gd name="connsiteX1" fmla="*/ 10876499 w 11022020"/>
              <a:gd name="connsiteY1" fmla="*/ 0 h 6450932"/>
              <a:gd name="connsiteX2" fmla="*/ 10888662 w 11022020"/>
              <a:gd name="connsiteY2" fmla="*/ 579722 h 6450932"/>
              <a:gd name="connsiteX3" fmla="*/ 10878151 w 11022020"/>
              <a:gd name="connsiteY3" fmla="*/ 6450932 h 6450932"/>
              <a:gd name="connsiteX4" fmla="*/ 579722 w 11022020"/>
              <a:gd name="connsiteY4" fmla="*/ 6442075 h 6450932"/>
              <a:gd name="connsiteX5" fmla="*/ 0 w 11022020"/>
              <a:gd name="connsiteY5" fmla="*/ 5862353 h 6450932"/>
              <a:gd name="connsiteX6" fmla="*/ 0 w 11022020"/>
              <a:gd name="connsiteY6" fmla="*/ 1653 h 6450932"/>
              <a:gd name="connsiteX0" fmla="*/ 0 w 10888662"/>
              <a:gd name="connsiteY0" fmla="*/ 1653 h 6450932"/>
              <a:gd name="connsiteX1" fmla="*/ 10876499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2200990"/>
              <a:gd name="connsiteY0" fmla="*/ 1653 h 6450932"/>
              <a:gd name="connsiteX1" fmla="*/ 10876499 w 12200990"/>
              <a:gd name="connsiteY1" fmla="*/ 0 h 6450932"/>
              <a:gd name="connsiteX2" fmla="*/ 10878151 w 12200990"/>
              <a:gd name="connsiteY2" fmla="*/ 6450932 h 6450932"/>
              <a:gd name="connsiteX3" fmla="*/ 579722 w 12200990"/>
              <a:gd name="connsiteY3" fmla="*/ 6442075 h 6450932"/>
              <a:gd name="connsiteX4" fmla="*/ 0 w 12200990"/>
              <a:gd name="connsiteY4" fmla="*/ 5862353 h 6450932"/>
              <a:gd name="connsiteX5" fmla="*/ 0 w 12200990"/>
              <a:gd name="connsiteY5" fmla="*/ 1653 h 6450932"/>
              <a:gd name="connsiteX0" fmla="*/ 0 w 11640630"/>
              <a:gd name="connsiteY0" fmla="*/ 1653 h 6450932"/>
              <a:gd name="connsiteX1" fmla="*/ 10876499 w 11640630"/>
              <a:gd name="connsiteY1" fmla="*/ 0 h 6450932"/>
              <a:gd name="connsiteX2" fmla="*/ 10878151 w 11640630"/>
              <a:gd name="connsiteY2" fmla="*/ 6450932 h 6450932"/>
              <a:gd name="connsiteX3" fmla="*/ 579722 w 11640630"/>
              <a:gd name="connsiteY3" fmla="*/ 6442075 h 6450932"/>
              <a:gd name="connsiteX4" fmla="*/ 0 w 11640630"/>
              <a:gd name="connsiteY4" fmla="*/ 5862353 h 6450932"/>
              <a:gd name="connsiteX5" fmla="*/ 0 w 11640630"/>
              <a:gd name="connsiteY5" fmla="*/ 1653 h 6450932"/>
              <a:gd name="connsiteX0" fmla="*/ 0 w 10878151"/>
              <a:gd name="connsiteY0" fmla="*/ 1653 h 6450932"/>
              <a:gd name="connsiteX1" fmla="*/ 10876499 w 10878151"/>
              <a:gd name="connsiteY1" fmla="*/ 0 h 6450932"/>
              <a:gd name="connsiteX2" fmla="*/ 10878151 w 10878151"/>
              <a:gd name="connsiteY2" fmla="*/ 6450932 h 6450932"/>
              <a:gd name="connsiteX3" fmla="*/ 579722 w 10878151"/>
              <a:gd name="connsiteY3" fmla="*/ 6442075 h 6450932"/>
              <a:gd name="connsiteX4" fmla="*/ 0 w 10878151"/>
              <a:gd name="connsiteY4" fmla="*/ 5862353 h 6450932"/>
              <a:gd name="connsiteX5" fmla="*/ 0 w 10878151"/>
              <a:gd name="connsiteY5" fmla="*/ 1653 h 6450932"/>
              <a:gd name="connsiteX0" fmla="*/ 0 w 11843451"/>
              <a:gd name="connsiteY0" fmla="*/ 1653 h 6450932"/>
              <a:gd name="connsiteX1" fmla="*/ 11843451 w 11843451"/>
              <a:gd name="connsiteY1" fmla="*/ 0 h 6450932"/>
              <a:gd name="connsiteX2" fmla="*/ 10878151 w 11843451"/>
              <a:gd name="connsiteY2" fmla="*/ 6450932 h 6450932"/>
              <a:gd name="connsiteX3" fmla="*/ 579722 w 11843451"/>
              <a:gd name="connsiteY3" fmla="*/ 6442075 h 6450932"/>
              <a:gd name="connsiteX4" fmla="*/ 0 w 11843451"/>
              <a:gd name="connsiteY4" fmla="*/ 5862353 h 6450932"/>
              <a:gd name="connsiteX5" fmla="*/ 0 w 11843451"/>
              <a:gd name="connsiteY5" fmla="*/ 1653 h 6450932"/>
              <a:gd name="connsiteX0" fmla="*/ 0 w 11855613"/>
              <a:gd name="connsiteY0" fmla="*/ 1653 h 6450932"/>
              <a:gd name="connsiteX1" fmla="*/ 11843451 w 11855613"/>
              <a:gd name="connsiteY1" fmla="*/ 0 h 6450932"/>
              <a:gd name="connsiteX2" fmla="*/ 11855613 w 11855613"/>
              <a:gd name="connsiteY2" fmla="*/ 6450932 h 6450932"/>
              <a:gd name="connsiteX3" fmla="*/ 579722 w 11855613"/>
              <a:gd name="connsiteY3" fmla="*/ 6442075 h 6450932"/>
              <a:gd name="connsiteX4" fmla="*/ 0 w 11855613"/>
              <a:gd name="connsiteY4" fmla="*/ 5862353 h 6450932"/>
              <a:gd name="connsiteX5" fmla="*/ 0 w 11855613"/>
              <a:gd name="connsiteY5" fmla="*/ 1653 h 6450932"/>
              <a:gd name="connsiteX0" fmla="*/ 0 w 11864472"/>
              <a:gd name="connsiteY0" fmla="*/ 1653 h 6450932"/>
              <a:gd name="connsiteX1" fmla="*/ 11864472 w 11864472"/>
              <a:gd name="connsiteY1" fmla="*/ 0 h 6450932"/>
              <a:gd name="connsiteX2" fmla="*/ 11855613 w 11864472"/>
              <a:gd name="connsiteY2" fmla="*/ 6450932 h 6450932"/>
              <a:gd name="connsiteX3" fmla="*/ 579722 w 11864472"/>
              <a:gd name="connsiteY3" fmla="*/ 6442075 h 6450932"/>
              <a:gd name="connsiteX4" fmla="*/ 0 w 11864472"/>
              <a:gd name="connsiteY4" fmla="*/ 5862353 h 6450932"/>
              <a:gd name="connsiteX5" fmla="*/ 0 w 11864472"/>
              <a:gd name="connsiteY5" fmla="*/ 1653 h 6450932"/>
              <a:gd name="connsiteX0" fmla="*/ 0 w 11864472"/>
              <a:gd name="connsiteY0" fmla="*/ 1653 h 6442075"/>
              <a:gd name="connsiteX1" fmla="*/ 11864472 w 11864472"/>
              <a:gd name="connsiteY1" fmla="*/ 0 h 6442075"/>
              <a:gd name="connsiteX2" fmla="*/ 11855613 w 11864472"/>
              <a:gd name="connsiteY2" fmla="*/ 6440421 h 6442075"/>
              <a:gd name="connsiteX3" fmla="*/ 579722 w 11864472"/>
              <a:gd name="connsiteY3" fmla="*/ 6442075 h 6442075"/>
              <a:gd name="connsiteX4" fmla="*/ 0 w 11864472"/>
              <a:gd name="connsiteY4" fmla="*/ 5862353 h 6442075"/>
              <a:gd name="connsiteX5" fmla="*/ 0 w 11864472"/>
              <a:gd name="connsiteY5" fmla="*/ 1653 h 6442075"/>
              <a:gd name="connsiteX0" fmla="*/ 0 w 11855613"/>
              <a:gd name="connsiteY0" fmla="*/ 1653 h 6442075"/>
              <a:gd name="connsiteX1" fmla="*/ 8912928 w 11855613"/>
              <a:gd name="connsiteY1" fmla="*/ 0 h 6442075"/>
              <a:gd name="connsiteX2" fmla="*/ 11855613 w 11855613"/>
              <a:gd name="connsiteY2" fmla="*/ 6440421 h 6442075"/>
              <a:gd name="connsiteX3" fmla="*/ 579722 w 11855613"/>
              <a:gd name="connsiteY3" fmla="*/ 6442075 h 6442075"/>
              <a:gd name="connsiteX4" fmla="*/ 0 w 11855613"/>
              <a:gd name="connsiteY4" fmla="*/ 5862353 h 6442075"/>
              <a:gd name="connsiteX5" fmla="*/ 0 w 11855613"/>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74032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36077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1615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15642"/>
              <a:gd name="connsiteY0" fmla="*/ 1653 h 6442075"/>
              <a:gd name="connsiteX1" fmla="*/ 8912928 w 8915642"/>
              <a:gd name="connsiteY1" fmla="*/ 0 h 6442075"/>
              <a:gd name="connsiteX2" fmla="*/ 8915642 w 8915642"/>
              <a:gd name="connsiteY2" fmla="*/ 6440421 h 6442075"/>
              <a:gd name="connsiteX3" fmla="*/ 579722 w 8915642"/>
              <a:gd name="connsiteY3" fmla="*/ 6442075 h 6442075"/>
              <a:gd name="connsiteX4" fmla="*/ 0 w 8915642"/>
              <a:gd name="connsiteY4" fmla="*/ 5862353 h 6442075"/>
              <a:gd name="connsiteX5" fmla="*/ 0 w 8915642"/>
              <a:gd name="connsiteY5" fmla="*/ 1653 h 6442075"/>
              <a:gd name="connsiteX0" fmla="*/ 0 w 8915642"/>
              <a:gd name="connsiteY0" fmla="*/ 1 h 6633463"/>
              <a:gd name="connsiteX1" fmla="*/ 8912928 w 8915642"/>
              <a:gd name="connsiteY1" fmla="*/ 191388 h 6633463"/>
              <a:gd name="connsiteX2" fmla="*/ 8915642 w 8915642"/>
              <a:gd name="connsiteY2" fmla="*/ 6631809 h 6633463"/>
              <a:gd name="connsiteX3" fmla="*/ 579722 w 8915642"/>
              <a:gd name="connsiteY3" fmla="*/ 6633463 h 6633463"/>
              <a:gd name="connsiteX4" fmla="*/ 0 w 8915642"/>
              <a:gd name="connsiteY4" fmla="*/ 6053741 h 6633463"/>
              <a:gd name="connsiteX5" fmla="*/ 0 w 8915642"/>
              <a:gd name="connsiteY5" fmla="*/ 1 h 6633463"/>
              <a:gd name="connsiteX0" fmla="*/ 0 w 8933278"/>
              <a:gd name="connsiteY0" fmla="*/ 1653 h 6635115"/>
              <a:gd name="connsiteX1" fmla="*/ 8933248 w 8933278"/>
              <a:gd name="connsiteY1" fmla="*/ 0 h 6635115"/>
              <a:gd name="connsiteX2" fmla="*/ 8915642 w 8933278"/>
              <a:gd name="connsiteY2" fmla="*/ 6633461 h 6635115"/>
              <a:gd name="connsiteX3" fmla="*/ 579722 w 8933278"/>
              <a:gd name="connsiteY3" fmla="*/ 6635115 h 6635115"/>
              <a:gd name="connsiteX4" fmla="*/ 0 w 8933278"/>
              <a:gd name="connsiteY4" fmla="*/ 6055393 h 6635115"/>
              <a:gd name="connsiteX5" fmla="*/ 0 w 8933278"/>
              <a:gd name="connsiteY5" fmla="*/ 1653 h 6635115"/>
              <a:gd name="connsiteX0" fmla="*/ 0 w 8933323"/>
              <a:gd name="connsiteY0" fmla="*/ 1653 h 6645336"/>
              <a:gd name="connsiteX1" fmla="*/ 8933248 w 8933323"/>
              <a:gd name="connsiteY1" fmla="*/ 0 h 6645336"/>
              <a:gd name="connsiteX2" fmla="*/ 8927517 w 8933323"/>
              <a:gd name="connsiteY2" fmla="*/ 6645336 h 6645336"/>
              <a:gd name="connsiteX3" fmla="*/ 579722 w 8933323"/>
              <a:gd name="connsiteY3" fmla="*/ 6635115 h 6645336"/>
              <a:gd name="connsiteX4" fmla="*/ 0 w 8933323"/>
              <a:gd name="connsiteY4" fmla="*/ 6055393 h 6645336"/>
              <a:gd name="connsiteX5" fmla="*/ 0 w 8933323"/>
              <a:gd name="connsiteY5" fmla="*/ 1653 h 6645336"/>
              <a:gd name="connsiteX0" fmla="*/ 0 w 8927517"/>
              <a:gd name="connsiteY0" fmla="*/ 1653 h 6645336"/>
              <a:gd name="connsiteX1" fmla="*/ 7971347 w 8927517"/>
              <a:gd name="connsiteY1" fmla="*/ 0 h 6645336"/>
              <a:gd name="connsiteX2" fmla="*/ 8927517 w 8927517"/>
              <a:gd name="connsiteY2" fmla="*/ 6645336 h 6645336"/>
              <a:gd name="connsiteX3" fmla="*/ 579722 w 8927517"/>
              <a:gd name="connsiteY3" fmla="*/ 6635115 h 6645336"/>
              <a:gd name="connsiteX4" fmla="*/ 0 w 8927517"/>
              <a:gd name="connsiteY4" fmla="*/ 6055393 h 6645336"/>
              <a:gd name="connsiteX5" fmla="*/ 0 w 8927517"/>
              <a:gd name="connsiteY5" fmla="*/ 1653 h 6645336"/>
              <a:gd name="connsiteX0" fmla="*/ 0 w 7971422"/>
              <a:gd name="connsiteY0" fmla="*/ 1653 h 6645336"/>
              <a:gd name="connsiteX1" fmla="*/ 7971347 w 7971422"/>
              <a:gd name="connsiteY1" fmla="*/ 0 h 6645336"/>
              <a:gd name="connsiteX2" fmla="*/ 7965616 w 7971422"/>
              <a:gd name="connsiteY2" fmla="*/ 6645336 h 6645336"/>
              <a:gd name="connsiteX3" fmla="*/ 579722 w 7971422"/>
              <a:gd name="connsiteY3" fmla="*/ 6635115 h 6645336"/>
              <a:gd name="connsiteX4" fmla="*/ 0 w 7971422"/>
              <a:gd name="connsiteY4" fmla="*/ 6055393 h 6645336"/>
              <a:gd name="connsiteX5" fmla="*/ 0 w 7971422"/>
              <a:gd name="connsiteY5" fmla="*/ 1653 h 6645336"/>
              <a:gd name="connsiteX0" fmla="*/ 0 w 7971422"/>
              <a:gd name="connsiteY0" fmla="*/ 1301816 h 6645336"/>
              <a:gd name="connsiteX1" fmla="*/ 7971347 w 7971422"/>
              <a:gd name="connsiteY1" fmla="*/ 0 h 6645336"/>
              <a:gd name="connsiteX2" fmla="*/ 7965616 w 7971422"/>
              <a:gd name="connsiteY2" fmla="*/ 6645336 h 6645336"/>
              <a:gd name="connsiteX3" fmla="*/ 579722 w 7971422"/>
              <a:gd name="connsiteY3" fmla="*/ 6635115 h 6645336"/>
              <a:gd name="connsiteX4" fmla="*/ 0 w 7971422"/>
              <a:gd name="connsiteY4" fmla="*/ 6055393 h 6645336"/>
              <a:gd name="connsiteX5" fmla="*/ 0 w 7971422"/>
              <a:gd name="connsiteY5" fmla="*/ 1301816 h 6645336"/>
              <a:gd name="connsiteX0" fmla="*/ 0 w 7965616"/>
              <a:gd name="connsiteY0" fmla="*/ 1653 h 5345173"/>
              <a:gd name="connsiteX1" fmla="*/ 7957060 w 7965616"/>
              <a:gd name="connsiteY1" fmla="*/ 0 h 5345173"/>
              <a:gd name="connsiteX2" fmla="*/ 7965616 w 7965616"/>
              <a:gd name="connsiteY2" fmla="*/ 5345173 h 5345173"/>
              <a:gd name="connsiteX3" fmla="*/ 579722 w 7965616"/>
              <a:gd name="connsiteY3" fmla="*/ 5334952 h 5345173"/>
              <a:gd name="connsiteX4" fmla="*/ 0 w 7965616"/>
              <a:gd name="connsiteY4" fmla="*/ 4755230 h 5345173"/>
              <a:gd name="connsiteX5" fmla="*/ 0 w 7965616"/>
              <a:gd name="connsiteY5" fmla="*/ 1653 h 5345173"/>
              <a:gd name="connsiteX0" fmla="*/ 0 w 7971422"/>
              <a:gd name="connsiteY0" fmla="*/ 1653 h 5345173"/>
              <a:gd name="connsiteX1" fmla="*/ 7971347 w 7971422"/>
              <a:gd name="connsiteY1" fmla="*/ 0 h 5345173"/>
              <a:gd name="connsiteX2" fmla="*/ 7965616 w 7971422"/>
              <a:gd name="connsiteY2" fmla="*/ 5345173 h 5345173"/>
              <a:gd name="connsiteX3" fmla="*/ 579722 w 7971422"/>
              <a:gd name="connsiteY3" fmla="*/ 5334952 h 5345173"/>
              <a:gd name="connsiteX4" fmla="*/ 0 w 7971422"/>
              <a:gd name="connsiteY4" fmla="*/ 4755230 h 5345173"/>
              <a:gd name="connsiteX5" fmla="*/ 0 w 7971422"/>
              <a:gd name="connsiteY5" fmla="*/ 1653 h 5345173"/>
              <a:gd name="connsiteX0" fmla="*/ 0 w 7988356"/>
              <a:gd name="connsiteY0" fmla="*/ 187920 h 5345173"/>
              <a:gd name="connsiteX1" fmla="*/ 7988281 w 7988356"/>
              <a:gd name="connsiteY1" fmla="*/ 0 h 5345173"/>
              <a:gd name="connsiteX2" fmla="*/ 7982550 w 7988356"/>
              <a:gd name="connsiteY2" fmla="*/ 5345173 h 5345173"/>
              <a:gd name="connsiteX3" fmla="*/ 596656 w 7988356"/>
              <a:gd name="connsiteY3" fmla="*/ 5334952 h 5345173"/>
              <a:gd name="connsiteX4" fmla="*/ 16934 w 7988356"/>
              <a:gd name="connsiteY4" fmla="*/ 4755230 h 5345173"/>
              <a:gd name="connsiteX5" fmla="*/ 0 w 7988356"/>
              <a:gd name="connsiteY5" fmla="*/ 187920 h 5345173"/>
              <a:gd name="connsiteX0" fmla="*/ 0 w 7988356"/>
              <a:gd name="connsiteY0" fmla="*/ 210145 h 5345173"/>
              <a:gd name="connsiteX1" fmla="*/ 7988281 w 7988356"/>
              <a:gd name="connsiteY1" fmla="*/ 0 h 5345173"/>
              <a:gd name="connsiteX2" fmla="*/ 7982550 w 7988356"/>
              <a:gd name="connsiteY2" fmla="*/ 5345173 h 5345173"/>
              <a:gd name="connsiteX3" fmla="*/ 596656 w 7988356"/>
              <a:gd name="connsiteY3" fmla="*/ 5334952 h 5345173"/>
              <a:gd name="connsiteX4" fmla="*/ 16934 w 7988356"/>
              <a:gd name="connsiteY4" fmla="*/ 4755230 h 5345173"/>
              <a:gd name="connsiteX5" fmla="*/ 0 w 7988356"/>
              <a:gd name="connsiteY5" fmla="*/ 210145 h 5345173"/>
              <a:gd name="connsiteX0" fmla="*/ 0 w 7988356"/>
              <a:gd name="connsiteY0" fmla="*/ 0 h 5135028"/>
              <a:gd name="connsiteX1" fmla="*/ 7988281 w 7988356"/>
              <a:gd name="connsiteY1" fmla="*/ 7569 h 5135028"/>
              <a:gd name="connsiteX2" fmla="*/ 7982550 w 7988356"/>
              <a:gd name="connsiteY2" fmla="*/ 5135028 h 5135028"/>
              <a:gd name="connsiteX3" fmla="*/ 596656 w 7988356"/>
              <a:gd name="connsiteY3" fmla="*/ 5124807 h 5135028"/>
              <a:gd name="connsiteX4" fmla="*/ 16934 w 7988356"/>
              <a:gd name="connsiteY4" fmla="*/ 4545085 h 5135028"/>
              <a:gd name="connsiteX5" fmla="*/ 0 w 7988356"/>
              <a:gd name="connsiteY5" fmla="*/ 0 h 5135028"/>
              <a:gd name="connsiteX0" fmla="*/ 0 w 7982550"/>
              <a:gd name="connsiteY0" fmla="*/ 0 h 5135028"/>
              <a:gd name="connsiteX1" fmla="*/ 6028853 w 7982550"/>
              <a:gd name="connsiteY1" fmla="*/ 7569 h 5135028"/>
              <a:gd name="connsiteX2" fmla="*/ 7982550 w 7982550"/>
              <a:gd name="connsiteY2" fmla="*/ 5135028 h 5135028"/>
              <a:gd name="connsiteX3" fmla="*/ 596656 w 7982550"/>
              <a:gd name="connsiteY3" fmla="*/ 5124807 h 5135028"/>
              <a:gd name="connsiteX4" fmla="*/ 16934 w 7982550"/>
              <a:gd name="connsiteY4" fmla="*/ 4545085 h 5135028"/>
              <a:gd name="connsiteX5" fmla="*/ 0 w 7982550"/>
              <a:gd name="connsiteY5" fmla="*/ 0 h 5135028"/>
              <a:gd name="connsiteX0" fmla="*/ 0 w 6037636"/>
              <a:gd name="connsiteY0" fmla="*/ 0 h 5135028"/>
              <a:gd name="connsiteX1" fmla="*/ 6028853 w 6037636"/>
              <a:gd name="connsiteY1" fmla="*/ 7569 h 5135028"/>
              <a:gd name="connsiteX2" fmla="*/ 6037636 w 6037636"/>
              <a:gd name="connsiteY2" fmla="*/ 5135028 h 5135028"/>
              <a:gd name="connsiteX3" fmla="*/ 596656 w 6037636"/>
              <a:gd name="connsiteY3" fmla="*/ 5124807 h 5135028"/>
              <a:gd name="connsiteX4" fmla="*/ 16934 w 6037636"/>
              <a:gd name="connsiteY4" fmla="*/ 4545085 h 5135028"/>
              <a:gd name="connsiteX5" fmla="*/ 0 w 6037636"/>
              <a:gd name="connsiteY5" fmla="*/ 0 h 5135028"/>
              <a:gd name="connsiteX0" fmla="*/ 0 w 6024384"/>
              <a:gd name="connsiteY0" fmla="*/ 0 h 6857810"/>
              <a:gd name="connsiteX1" fmla="*/ 6015601 w 6024384"/>
              <a:gd name="connsiteY1" fmla="*/ 1730351 h 6857810"/>
              <a:gd name="connsiteX2" fmla="*/ 6024384 w 6024384"/>
              <a:gd name="connsiteY2" fmla="*/ 6857810 h 6857810"/>
              <a:gd name="connsiteX3" fmla="*/ 583404 w 6024384"/>
              <a:gd name="connsiteY3" fmla="*/ 6847589 h 6857810"/>
              <a:gd name="connsiteX4" fmla="*/ 3682 w 6024384"/>
              <a:gd name="connsiteY4" fmla="*/ 6267867 h 6857810"/>
              <a:gd name="connsiteX5" fmla="*/ 0 w 6024384"/>
              <a:gd name="connsiteY5" fmla="*/ 0 h 6857810"/>
              <a:gd name="connsiteX0" fmla="*/ 0 w 6024384"/>
              <a:gd name="connsiteY0" fmla="*/ 5684 h 6863494"/>
              <a:gd name="connsiteX1" fmla="*/ 6002349 w 6024384"/>
              <a:gd name="connsiteY1" fmla="*/ 0 h 6863494"/>
              <a:gd name="connsiteX2" fmla="*/ 6024384 w 6024384"/>
              <a:gd name="connsiteY2" fmla="*/ 6863494 h 6863494"/>
              <a:gd name="connsiteX3" fmla="*/ 583404 w 6024384"/>
              <a:gd name="connsiteY3" fmla="*/ 6853273 h 6863494"/>
              <a:gd name="connsiteX4" fmla="*/ 3682 w 6024384"/>
              <a:gd name="connsiteY4" fmla="*/ 6273551 h 6863494"/>
              <a:gd name="connsiteX5" fmla="*/ 0 w 6024384"/>
              <a:gd name="connsiteY5" fmla="*/ 5684 h 68634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024384" h="6863494">
                <a:moveTo>
                  <a:pt x="0" y="5684"/>
                </a:moveTo>
                <a:lnTo>
                  <a:pt x="6002349" y="0"/>
                </a:lnTo>
                <a:cubicBezTo>
                  <a:pt x="6003254" y="2146807"/>
                  <a:pt x="6023479" y="4716687"/>
                  <a:pt x="6024384" y="6863494"/>
                </a:cubicBezTo>
                <a:lnTo>
                  <a:pt x="583404" y="6853273"/>
                </a:lnTo>
                <a:cubicBezTo>
                  <a:pt x="263232" y="6853273"/>
                  <a:pt x="3682" y="6593723"/>
                  <a:pt x="3682" y="6273551"/>
                </a:cubicBezTo>
                <a:cubicBezTo>
                  <a:pt x="-1963" y="4751114"/>
                  <a:pt x="5645" y="1528121"/>
                  <a:pt x="0" y="5684"/>
                </a:cubicBezTo>
                <a:close/>
              </a:path>
            </a:pathLst>
          </a:custGeom>
          <a:noFill/>
        </p:spPr>
        <p:txBody>
          <a:bodyPr>
            <a:normAutofit/>
          </a:bodyPr>
          <a:lstStyle>
            <a:lvl1pPr marL="0" indent="0">
              <a:buNone/>
              <a:defRPr sz="1400">
                <a:solidFill>
                  <a:schemeClr val="tx1"/>
                </a:solidFill>
              </a:defRPr>
            </a:lvl1pPr>
          </a:lstStyle>
          <a:p>
            <a:r>
              <a:rPr lang="en-JP"/>
              <a:t>Insert Photo</a:t>
            </a:r>
          </a:p>
        </p:txBody>
      </p:sp>
      <p:sp>
        <p:nvSpPr>
          <p:cNvPr id="7" name="Text Placeholder 6">
            <a:extLst>
              <a:ext uri="{FF2B5EF4-FFF2-40B4-BE49-F238E27FC236}">
                <a16:creationId xmlns:a16="http://schemas.microsoft.com/office/drawing/2014/main" id="{65925D82-457F-D84D-B8DF-D8ADFD7E71DF}"/>
              </a:ext>
            </a:extLst>
          </p:cNvPr>
          <p:cNvSpPr>
            <a:spLocks noGrp="1"/>
          </p:cNvSpPr>
          <p:nvPr>
            <p:ph type="body" sz="quarter" idx="14" hasCustomPrompt="1"/>
          </p:nvPr>
        </p:nvSpPr>
        <p:spPr>
          <a:xfrm>
            <a:off x="311150" y="3178298"/>
            <a:ext cx="5708650" cy="272786"/>
          </a:xfrm>
          <a:prstGeom prst="rect">
            <a:avLst/>
          </a:prstGeom>
        </p:spPr>
        <p:txBody>
          <a:bodyPr tIns="0" rIns="0" bIns="0" numCol="1">
            <a:noAutofit/>
          </a:bodyPr>
          <a:lstStyle>
            <a:lvl1pPr marL="0" indent="0">
              <a:lnSpc>
                <a:spcPct val="100000"/>
              </a:lnSpc>
              <a:spcBef>
                <a:spcPts val="0"/>
              </a:spcBef>
              <a:spcAft>
                <a:spcPts val="600"/>
              </a:spcAft>
              <a:buNone/>
              <a:defRPr sz="18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Secondary Title</a:t>
            </a:r>
          </a:p>
        </p:txBody>
      </p:sp>
      <p:sp>
        <p:nvSpPr>
          <p:cNvPr id="12" name="Text Placeholder 6">
            <a:extLst>
              <a:ext uri="{FF2B5EF4-FFF2-40B4-BE49-F238E27FC236}">
                <a16:creationId xmlns:a16="http://schemas.microsoft.com/office/drawing/2014/main" id="{FD2406EE-A554-5348-AE6D-4D8B343E6201}"/>
              </a:ext>
            </a:extLst>
          </p:cNvPr>
          <p:cNvSpPr>
            <a:spLocks noGrp="1"/>
          </p:cNvSpPr>
          <p:nvPr>
            <p:ph type="body" sz="quarter" idx="15" hasCustomPrompt="1"/>
          </p:nvPr>
        </p:nvSpPr>
        <p:spPr>
          <a:xfrm>
            <a:off x="311150" y="3575904"/>
            <a:ext cx="5708650" cy="2859620"/>
          </a:xfrm>
          <a:prstGeom prst="rect">
            <a:avLst/>
          </a:prstGeom>
        </p:spPr>
        <p:txBody>
          <a:bodyPr tIns="0" rIns="0" bIns="0" numCol="1">
            <a:noAutofit/>
          </a:bodyPr>
          <a:lstStyle>
            <a:lvl1pPr marL="171450" indent="-171450">
              <a:lnSpc>
                <a:spcPct val="100000"/>
              </a:lnSpc>
              <a:spcBef>
                <a:spcPts val="0"/>
              </a:spcBef>
              <a:spcAft>
                <a:spcPts val="600"/>
              </a:spcAft>
              <a:buFont typeface="Arial" panose="020B0604020202020204" pitchFamily="34" charset="0"/>
              <a:buChar char="•"/>
              <a:defRPr sz="1400" b="0">
                <a:solidFill>
                  <a:schemeClr val="tx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Secondary text. </a:t>
            </a:r>
          </a:p>
        </p:txBody>
      </p:sp>
      <p:sp>
        <p:nvSpPr>
          <p:cNvPr id="17" name="タイトル プレースホルダ 1">
            <a:extLst>
              <a:ext uri="{FF2B5EF4-FFF2-40B4-BE49-F238E27FC236}">
                <a16:creationId xmlns:a16="http://schemas.microsoft.com/office/drawing/2014/main" id="{86D6FEA8-06E4-474A-8491-CD1DDAE7D0D7}"/>
              </a:ext>
            </a:extLst>
          </p:cNvPr>
          <p:cNvSpPr>
            <a:spLocks noGrp="1"/>
          </p:cNvSpPr>
          <p:nvPr>
            <p:ph type="title" hasCustomPrompt="1"/>
          </p:nvPr>
        </p:nvSpPr>
        <p:spPr>
          <a:xfrm>
            <a:off x="606079" y="161605"/>
            <a:ext cx="5413722" cy="685801"/>
          </a:xfrm>
          <a:prstGeom prst="rect">
            <a:avLst/>
          </a:prstGeom>
        </p:spPr>
        <p:txBody>
          <a:bodyPr vert="horz" lIns="0" tIns="0" rIns="0" bIns="0" rtlCol="0" anchor="ctr">
            <a:normAutofit/>
          </a:bodyPr>
          <a:lstStyle/>
          <a:p>
            <a:r>
              <a:rPr kumimoji="1" lang="en-US" altLang="ja-JP"/>
              <a:t>Click to add title</a:t>
            </a:r>
            <a:endParaRPr kumimoji="1" lang="ja-JP" altLang="en-US"/>
          </a:p>
        </p:txBody>
      </p:sp>
      <p:sp>
        <p:nvSpPr>
          <p:cNvPr id="18" name="Rectangle 17">
            <a:extLst>
              <a:ext uri="{FF2B5EF4-FFF2-40B4-BE49-F238E27FC236}">
                <a16:creationId xmlns:a16="http://schemas.microsoft.com/office/drawing/2014/main" id="{CEDBCF76-3461-2245-8BB1-FA50AE27F6CA}"/>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a:solidFill>
                <a:schemeClr val="accent1"/>
              </a:solidFill>
            </a:endParaRPr>
          </a:p>
        </p:txBody>
      </p:sp>
      <p:sp>
        <p:nvSpPr>
          <p:cNvPr id="22" name="スライド番号プレースホルダ 5">
            <a:extLst>
              <a:ext uri="{FF2B5EF4-FFF2-40B4-BE49-F238E27FC236}">
                <a16:creationId xmlns:a16="http://schemas.microsoft.com/office/drawing/2014/main" id="{FB98B4FE-9AC1-D142-89B5-4D3791685BC1}"/>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3" name="Text Placeholder 6">
            <a:extLst>
              <a:ext uri="{FF2B5EF4-FFF2-40B4-BE49-F238E27FC236}">
                <a16:creationId xmlns:a16="http://schemas.microsoft.com/office/drawing/2014/main" id="{7D5A74AA-F0D3-9243-967D-FEA6F7A20BC7}"/>
              </a:ext>
            </a:extLst>
          </p:cNvPr>
          <p:cNvSpPr>
            <a:spLocks noGrp="1"/>
          </p:cNvSpPr>
          <p:nvPr>
            <p:ph type="body" sz="quarter" idx="16" hasCustomPrompt="1"/>
          </p:nvPr>
        </p:nvSpPr>
        <p:spPr>
          <a:xfrm>
            <a:off x="606078" y="6523001"/>
            <a:ext cx="5413722"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Private and confidential. For internal use only.</a:t>
            </a:r>
          </a:p>
        </p:txBody>
      </p:sp>
      <p:sp>
        <p:nvSpPr>
          <p:cNvPr id="19" name="Text Placeholder 2">
            <a:extLst>
              <a:ext uri="{FF2B5EF4-FFF2-40B4-BE49-F238E27FC236}">
                <a16:creationId xmlns:a16="http://schemas.microsoft.com/office/drawing/2014/main" id="{D16C870C-B0F9-5A43-81FD-66BD75CC33C7}"/>
              </a:ext>
            </a:extLst>
          </p:cNvPr>
          <p:cNvSpPr>
            <a:spLocks noGrp="1"/>
          </p:cNvSpPr>
          <p:nvPr>
            <p:ph type="body" sz="quarter" idx="20" hasCustomPrompt="1"/>
          </p:nvPr>
        </p:nvSpPr>
        <p:spPr>
          <a:xfrm>
            <a:off x="311151" y="1491373"/>
            <a:ext cx="5704886" cy="1464957"/>
          </a:xfrm>
        </p:spPr>
        <p:txBody>
          <a:bodyPr tIns="0" rIns="0" bIns="0" numCol="1" spcCol="126000">
            <a:noAutofit/>
          </a:bodyPr>
          <a:lstStyle>
            <a:lvl1pPr marL="0" indent="0">
              <a:lnSpc>
                <a:spcPct val="100000"/>
              </a:lnSpc>
              <a:spcBef>
                <a:spcPts val="0"/>
              </a:spcBef>
              <a:buNone/>
              <a:defRPr sz="1600" b="1"/>
            </a:lvl1pPr>
            <a:lvl2pPr marL="457068" indent="0">
              <a:buNone/>
              <a:defRPr sz="1800" b="1"/>
            </a:lvl2pPr>
            <a:lvl3pPr marL="914149" indent="0">
              <a:buNone/>
              <a:defRPr sz="1800" b="1"/>
            </a:lvl3pPr>
            <a:lvl4pPr marL="1371219" indent="0">
              <a:buNone/>
              <a:defRPr sz="1800" b="1"/>
            </a:lvl4pPr>
            <a:lvl5pPr marL="1828290" indent="0">
              <a:buNone/>
              <a:defRPr sz="1800" b="1"/>
            </a:lvl5pPr>
          </a:lstStyle>
          <a:p>
            <a:pPr lvl="0"/>
            <a:r>
              <a:rPr lang="en-US"/>
              <a:t>This is your Primary Text.</a:t>
            </a:r>
            <a:endParaRPr lang="en-JP"/>
          </a:p>
        </p:txBody>
      </p:sp>
      <p:sp>
        <p:nvSpPr>
          <p:cNvPr id="20" name="Text Placeholder 6">
            <a:extLst>
              <a:ext uri="{FF2B5EF4-FFF2-40B4-BE49-F238E27FC236}">
                <a16:creationId xmlns:a16="http://schemas.microsoft.com/office/drawing/2014/main" id="{C64E591A-1A88-9244-AC81-5B42BFE347C0}"/>
              </a:ext>
            </a:extLst>
          </p:cNvPr>
          <p:cNvSpPr>
            <a:spLocks noGrp="1"/>
          </p:cNvSpPr>
          <p:nvPr>
            <p:ph type="body" sz="quarter" idx="21" hasCustomPrompt="1"/>
          </p:nvPr>
        </p:nvSpPr>
        <p:spPr>
          <a:xfrm>
            <a:off x="311150" y="1093767"/>
            <a:ext cx="5704886" cy="272786"/>
          </a:xfrm>
        </p:spPr>
        <p:txBody>
          <a:bodyPr tIns="0" rIns="0" bIns="0" numCol="1">
            <a:noAutofit/>
          </a:bodyPr>
          <a:lstStyle>
            <a:lvl1pPr marL="0" indent="0">
              <a:lnSpc>
                <a:spcPct val="100000"/>
              </a:lnSpc>
              <a:spcBef>
                <a:spcPts val="0"/>
              </a:spcBef>
              <a:spcAft>
                <a:spcPts val="600"/>
              </a:spcAft>
              <a:buNone/>
              <a:defRPr sz="20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Primary Title</a:t>
            </a:r>
          </a:p>
        </p:txBody>
      </p:sp>
    </p:spTree>
    <p:extLst>
      <p:ext uri="{BB962C8B-B14F-4D97-AF65-F5344CB8AC3E}">
        <p14:creationId xmlns:p14="http://schemas.microsoft.com/office/powerpoint/2010/main" val="215613592"/>
      </p:ext>
    </p:extLst>
  </p:cSld>
  <p:clrMapOvr>
    <a:masterClrMapping/>
  </p:clrMapOvr>
  <p:transition spd="slow">
    <p:push dir="u"/>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Advanced 1/3 Image">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65925D82-457F-D84D-B8DF-D8ADFD7E71DF}"/>
              </a:ext>
            </a:extLst>
          </p:cNvPr>
          <p:cNvSpPr>
            <a:spLocks noGrp="1"/>
          </p:cNvSpPr>
          <p:nvPr>
            <p:ph type="body" sz="quarter" idx="14" hasCustomPrompt="1"/>
          </p:nvPr>
        </p:nvSpPr>
        <p:spPr>
          <a:xfrm>
            <a:off x="311150" y="3178298"/>
            <a:ext cx="7660042" cy="272786"/>
          </a:xfrm>
          <a:prstGeom prst="rect">
            <a:avLst/>
          </a:prstGeom>
        </p:spPr>
        <p:txBody>
          <a:bodyPr tIns="0" rIns="0" bIns="0" numCol="1">
            <a:noAutofit/>
          </a:bodyPr>
          <a:lstStyle>
            <a:lvl1pPr marL="0" indent="0">
              <a:lnSpc>
                <a:spcPct val="100000"/>
              </a:lnSpc>
              <a:spcBef>
                <a:spcPts val="0"/>
              </a:spcBef>
              <a:spcAft>
                <a:spcPts val="600"/>
              </a:spcAft>
              <a:buNone/>
              <a:defRPr sz="18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Secondary Title</a:t>
            </a:r>
          </a:p>
        </p:txBody>
      </p:sp>
      <p:sp>
        <p:nvSpPr>
          <p:cNvPr id="12" name="Text Placeholder 6">
            <a:extLst>
              <a:ext uri="{FF2B5EF4-FFF2-40B4-BE49-F238E27FC236}">
                <a16:creationId xmlns:a16="http://schemas.microsoft.com/office/drawing/2014/main" id="{FD2406EE-A554-5348-AE6D-4D8B343E6201}"/>
              </a:ext>
            </a:extLst>
          </p:cNvPr>
          <p:cNvSpPr>
            <a:spLocks noGrp="1"/>
          </p:cNvSpPr>
          <p:nvPr>
            <p:ph type="body" sz="quarter" idx="15" hasCustomPrompt="1"/>
          </p:nvPr>
        </p:nvSpPr>
        <p:spPr>
          <a:xfrm>
            <a:off x="311149" y="3575904"/>
            <a:ext cx="7663807" cy="2859621"/>
          </a:xfrm>
          <a:prstGeom prst="rect">
            <a:avLst/>
          </a:prstGeom>
        </p:spPr>
        <p:txBody>
          <a:bodyPr tIns="0" rIns="0" bIns="0" numCol="2" spcCol="126000">
            <a:noAutofit/>
          </a:bodyPr>
          <a:lstStyle>
            <a:lvl1pPr marL="171450" indent="-171450">
              <a:lnSpc>
                <a:spcPct val="100000"/>
              </a:lnSpc>
              <a:spcBef>
                <a:spcPts val="0"/>
              </a:spcBef>
              <a:spcAft>
                <a:spcPts val="600"/>
              </a:spcAft>
              <a:buFont typeface="Arial" panose="020B0604020202020204" pitchFamily="34" charset="0"/>
              <a:buChar char="•"/>
              <a:defRPr sz="1400" b="0">
                <a:solidFill>
                  <a:schemeClr val="tx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Secondary text.</a:t>
            </a:r>
          </a:p>
        </p:txBody>
      </p:sp>
      <p:sp>
        <p:nvSpPr>
          <p:cNvPr id="11" name="Picture Placeholder 9">
            <a:extLst>
              <a:ext uri="{FF2B5EF4-FFF2-40B4-BE49-F238E27FC236}">
                <a16:creationId xmlns:a16="http://schemas.microsoft.com/office/drawing/2014/main" id="{B54C5EE8-C42D-B549-B4D4-C0F00D68A42B}"/>
              </a:ext>
            </a:extLst>
          </p:cNvPr>
          <p:cNvSpPr>
            <a:spLocks noGrp="1"/>
          </p:cNvSpPr>
          <p:nvPr>
            <p:ph type="pic" sz="quarter" idx="18" hasCustomPrompt="1"/>
          </p:nvPr>
        </p:nvSpPr>
        <p:spPr>
          <a:xfrm>
            <a:off x="8136961" y="1093767"/>
            <a:ext cx="4069500" cy="5331536"/>
          </a:xfrm>
          <a:custGeom>
            <a:avLst/>
            <a:gdLst>
              <a:gd name="connsiteX0" fmla="*/ 0 w 10888662"/>
              <a:gd name="connsiteY0" fmla="*/ 579722 h 6442075"/>
              <a:gd name="connsiteX1" fmla="*/ 579722 w 10888662"/>
              <a:gd name="connsiteY1" fmla="*/ 0 h 6442075"/>
              <a:gd name="connsiteX2" fmla="*/ 10308940 w 10888662"/>
              <a:gd name="connsiteY2" fmla="*/ 0 h 6442075"/>
              <a:gd name="connsiteX3" fmla="*/ 10888662 w 10888662"/>
              <a:gd name="connsiteY3" fmla="*/ 579722 h 6442075"/>
              <a:gd name="connsiteX4" fmla="*/ 10888662 w 10888662"/>
              <a:gd name="connsiteY4" fmla="*/ 5862353 h 6442075"/>
              <a:gd name="connsiteX5" fmla="*/ 10308940 w 10888662"/>
              <a:gd name="connsiteY5" fmla="*/ 6442075 h 6442075"/>
              <a:gd name="connsiteX6" fmla="*/ 579722 w 10888662"/>
              <a:gd name="connsiteY6" fmla="*/ 6442075 h 6442075"/>
              <a:gd name="connsiteX7" fmla="*/ 0 w 10888662"/>
              <a:gd name="connsiteY7" fmla="*/ 5862353 h 6442075"/>
              <a:gd name="connsiteX8" fmla="*/ 0 w 10888662"/>
              <a:gd name="connsiteY8" fmla="*/ 579722 h 6442075"/>
              <a:gd name="connsiteX0" fmla="*/ 0 w 10888662"/>
              <a:gd name="connsiteY0" fmla="*/ 659657 h 6522010"/>
              <a:gd name="connsiteX1" fmla="*/ 10308940 w 10888662"/>
              <a:gd name="connsiteY1" fmla="*/ 79935 h 6522010"/>
              <a:gd name="connsiteX2" fmla="*/ 10888662 w 10888662"/>
              <a:gd name="connsiteY2" fmla="*/ 659657 h 6522010"/>
              <a:gd name="connsiteX3" fmla="*/ 10888662 w 10888662"/>
              <a:gd name="connsiteY3" fmla="*/ 5942288 h 6522010"/>
              <a:gd name="connsiteX4" fmla="*/ 10308940 w 10888662"/>
              <a:gd name="connsiteY4" fmla="*/ 6522010 h 6522010"/>
              <a:gd name="connsiteX5" fmla="*/ 579722 w 10888662"/>
              <a:gd name="connsiteY5" fmla="*/ 6522010 h 6522010"/>
              <a:gd name="connsiteX6" fmla="*/ 0 w 10888662"/>
              <a:gd name="connsiteY6" fmla="*/ 5942288 h 6522010"/>
              <a:gd name="connsiteX7" fmla="*/ 0 w 10888662"/>
              <a:gd name="connsiteY7" fmla="*/ 659657 h 6522010"/>
              <a:gd name="connsiteX0" fmla="*/ 0 w 10888662"/>
              <a:gd name="connsiteY0" fmla="*/ 579722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579722 h 6442075"/>
              <a:gd name="connsiteX0" fmla="*/ 0 w 10888662"/>
              <a:gd name="connsiteY0" fmla="*/ 129257 h 6569679"/>
              <a:gd name="connsiteX1" fmla="*/ 10308940 w 10888662"/>
              <a:gd name="connsiteY1" fmla="*/ 127604 h 6569679"/>
              <a:gd name="connsiteX2" fmla="*/ 10888662 w 10888662"/>
              <a:gd name="connsiteY2" fmla="*/ 707326 h 6569679"/>
              <a:gd name="connsiteX3" fmla="*/ 10888662 w 10888662"/>
              <a:gd name="connsiteY3" fmla="*/ 5989957 h 6569679"/>
              <a:gd name="connsiteX4" fmla="*/ 10308940 w 10888662"/>
              <a:gd name="connsiteY4" fmla="*/ 6569679 h 6569679"/>
              <a:gd name="connsiteX5" fmla="*/ 579722 w 10888662"/>
              <a:gd name="connsiteY5" fmla="*/ 6569679 h 6569679"/>
              <a:gd name="connsiteX6" fmla="*/ 0 w 10888662"/>
              <a:gd name="connsiteY6" fmla="*/ 5989957 h 6569679"/>
              <a:gd name="connsiteX7" fmla="*/ 0 w 10888662"/>
              <a:gd name="connsiteY7" fmla="*/ 129257 h 6569679"/>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9657299 w 10888662"/>
              <a:gd name="connsiteY4" fmla="*/ 55276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522010"/>
              <a:gd name="connsiteX1" fmla="*/ 10308940 w 10888662"/>
              <a:gd name="connsiteY1" fmla="*/ 0 h 6522010"/>
              <a:gd name="connsiteX2" fmla="*/ 10888662 w 10888662"/>
              <a:gd name="connsiteY2" fmla="*/ 579722 h 6522010"/>
              <a:gd name="connsiteX3" fmla="*/ 10888662 w 10888662"/>
              <a:gd name="connsiteY3" fmla="*/ 5862353 h 6522010"/>
              <a:gd name="connsiteX4" fmla="*/ 579722 w 10888662"/>
              <a:gd name="connsiteY4" fmla="*/ 6442075 h 6522010"/>
              <a:gd name="connsiteX5" fmla="*/ 0 w 10888662"/>
              <a:gd name="connsiteY5" fmla="*/ 5862353 h 6522010"/>
              <a:gd name="connsiteX6" fmla="*/ 0 w 10888662"/>
              <a:gd name="connsiteY6" fmla="*/ 1653 h 6522010"/>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579722 w 10888662"/>
              <a:gd name="connsiteY4" fmla="*/ 6442075 h 6442075"/>
              <a:gd name="connsiteX5" fmla="*/ 0 w 10888662"/>
              <a:gd name="connsiteY5" fmla="*/ 5862353 h 6442075"/>
              <a:gd name="connsiteX6" fmla="*/ 0 w 10888662"/>
              <a:gd name="connsiteY6" fmla="*/ 1653 h 6442075"/>
              <a:gd name="connsiteX0" fmla="*/ 0 w 10888662"/>
              <a:gd name="connsiteY0" fmla="*/ 1653 h 6585432"/>
              <a:gd name="connsiteX1" fmla="*/ 10308940 w 10888662"/>
              <a:gd name="connsiteY1" fmla="*/ 0 h 6585432"/>
              <a:gd name="connsiteX2" fmla="*/ 10888662 w 10888662"/>
              <a:gd name="connsiteY2" fmla="*/ 579722 h 6585432"/>
              <a:gd name="connsiteX3" fmla="*/ 10878151 w 10888662"/>
              <a:gd name="connsiteY3" fmla="*/ 6461442 h 6585432"/>
              <a:gd name="connsiteX4" fmla="*/ 579722 w 10888662"/>
              <a:gd name="connsiteY4" fmla="*/ 6442075 h 6585432"/>
              <a:gd name="connsiteX5" fmla="*/ 0 w 10888662"/>
              <a:gd name="connsiteY5" fmla="*/ 5862353 h 6585432"/>
              <a:gd name="connsiteX6" fmla="*/ 0 w 10888662"/>
              <a:gd name="connsiteY6" fmla="*/ 1653 h 6585432"/>
              <a:gd name="connsiteX0" fmla="*/ 0 w 10888662"/>
              <a:gd name="connsiteY0" fmla="*/ 1653 h 6577502"/>
              <a:gd name="connsiteX1" fmla="*/ 10308940 w 10888662"/>
              <a:gd name="connsiteY1" fmla="*/ 0 h 6577502"/>
              <a:gd name="connsiteX2" fmla="*/ 10888662 w 10888662"/>
              <a:gd name="connsiteY2" fmla="*/ 579722 h 6577502"/>
              <a:gd name="connsiteX3" fmla="*/ 10878151 w 10888662"/>
              <a:gd name="connsiteY3" fmla="*/ 6450932 h 6577502"/>
              <a:gd name="connsiteX4" fmla="*/ 579722 w 10888662"/>
              <a:gd name="connsiteY4" fmla="*/ 6442075 h 6577502"/>
              <a:gd name="connsiteX5" fmla="*/ 0 w 10888662"/>
              <a:gd name="connsiteY5" fmla="*/ 5862353 h 6577502"/>
              <a:gd name="connsiteX6" fmla="*/ 0 w 10888662"/>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0888662"/>
              <a:gd name="connsiteY0" fmla="*/ 1653 h 6450932"/>
              <a:gd name="connsiteX1" fmla="*/ 10308940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0999550"/>
              <a:gd name="connsiteY0" fmla="*/ 1653 h 6450932"/>
              <a:gd name="connsiteX1" fmla="*/ 10844968 w 10999550"/>
              <a:gd name="connsiteY1" fmla="*/ 0 h 6450932"/>
              <a:gd name="connsiteX2" fmla="*/ 10888662 w 10999550"/>
              <a:gd name="connsiteY2" fmla="*/ 579722 h 6450932"/>
              <a:gd name="connsiteX3" fmla="*/ 10878151 w 10999550"/>
              <a:gd name="connsiteY3" fmla="*/ 6450932 h 6450932"/>
              <a:gd name="connsiteX4" fmla="*/ 579722 w 10999550"/>
              <a:gd name="connsiteY4" fmla="*/ 6442075 h 6450932"/>
              <a:gd name="connsiteX5" fmla="*/ 0 w 10999550"/>
              <a:gd name="connsiteY5" fmla="*/ 5862353 h 6450932"/>
              <a:gd name="connsiteX6" fmla="*/ 0 w 10999550"/>
              <a:gd name="connsiteY6" fmla="*/ 1653 h 6450932"/>
              <a:gd name="connsiteX0" fmla="*/ 0 w 11022020"/>
              <a:gd name="connsiteY0" fmla="*/ 1653 h 6450932"/>
              <a:gd name="connsiteX1" fmla="*/ 10876499 w 11022020"/>
              <a:gd name="connsiteY1" fmla="*/ 0 h 6450932"/>
              <a:gd name="connsiteX2" fmla="*/ 10888662 w 11022020"/>
              <a:gd name="connsiteY2" fmla="*/ 579722 h 6450932"/>
              <a:gd name="connsiteX3" fmla="*/ 10878151 w 11022020"/>
              <a:gd name="connsiteY3" fmla="*/ 6450932 h 6450932"/>
              <a:gd name="connsiteX4" fmla="*/ 579722 w 11022020"/>
              <a:gd name="connsiteY4" fmla="*/ 6442075 h 6450932"/>
              <a:gd name="connsiteX5" fmla="*/ 0 w 11022020"/>
              <a:gd name="connsiteY5" fmla="*/ 5862353 h 6450932"/>
              <a:gd name="connsiteX6" fmla="*/ 0 w 11022020"/>
              <a:gd name="connsiteY6" fmla="*/ 1653 h 6450932"/>
              <a:gd name="connsiteX0" fmla="*/ 0 w 10888662"/>
              <a:gd name="connsiteY0" fmla="*/ 1653 h 6450932"/>
              <a:gd name="connsiteX1" fmla="*/ 10876499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2200990"/>
              <a:gd name="connsiteY0" fmla="*/ 1653 h 6450932"/>
              <a:gd name="connsiteX1" fmla="*/ 10876499 w 12200990"/>
              <a:gd name="connsiteY1" fmla="*/ 0 h 6450932"/>
              <a:gd name="connsiteX2" fmla="*/ 10878151 w 12200990"/>
              <a:gd name="connsiteY2" fmla="*/ 6450932 h 6450932"/>
              <a:gd name="connsiteX3" fmla="*/ 579722 w 12200990"/>
              <a:gd name="connsiteY3" fmla="*/ 6442075 h 6450932"/>
              <a:gd name="connsiteX4" fmla="*/ 0 w 12200990"/>
              <a:gd name="connsiteY4" fmla="*/ 5862353 h 6450932"/>
              <a:gd name="connsiteX5" fmla="*/ 0 w 12200990"/>
              <a:gd name="connsiteY5" fmla="*/ 1653 h 6450932"/>
              <a:gd name="connsiteX0" fmla="*/ 0 w 11640630"/>
              <a:gd name="connsiteY0" fmla="*/ 1653 h 6450932"/>
              <a:gd name="connsiteX1" fmla="*/ 10876499 w 11640630"/>
              <a:gd name="connsiteY1" fmla="*/ 0 h 6450932"/>
              <a:gd name="connsiteX2" fmla="*/ 10878151 w 11640630"/>
              <a:gd name="connsiteY2" fmla="*/ 6450932 h 6450932"/>
              <a:gd name="connsiteX3" fmla="*/ 579722 w 11640630"/>
              <a:gd name="connsiteY3" fmla="*/ 6442075 h 6450932"/>
              <a:gd name="connsiteX4" fmla="*/ 0 w 11640630"/>
              <a:gd name="connsiteY4" fmla="*/ 5862353 h 6450932"/>
              <a:gd name="connsiteX5" fmla="*/ 0 w 11640630"/>
              <a:gd name="connsiteY5" fmla="*/ 1653 h 6450932"/>
              <a:gd name="connsiteX0" fmla="*/ 0 w 10878151"/>
              <a:gd name="connsiteY0" fmla="*/ 1653 h 6450932"/>
              <a:gd name="connsiteX1" fmla="*/ 10876499 w 10878151"/>
              <a:gd name="connsiteY1" fmla="*/ 0 h 6450932"/>
              <a:gd name="connsiteX2" fmla="*/ 10878151 w 10878151"/>
              <a:gd name="connsiteY2" fmla="*/ 6450932 h 6450932"/>
              <a:gd name="connsiteX3" fmla="*/ 579722 w 10878151"/>
              <a:gd name="connsiteY3" fmla="*/ 6442075 h 6450932"/>
              <a:gd name="connsiteX4" fmla="*/ 0 w 10878151"/>
              <a:gd name="connsiteY4" fmla="*/ 5862353 h 6450932"/>
              <a:gd name="connsiteX5" fmla="*/ 0 w 10878151"/>
              <a:gd name="connsiteY5" fmla="*/ 1653 h 6450932"/>
              <a:gd name="connsiteX0" fmla="*/ 0 w 11843451"/>
              <a:gd name="connsiteY0" fmla="*/ 1653 h 6450932"/>
              <a:gd name="connsiteX1" fmla="*/ 11843451 w 11843451"/>
              <a:gd name="connsiteY1" fmla="*/ 0 h 6450932"/>
              <a:gd name="connsiteX2" fmla="*/ 10878151 w 11843451"/>
              <a:gd name="connsiteY2" fmla="*/ 6450932 h 6450932"/>
              <a:gd name="connsiteX3" fmla="*/ 579722 w 11843451"/>
              <a:gd name="connsiteY3" fmla="*/ 6442075 h 6450932"/>
              <a:gd name="connsiteX4" fmla="*/ 0 w 11843451"/>
              <a:gd name="connsiteY4" fmla="*/ 5862353 h 6450932"/>
              <a:gd name="connsiteX5" fmla="*/ 0 w 11843451"/>
              <a:gd name="connsiteY5" fmla="*/ 1653 h 6450932"/>
              <a:gd name="connsiteX0" fmla="*/ 0 w 11855613"/>
              <a:gd name="connsiteY0" fmla="*/ 1653 h 6450932"/>
              <a:gd name="connsiteX1" fmla="*/ 11843451 w 11855613"/>
              <a:gd name="connsiteY1" fmla="*/ 0 h 6450932"/>
              <a:gd name="connsiteX2" fmla="*/ 11855613 w 11855613"/>
              <a:gd name="connsiteY2" fmla="*/ 6450932 h 6450932"/>
              <a:gd name="connsiteX3" fmla="*/ 579722 w 11855613"/>
              <a:gd name="connsiteY3" fmla="*/ 6442075 h 6450932"/>
              <a:gd name="connsiteX4" fmla="*/ 0 w 11855613"/>
              <a:gd name="connsiteY4" fmla="*/ 5862353 h 6450932"/>
              <a:gd name="connsiteX5" fmla="*/ 0 w 11855613"/>
              <a:gd name="connsiteY5" fmla="*/ 1653 h 6450932"/>
              <a:gd name="connsiteX0" fmla="*/ 0 w 11864472"/>
              <a:gd name="connsiteY0" fmla="*/ 1653 h 6450932"/>
              <a:gd name="connsiteX1" fmla="*/ 11864472 w 11864472"/>
              <a:gd name="connsiteY1" fmla="*/ 0 h 6450932"/>
              <a:gd name="connsiteX2" fmla="*/ 11855613 w 11864472"/>
              <a:gd name="connsiteY2" fmla="*/ 6450932 h 6450932"/>
              <a:gd name="connsiteX3" fmla="*/ 579722 w 11864472"/>
              <a:gd name="connsiteY3" fmla="*/ 6442075 h 6450932"/>
              <a:gd name="connsiteX4" fmla="*/ 0 w 11864472"/>
              <a:gd name="connsiteY4" fmla="*/ 5862353 h 6450932"/>
              <a:gd name="connsiteX5" fmla="*/ 0 w 11864472"/>
              <a:gd name="connsiteY5" fmla="*/ 1653 h 6450932"/>
              <a:gd name="connsiteX0" fmla="*/ 0 w 11864472"/>
              <a:gd name="connsiteY0" fmla="*/ 1653 h 6442075"/>
              <a:gd name="connsiteX1" fmla="*/ 11864472 w 11864472"/>
              <a:gd name="connsiteY1" fmla="*/ 0 h 6442075"/>
              <a:gd name="connsiteX2" fmla="*/ 11855613 w 11864472"/>
              <a:gd name="connsiteY2" fmla="*/ 6440421 h 6442075"/>
              <a:gd name="connsiteX3" fmla="*/ 579722 w 11864472"/>
              <a:gd name="connsiteY3" fmla="*/ 6442075 h 6442075"/>
              <a:gd name="connsiteX4" fmla="*/ 0 w 11864472"/>
              <a:gd name="connsiteY4" fmla="*/ 5862353 h 6442075"/>
              <a:gd name="connsiteX5" fmla="*/ 0 w 11864472"/>
              <a:gd name="connsiteY5" fmla="*/ 1653 h 6442075"/>
              <a:gd name="connsiteX0" fmla="*/ 0 w 11855613"/>
              <a:gd name="connsiteY0" fmla="*/ 1653 h 6442075"/>
              <a:gd name="connsiteX1" fmla="*/ 8912928 w 11855613"/>
              <a:gd name="connsiteY1" fmla="*/ 0 h 6442075"/>
              <a:gd name="connsiteX2" fmla="*/ 11855613 w 11855613"/>
              <a:gd name="connsiteY2" fmla="*/ 6440421 h 6442075"/>
              <a:gd name="connsiteX3" fmla="*/ 579722 w 11855613"/>
              <a:gd name="connsiteY3" fmla="*/ 6442075 h 6442075"/>
              <a:gd name="connsiteX4" fmla="*/ 0 w 11855613"/>
              <a:gd name="connsiteY4" fmla="*/ 5862353 h 6442075"/>
              <a:gd name="connsiteX5" fmla="*/ 0 w 11855613"/>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74032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36077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1615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15642"/>
              <a:gd name="connsiteY0" fmla="*/ 1653 h 6442075"/>
              <a:gd name="connsiteX1" fmla="*/ 8912928 w 8915642"/>
              <a:gd name="connsiteY1" fmla="*/ 0 h 6442075"/>
              <a:gd name="connsiteX2" fmla="*/ 8915642 w 8915642"/>
              <a:gd name="connsiteY2" fmla="*/ 6440421 h 6442075"/>
              <a:gd name="connsiteX3" fmla="*/ 579722 w 8915642"/>
              <a:gd name="connsiteY3" fmla="*/ 6442075 h 6442075"/>
              <a:gd name="connsiteX4" fmla="*/ 0 w 8915642"/>
              <a:gd name="connsiteY4" fmla="*/ 5862353 h 6442075"/>
              <a:gd name="connsiteX5" fmla="*/ 0 w 8915642"/>
              <a:gd name="connsiteY5" fmla="*/ 1653 h 6442075"/>
              <a:gd name="connsiteX0" fmla="*/ 0 w 8915642"/>
              <a:gd name="connsiteY0" fmla="*/ 1 h 6633463"/>
              <a:gd name="connsiteX1" fmla="*/ 8912928 w 8915642"/>
              <a:gd name="connsiteY1" fmla="*/ 191388 h 6633463"/>
              <a:gd name="connsiteX2" fmla="*/ 8915642 w 8915642"/>
              <a:gd name="connsiteY2" fmla="*/ 6631809 h 6633463"/>
              <a:gd name="connsiteX3" fmla="*/ 579722 w 8915642"/>
              <a:gd name="connsiteY3" fmla="*/ 6633463 h 6633463"/>
              <a:gd name="connsiteX4" fmla="*/ 0 w 8915642"/>
              <a:gd name="connsiteY4" fmla="*/ 6053741 h 6633463"/>
              <a:gd name="connsiteX5" fmla="*/ 0 w 8915642"/>
              <a:gd name="connsiteY5" fmla="*/ 1 h 6633463"/>
              <a:gd name="connsiteX0" fmla="*/ 0 w 8933278"/>
              <a:gd name="connsiteY0" fmla="*/ 1653 h 6635115"/>
              <a:gd name="connsiteX1" fmla="*/ 8933248 w 8933278"/>
              <a:gd name="connsiteY1" fmla="*/ 0 h 6635115"/>
              <a:gd name="connsiteX2" fmla="*/ 8915642 w 8933278"/>
              <a:gd name="connsiteY2" fmla="*/ 6633461 h 6635115"/>
              <a:gd name="connsiteX3" fmla="*/ 579722 w 8933278"/>
              <a:gd name="connsiteY3" fmla="*/ 6635115 h 6635115"/>
              <a:gd name="connsiteX4" fmla="*/ 0 w 8933278"/>
              <a:gd name="connsiteY4" fmla="*/ 6055393 h 6635115"/>
              <a:gd name="connsiteX5" fmla="*/ 0 w 8933278"/>
              <a:gd name="connsiteY5" fmla="*/ 1653 h 6635115"/>
              <a:gd name="connsiteX0" fmla="*/ 0 w 8933323"/>
              <a:gd name="connsiteY0" fmla="*/ 1653 h 6645336"/>
              <a:gd name="connsiteX1" fmla="*/ 8933248 w 8933323"/>
              <a:gd name="connsiteY1" fmla="*/ 0 h 6645336"/>
              <a:gd name="connsiteX2" fmla="*/ 8927517 w 8933323"/>
              <a:gd name="connsiteY2" fmla="*/ 6645336 h 6645336"/>
              <a:gd name="connsiteX3" fmla="*/ 579722 w 8933323"/>
              <a:gd name="connsiteY3" fmla="*/ 6635115 h 6645336"/>
              <a:gd name="connsiteX4" fmla="*/ 0 w 8933323"/>
              <a:gd name="connsiteY4" fmla="*/ 6055393 h 6645336"/>
              <a:gd name="connsiteX5" fmla="*/ 0 w 8933323"/>
              <a:gd name="connsiteY5" fmla="*/ 1653 h 6645336"/>
              <a:gd name="connsiteX0" fmla="*/ 0 w 8927517"/>
              <a:gd name="connsiteY0" fmla="*/ 1653 h 6645336"/>
              <a:gd name="connsiteX1" fmla="*/ 7971347 w 8927517"/>
              <a:gd name="connsiteY1" fmla="*/ 0 h 6645336"/>
              <a:gd name="connsiteX2" fmla="*/ 8927517 w 8927517"/>
              <a:gd name="connsiteY2" fmla="*/ 6645336 h 6645336"/>
              <a:gd name="connsiteX3" fmla="*/ 579722 w 8927517"/>
              <a:gd name="connsiteY3" fmla="*/ 6635115 h 6645336"/>
              <a:gd name="connsiteX4" fmla="*/ 0 w 8927517"/>
              <a:gd name="connsiteY4" fmla="*/ 6055393 h 6645336"/>
              <a:gd name="connsiteX5" fmla="*/ 0 w 8927517"/>
              <a:gd name="connsiteY5" fmla="*/ 1653 h 6645336"/>
              <a:gd name="connsiteX0" fmla="*/ 0 w 7971422"/>
              <a:gd name="connsiteY0" fmla="*/ 1653 h 6645336"/>
              <a:gd name="connsiteX1" fmla="*/ 7971347 w 7971422"/>
              <a:gd name="connsiteY1" fmla="*/ 0 h 6645336"/>
              <a:gd name="connsiteX2" fmla="*/ 7965616 w 7971422"/>
              <a:gd name="connsiteY2" fmla="*/ 6645336 h 6645336"/>
              <a:gd name="connsiteX3" fmla="*/ 579722 w 7971422"/>
              <a:gd name="connsiteY3" fmla="*/ 6635115 h 6645336"/>
              <a:gd name="connsiteX4" fmla="*/ 0 w 7971422"/>
              <a:gd name="connsiteY4" fmla="*/ 6055393 h 6645336"/>
              <a:gd name="connsiteX5" fmla="*/ 0 w 7971422"/>
              <a:gd name="connsiteY5" fmla="*/ 1653 h 6645336"/>
              <a:gd name="connsiteX0" fmla="*/ 0 w 7971422"/>
              <a:gd name="connsiteY0" fmla="*/ 1301816 h 6645336"/>
              <a:gd name="connsiteX1" fmla="*/ 7971347 w 7971422"/>
              <a:gd name="connsiteY1" fmla="*/ 0 h 6645336"/>
              <a:gd name="connsiteX2" fmla="*/ 7965616 w 7971422"/>
              <a:gd name="connsiteY2" fmla="*/ 6645336 h 6645336"/>
              <a:gd name="connsiteX3" fmla="*/ 579722 w 7971422"/>
              <a:gd name="connsiteY3" fmla="*/ 6635115 h 6645336"/>
              <a:gd name="connsiteX4" fmla="*/ 0 w 7971422"/>
              <a:gd name="connsiteY4" fmla="*/ 6055393 h 6645336"/>
              <a:gd name="connsiteX5" fmla="*/ 0 w 7971422"/>
              <a:gd name="connsiteY5" fmla="*/ 1301816 h 6645336"/>
              <a:gd name="connsiteX0" fmla="*/ 0 w 7965616"/>
              <a:gd name="connsiteY0" fmla="*/ 1653 h 5345173"/>
              <a:gd name="connsiteX1" fmla="*/ 7957060 w 7965616"/>
              <a:gd name="connsiteY1" fmla="*/ 0 h 5345173"/>
              <a:gd name="connsiteX2" fmla="*/ 7965616 w 7965616"/>
              <a:gd name="connsiteY2" fmla="*/ 5345173 h 5345173"/>
              <a:gd name="connsiteX3" fmla="*/ 579722 w 7965616"/>
              <a:gd name="connsiteY3" fmla="*/ 5334952 h 5345173"/>
              <a:gd name="connsiteX4" fmla="*/ 0 w 7965616"/>
              <a:gd name="connsiteY4" fmla="*/ 4755230 h 5345173"/>
              <a:gd name="connsiteX5" fmla="*/ 0 w 7965616"/>
              <a:gd name="connsiteY5" fmla="*/ 1653 h 5345173"/>
              <a:gd name="connsiteX0" fmla="*/ 0 w 7971422"/>
              <a:gd name="connsiteY0" fmla="*/ 1653 h 5345173"/>
              <a:gd name="connsiteX1" fmla="*/ 7971347 w 7971422"/>
              <a:gd name="connsiteY1" fmla="*/ 0 h 5345173"/>
              <a:gd name="connsiteX2" fmla="*/ 7965616 w 7971422"/>
              <a:gd name="connsiteY2" fmla="*/ 5345173 h 5345173"/>
              <a:gd name="connsiteX3" fmla="*/ 579722 w 7971422"/>
              <a:gd name="connsiteY3" fmla="*/ 5334952 h 5345173"/>
              <a:gd name="connsiteX4" fmla="*/ 0 w 7971422"/>
              <a:gd name="connsiteY4" fmla="*/ 4755230 h 5345173"/>
              <a:gd name="connsiteX5" fmla="*/ 0 w 7971422"/>
              <a:gd name="connsiteY5" fmla="*/ 1653 h 5345173"/>
              <a:gd name="connsiteX0" fmla="*/ 0 w 7988356"/>
              <a:gd name="connsiteY0" fmla="*/ 187920 h 5345173"/>
              <a:gd name="connsiteX1" fmla="*/ 7988281 w 7988356"/>
              <a:gd name="connsiteY1" fmla="*/ 0 h 5345173"/>
              <a:gd name="connsiteX2" fmla="*/ 7982550 w 7988356"/>
              <a:gd name="connsiteY2" fmla="*/ 5345173 h 5345173"/>
              <a:gd name="connsiteX3" fmla="*/ 596656 w 7988356"/>
              <a:gd name="connsiteY3" fmla="*/ 5334952 h 5345173"/>
              <a:gd name="connsiteX4" fmla="*/ 16934 w 7988356"/>
              <a:gd name="connsiteY4" fmla="*/ 4755230 h 5345173"/>
              <a:gd name="connsiteX5" fmla="*/ 0 w 7988356"/>
              <a:gd name="connsiteY5" fmla="*/ 187920 h 5345173"/>
              <a:gd name="connsiteX0" fmla="*/ 0 w 7988356"/>
              <a:gd name="connsiteY0" fmla="*/ 210145 h 5345173"/>
              <a:gd name="connsiteX1" fmla="*/ 7988281 w 7988356"/>
              <a:gd name="connsiteY1" fmla="*/ 0 h 5345173"/>
              <a:gd name="connsiteX2" fmla="*/ 7982550 w 7988356"/>
              <a:gd name="connsiteY2" fmla="*/ 5345173 h 5345173"/>
              <a:gd name="connsiteX3" fmla="*/ 596656 w 7988356"/>
              <a:gd name="connsiteY3" fmla="*/ 5334952 h 5345173"/>
              <a:gd name="connsiteX4" fmla="*/ 16934 w 7988356"/>
              <a:gd name="connsiteY4" fmla="*/ 4755230 h 5345173"/>
              <a:gd name="connsiteX5" fmla="*/ 0 w 7988356"/>
              <a:gd name="connsiteY5" fmla="*/ 210145 h 5345173"/>
              <a:gd name="connsiteX0" fmla="*/ 0 w 7988356"/>
              <a:gd name="connsiteY0" fmla="*/ 0 h 5135028"/>
              <a:gd name="connsiteX1" fmla="*/ 7988281 w 7988356"/>
              <a:gd name="connsiteY1" fmla="*/ 7569 h 5135028"/>
              <a:gd name="connsiteX2" fmla="*/ 7982550 w 7988356"/>
              <a:gd name="connsiteY2" fmla="*/ 5135028 h 5135028"/>
              <a:gd name="connsiteX3" fmla="*/ 596656 w 7988356"/>
              <a:gd name="connsiteY3" fmla="*/ 5124807 h 5135028"/>
              <a:gd name="connsiteX4" fmla="*/ 16934 w 7988356"/>
              <a:gd name="connsiteY4" fmla="*/ 4545085 h 5135028"/>
              <a:gd name="connsiteX5" fmla="*/ 0 w 7988356"/>
              <a:gd name="connsiteY5" fmla="*/ 0 h 5135028"/>
              <a:gd name="connsiteX0" fmla="*/ 0 w 7982550"/>
              <a:gd name="connsiteY0" fmla="*/ 0 h 5135028"/>
              <a:gd name="connsiteX1" fmla="*/ 6028853 w 7982550"/>
              <a:gd name="connsiteY1" fmla="*/ 7569 h 5135028"/>
              <a:gd name="connsiteX2" fmla="*/ 7982550 w 7982550"/>
              <a:gd name="connsiteY2" fmla="*/ 5135028 h 5135028"/>
              <a:gd name="connsiteX3" fmla="*/ 596656 w 7982550"/>
              <a:gd name="connsiteY3" fmla="*/ 5124807 h 5135028"/>
              <a:gd name="connsiteX4" fmla="*/ 16934 w 7982550"/>
              <a:gd name="connsiteY4" fmla="*/ 4545085 h 5135028"/>
              <a:gd name="connsiteX5" fmla="*/ 0 w 7982550"/>
              <a:gd name="connsiteY5" fmla="*/ 0 h 5135028"/>
              <a:gd name="connsiteX0" fmla="*/ 0 w 6037636"/>
              <a:gd name="connsiteY0" fmla="*/ 0 h 5135028"/>
              <a:gd name="connsiteX1" fmla="*/ 6028853 w 6037636"/>
              <a:gd name="connsiteY1" fmla="*/ 7569 h 5135028"/>
              <a:gd name="connsiteX2" fmla="*/ 6037636 w 6037636"/>
              <a:gd name="connsiteY2" fmla="*/ 5135028 h 5135028"/>
              <a:gd name="connsiteX3" fmla="*/ 596656 w 6037636"/>
              <a:gd name="connsiteY3" fmla="*/ 5124807 h 5135028"/>
              <a:gd name="connsiteX4" fmla="*/ 16934 w 6037636"/>
              <a:gd name="connsiteY4" fmla="*/ 4545085 h 5135028"/>
              <a:gd name="connsiteX5" fmla="*/ 0 w 6037636"/>
              <a:gd name="connsiteY5" fmla="*/ 0 h 5135028"/>
              <a:gd name="connsiteX0" fmla="*/ 0 w 6028853"/>
              <a:gd name="connsiteY0" fmla="*/ 0 h 5124807"/>
              <a:gd name="connsiteX1" fmla="*/ 6028853 w 6028853"/>
              <a:gd name="connsiteY1" fmla="*/ 7569 h 5124807"/>
              <a:gd name="connsiteX2" fmla="*/ 4063693 w 6028853"/>
              <a:gd name="connsiteY2" fmla="*/ 5105999 h 5124807"/>
              <a:gd name="connsiteX3" fmla="*/ 596656 w 6028853"/>
              <a:gd name="connsiteY3" fmla="*/ 5124807 h 5124807"/>
              <a:gd name="connsiteX4" fmla="*/ 16934 w 6028853"/>
              <a:gd name="connsiteY4" fmla="*/ 4545085 h 5124807"/>
              <a:gd name="connsiteX5" fmla="*/ 0 w 6028853"/>
              <a:gd name="connsiteY5" fmla="*/ 0 h 5124807"/>
              <a:gd name="connsiteX0" fmla="*/ 0 w 4069500"/>
              <a:gd name="connsiteY0" fmla="*/ 0 h 5124807"/>
              <a:gd name="connsiteX1" fmla="*/ 4069425 w 4069500"/>
              <a:gd name="connsiteY1" fmla="*/ 7569 h 5124807"/>
              <a:gd name="connsiteX2" fmla="*/ 4063693 w 4069500"/>
              <a:gd name="connsiteY2" fmla="*/ 5105999 h 5124807"/>
              <a:gd name="connsiteX3" fmla="*/ 596656 w 4069500"/>
              <a:gd name="connsiteY3" fmla="*/ 5124807 h 5124807"/>
              <a:gd name="connsiteX4" fmla="*/ 16934 w 4069500"/>
              <a:gd name="connsiteY4" fmla="*/ 4545085 h 5124807"/>
              <a:gd name="connsiteX5" fmla="*/ 0 w 4069500"/>
              <a:gd name="connsiteY5" fmla="*/ 0 h 5124807"/>
              <a:gd name="connsiteX0" fmla="*/ 0 w 4069500"/>
              <a:gd name="connsiteY0" fmla="*/ 6946 h 5131753"/>
              <a:gd name="connsiteX1" fmla="*/ 4069425 w 4069500"/>
              <a:gd name="connsiteY1" fmla="*/ 0 h 5131753"/>
              <a:gd name="connsiteX2" fmla="*/ 4063693 w 4069500"/>
              <a:gd name="connsiteY2" fmla="*/ 5112945 h 5131753"/>
              <a:gd name="connsiteX3" fmla="*/ 596656 w 4069500"/>
              <a:gd name="connsiteY3" fmla="*/ 5131753 h 5131753"/>
              <a:gd name="connsiteX4" fmla="*/ 16934 w 4069500"/>
              <a:gd name="connsiteY4" fmla="*/ 4552031 h 5131753"/>
              <a:gd name="connsiteX5" fmla="*/ 0 w 4069500"/>
              <a:gd name="connsiteY5" fmla="*/ 6946 h 51317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069500" h="5131753">
                <a:moveTo>
                  <a:pt x="0" y="6946"/>
                </a:moveTo>
                <a:lnTo>
                  <a:pt x="4069425" y="0"/>
                </a:lnTo>
                <a:cubicBezTo>
                  <a:pt x="4070330" y="2146807"/>
                  <a:pt x="4062788" y="2966138"/>
                  <a:pt x="4063693" y="5112945"/>
                </a:cubicBezTo>
                <a:lnTo>
                  <a:pt x="596656" y="5131753"/>
                </a:lnTo>
                <a:cubicBezTo>
                  <a:pt x="276484" y="5131753"/>
                  <a:pt x="16934" y="4872203"/>
                  <a:pt x="16934" y="4552031"/>
                </a:cubicBezTo>
                <a:cubicBezTo>
                  <a:pt x="11289" y="3029594"/>
                  <a:pt x="5645" y="1529383"/>
                  <a:pt x="0" y="6946"/>
                </a:cubicBezTo>
                <a:close/>
              </a:path>
            </a:pathLst>
          </a:custGeom>
          <a:noFill/>
        </p:spPr>
        <p:txBody>
          <a:bodyPr>
            <a:normAutofit/>
          </a:bodyPr>
          <a:lstStyle>
            <a:lvl1pPr marL="0" indent="0">
              <a:buNone/>
              <a:defRPr sz="1400">
                <a:solidFill>
                  <a:schemeClr val="tx1"/>
                </a:solidFill>
              </a:defRPr>
            </a:lvl1pPr>
          </a:lstStyle>
          <a:p>
            <a:r>
              <a:rPr lang="en-JP"/>
              <a:t>Insert Photo</a:t>
            </a:r>
          </a:p>
        </p:txBody>
      </p:sp>
      <p:pic>
        <p:nvPicPr>
          <p:cNvPr id="14" name="Picture 13" descr="Takeda">
            <a:extLst>
              <a:ext uri="{FF2B5EF4-FFF2-40B4-BE49-F238E27FC236}">
                <a16:creationId xmlns:a16="http://schemas.microsoft.com/office/drawing/2014/main" id="{334C6D4B-D00D-0346-BC97-8DCE371C280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46331" y="-1615"/>
            <a:ext cx="1696232" cy="940780"/>
          </a:xfrm>
          <a:prstGeom prst="rect">
            <a:avLst/>
          </a:prstGeom>
        </p:spPr>
      </p:pic>
      <p:sp>
        <p:nvSpPr>
          <p:cNvPr id="17" name="タイトル プレースホルダ 1">
            <a:extLst>
              <a:ext uri="{FF2B5EF4-FFF2-40B4-BE49-F238E27FC236}">
                <a16:creationId xmlns:a16="http://schemas.microsoft.com/office/drawing/2014/main" id="{CCEDFD04-9A53-9241-851E-1D01DC555ACC}"/>
              </a:ext>
            </a:extLst>
          </p:cNvPr>
          <p:cNvSpPr>
            <a:spLocks noGrp="1"/>
          </p:cNvSpPr>
          <p:nvPr>
            <p:ph type="title" hasCustomPrompt="1"/>
          </p:nvPr>
        </p:nvSpPr>
        <p:spPr>
          <a:xfrm>
            <a:off x="606078" y="161605"/>
            <a:ext cx="9940253" cy="685801"/>
          </a:xfrm>
          <a:prstGeom prst="rect">
            <a:avLst/>
          </a:prstGeom>
        </p:spPr>
        <p:txBody>
          <a:bodyPr vert="horz" lIns="0" tIns="0" rIns="0" bIns="0" rtlCol="0" anchor="ctr">
            <a:normAutofit/>
          </a:bodyPr>
          <a:lstStyle/>
          <a:p>
            <a:r>
              <a:rPr kumimoji="1" lang="en-US" altLang="ja-JP"/>
              <a:t>Click to add title</a:t>
            </a:r>
            <a:endParaRPr kumimoji="1" lang="ja-JP" altLang="en-US"/>
          </a:p>
        </p:txBody>
      </p:sp>
      <p:sp>
        <p:nvSpPr>
          <p:cNvPr id="20" name="Footer Placeholder 8">
            <a:extLst>
              <a:ext uri="{FF2B5EF4-FFF2-40B4-BE49-F238E27FC236}">
                <a16:creationId xmlns:a16="http://schemas.microsoft.com/office/drawing/2014/main" id="{1E1D8887-7EAE-1A40-9285-7C632FEAA8BF}"/>
              </a:ext>
            </a:extLst>
          </p:cNvPr>
          <p:cNvSpPr>
            <a:spLocks noGrp="1"/>
          </p:cNvSpPr>
          <p:nvPr>
            <p:ph type="ftr" sz="quarter" idx="3"/>
          </p:nvPr>
        </p:nvSpPr>
        <p:spPr>
          <a:xfrm>
            <a:off x="7766050" y="6523001"/>
            <a:ext cx="4114800" cy="196131"/>
          </a:xfrm>
          <a:prstGeom prst="rect">
            <a:avLst/>
          </a:prstGeom>
        </p:spPr>
        <p:txBody>
          <a:bodyPr vert="horz" lIns="91440" tIns="45720" rIns="0" bIns="45720" rtlCol="0" anchor="ctr"/>
          <a:lstStyle>
            <a:lvl1pPr algn="r">
              <a:defRPr sz="800" b="1" spc="100" baseline="0">
                <a:solidFill>
                  <a:schemeClr val="tx1"/>
                </a:solidFill>
              </a:defRPr>
            </a:lvl1pPr>
          </a:lstStyle>
          <a:p>
            <a:r>
              <a:rPr lang="en-JP"/>
              <a:t> </a:t>
            </a:r>
          </a:p>
        </p:txBody>
      </p:sp>
      <p:sp>
        <p:nvSpPr>
          <p:cNvPr id="23" name="Rectangle 22">
            <a:extLst>
              <a:ext uri="{FF2B5EF4-FFF2-40B4-BE49-F238E27FC236}">
                <a16:creationId xmlns:a16="http://schemas.microsoft.com/office/drawing/2014/main" id="{365B3EBD-E4F5-8E40-B07A-C04F3B1E7F2C}"/>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a:solidFill>
                <a:schemeClr val="accent1"/>
              </a:solidFill>
            </a:endParaRPr>
          </a:p>
        </p:txBody>
      </p:sp>
      <p:sp>
        <p:nvSpPr>
          <p:cNvPr id="26" name="スライド番号プレースホルダ 5">
            <a:extLst>
              <a:ext uri="{FF2B5EF4-FFF2-40B4-BE49-F238E27FC236}">
                <a16:creationId xmlns:a16="http://schemas.microsoft.com/office/drawing/2014/main" id="{3D5D14EF-A351-224D-8142-E1BEE44BBC99}"/>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7" name="Text Placeholder 6">
            <a:extLst>
              <a:ext uri="{FF2B5EF4-FFF2-40B4-BE49-F238E27FC236}">
                <a16:creationId xmlns:a16="http://schemas.microsoft.com/office/drawing/2014/main" id="{4D0A49B6-0BCC-C545-BF97-504B63062FEC}"/>
              </a:ext>
            </a:extLst>
          </p:cNvPr>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Private and confidential. For internal use only.</a:t>
            </a:r>
          </a:p>
        </p:txBody>
      </p:sp>
      <p:sp>
        <p:nvSpPr>
          <p:cNvPr id="15" name="Text Placeholder 2">
            <a:extLst>
              <a:ext uri="{FF2B5EF4-FFF2-40B4-BE49-F238E27FC236}">
                <a16:creationId xmlns:a16="http://schemas.microsoft.com/office/drawing/2014/main" id="{D82FCE78-36AB-904B-98A8-CE3FFB1555E3}"/>
              </a:ext>
            </a:extLst>
          </p:cNvPr>
          <p:cNvSpPr>
            <a:spLocks noGrp="1"/>
          </p:cNvSpPr>
          <p:nvPr>
            <p:ph type="body" sz="quarter" idx="20" hasCustomPrompt="1"/>
          </p:nvPr>
        </p:nvSpPr>
        <p:spPr>
          <a:xfrm>
            <a:off x="311150" y="1491373"/>
            <a:ext cx="7660041" cy="1464957"/>
          </a:xfrm>
        </p:spPr>
        <p:txBody>
          <a:bodyPr tIns="0" rIns="0" bIns="0" numCol="1" spcCol="126000">
            <a:noAutofit/>
          </a:bodyPr>
          <a:lstStyle>
            <a:lvl1pPr marL="0" indent="0">
              <a:lnSpc>
                <a:spcPct val="100000"/>
              </a:lnSpc>
              <a:spcBef>
                <a:spcPts val="0"/>
              </a:spcBef>
              <a:buNone/>
              <a:defRPr sz="1600" b="1"/>
            </a:lvl1pPr>
            <a:lvl2pPr marL="457068" indent="0">
              <a:buNone/>
              <a:defRPr sz="1800" b="1"/>
            </a:lvl2pPr>
            <a:lvl3pPr marL="914149" indent="0">
              <a:buNone/>
              <a:defRPr sz="1800" b="1"/>
            </a:lvl3pPr>
            <a:lvl4pPr marL="1371219" indent="0">
              <a:buNone/>
              <a:defRPr sz="1800" b="1"/>
            </a:lvl4pPr>
            <a:lvl5pPr marL="1828290" indent="0">
              <a:buNone/>
              <a:defRPr sz="1800" b="1"/>
            </a:lvl5pPr>
          </a:lstStyle>
          <a:p>
            <a:pPr lvl="0"/>
            <a:r>
              <a:rPr lang="en-US"/>
              <a:t>This is your Primary Text.</a:t>
            </a:r>
            <a:endParaRPr lang="en-JP"/>
          </a:p>
        </p:txBody>
      </p:sp>
      <p:sp>
        <p:nvSpPr>
          <p:cNvPr id="18" name="Text Placeholder 6">
            <a:extLst>
              <a:ext uri="{FF2B5EF4-FFF2-40B4-BE49-F238E27FC236}">
                <a16:creationId xmlns:a16="http://schemas.microsoft.com/office/drawing/2014/main" id="{72ECF95F-F25E-8248-A0F3-BB1749A1B406}"/>
              </a:ext>
            </a:extLst>
          </p:cNvPr>
          <p:cNvSpPr>
            <a:spLocks noGrp="1"/>
          </p:cNvSpPr>
          <p:nvPr>
            <p:ph type="body" sz="quarter" idx="21" hasCustomPrompt="1"/>
          </p:nvPr>
        </p:nvSpPr>
        <p:spPr>
          <a:xfrm>
            <a:off x="311149" y="1093767"/>
            <a:ext cx="7660041" cy="272786"/>
          </a:xfrm>
        </p:spPr>
        <p:txBody>
          <a:bodyPr tIns="0" rIns="0" bIns="0" numCol="1">
            <a:noAutofit/>
          </a:bodyPr>
          <a:lstStyle>
            <a:lvl1pPr marL="0" indent="0">
              <a:lnSpc>
                <a:spcPct val="100000"/>
              </a:lnSpc>
              <a:spcBef>
                <a:spcPts val="0"/>
              </a:spcBef>
              <a:spcAft>
                <a:spcPts val="600"/>
              </a:spcAft>
              <a:buNone/>
              <a:defRPr sz="20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Primary Title</a:t>
            </a:r>
          </a:p>
        </p:txBody>
      </p:sp>
    </p:spTree>
    <p:extLst>
      <p:ext uri="{BB962C8B-B14F-4D97-AF65-F5344CB8AC3E}">
        <p14:creationId xmlns:p14="http://schemas.microsoft.com/office/powerpoint/2010/main" val="3940113417"/>
      </p:ext>
    </p:extLst>
  </p:cSld>
  <p:clrMapOvr>
    <a:masterClrMapping/>
  </p:clrMapOvr>
  <p:transition spd="slow">
    <p:push dir="u"/>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Advanced 1/3 Image (Full Bleed)">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65925D82-457F-D84D-B8DF-D8ADFD7E71DF}"/>
              </a:ext>
            </a:extLst>
          </p:cNvPr>
          <p:cNvSpPr>
            <a:spLocks noGrp="1"/>
          </p:cNvSpPr>
          <p:nvPr>
            <p:ph type="body" sz="quarter" idx="14" hasCustomPrompt="1"/>
          </p:nvPr>
        </p:nvSpPr>
        <p:spPr>
          <a:xfrm>
            <a:off x="311150" y="3178298"/>
            <a:ext cx="5708650" cy="272786"/>
          </a:xfrm>
          <a:prstGeom prst="rect">
            <a:avLst/>
          </a:prstGeom>
        </p:spPr>
        <p:txBody>
          <a:bodyPr tIns="0" rIns="0" bIns="0" numCol="1">
            <a:noAutofit/>
          </a:bodyPr>
          <a:lstStyle>
            <a:lvl1pPr marL="0" indent="0">
              <a:lnSpc>
                <a:spcPct val="100000"/>
              </a:lnSpc>
              <a:spcBef>
                <a:spcPts val="0"/>
              </a:spcBef>
              <a:spcAft>
                <a:spcPts val="600"/>
              </a:spcAft>
              <a:buNone/>
              <a:defRPr sz="18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Secondary Title</a:t>
            </a:r>
          </a:p>
        </p:txBody>
      </p:sp>
      <p:sp>
        <p:nvSpPr>
          <p:cNvPr id="12" name="Text Placeholder 6">
            <a:extLst>
              <a:ext uri="{FF2B5EF4-FFF2-40B4-BE49-F238E27FC236}">
                <a16:creationId xmlns:a16="http://schemas.microsoft.com/office/drawing/2014/main" id="{FD2406EE-A554-5348-AE6D-4D8B343E6201}"/>
              </a:ext>
            </a:extLst>
          </p:cNvPr>
          <p:cNvSpPr>
            <a:spLocks noGrp="1"/>
          </p:cNvSpPr>
          <p:nvPr>
            <p:ph type="body" sz="quarter" idx="15" hasCustomPrompt="1"/>
          </p:nvPr>
        </p:nvSpPr>
        <p:spPr>
          <a:xfrm>
            <a:off x="311149" y="3575904"/>
            <a:ext cx="7663807" cy="2859621"/>
          </a:xfrm>
          <a:prstGeom prst="rect">
            <a:avLst/>
          </a:prstGeom>
        </p:spPr>
        <p:txBody>
          <a:bodyPr tIns="0" rIns="0" bIns="0" numCol="2" spcCol="126000">
            <a:noAutofit/>
          </a:bodyPr>
          <a:lstStyle>
            <a:lvl1pPr marL="171450" indent="-171450">
              <a:lnSpc>
                <a:spcPct val="100000"/>
              </a:lnSpc>
              <a:spcBef>
                <a:spcPts val="0"/>
              </a:spcBef>
              <a:spcAft>
                <a:spcPts val="600"/>
              </a:spcAft>
              <a:buFont typeface="Arial" panose="020B0604020202020204" pitchFamily="34" charset="0"/>
              <a:buChar char="•"/>
              <a:defRPr sz="1400" b="0">
                <a:solidFill>
                  <a:schemeClr val="tx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Secondary text.</a:t>
            </a:r>
          </a:p>
        </p:txBody>
      </p:sp>
      <p:sp>
        <p:nvSpPr>
          <p:cNvPr id="11" name="Picture Placeholder 9">
            <a:extLst>
              <a:ext uri="{FF2B5EF4-FFF2-40B4-BE49-F238E27FC236}">
                <a16:creationId xmlns:a16="http://schemas.microsoft.com/office/drawing/2014/main" id="{B54C5EE8-C42D-B549-B4D4-C0F00D68A42B}"/>
              </a:ext>
            </a:extLst>
          </p:cNvPr>
          <p:cNvSpPr>
            <a:spLocks noGrp="1"/>
          </p:cNvSpPr>
          <p:nvPr>
            <p:ph type="pic" sz="quarter" idx="18" hasCustomPrompt="1"/>
          </p:nvPr>
        </p:nvSpPr>
        <p:spPr>
          <a:xfrm>
            <a:off x="8123708" y="-1378"/>
            <a:ext cx="4076946" cy="6860842"/>
          </a:xfrm>
          <a:custGeom>
            <a:avLst/>
            <a:gdLst>
              <a:gd name="connsiteX0" fmla="*/ 0 w 10888662"/>
              <a:gd name="connsiteY0" fmla="*/ 579722 h 6442075"/>
              <a:gd name="connsiteX1" fmla="*/ 579722 w 10888662"/>
              <a:gd name="connsiteY1" fmla="*/ 0 h 6442075"/>
              <a:gd name="connsiteX2" fmla="*/ 10308940 w 10888662"/>
              <a:gd name="connsiteY2" fmla="*/ 0 h 6442075"/>
              <a:gd name="connsiteX3" fmla="*/ 10888662 w 10888662"/>
              <a:gd name="connsiteY3" fmla="*/ 579722 h 6442075"/>
              <a:gd name="connsiteX4" fmla="*/ 10888662 w 10888662"/>
              <a:gd name="connsiteY4" fmla="*/ 5862353 h 6442075"/>
              <a:gd name="connsiteX5" fmla="*/ 10308940 w 10888662"/>
              <a:gd name="connsiteY5" fmla="*/ 6442075 h 6442075"/>
              <a:gd name="connsiteX6" fmla="*/ 579722 w 10888662"/>
              <a:gd name="connsiteY6" fmla="*/ 6442075 h 6442075"/>
              <a:gd name="connsiteX7" fmla="*/ 0 w 10888662"/>
              <a:gd name="connsiteY7" fmla="*/ 5862353 h 6442075"/>
              <a:gd name="connsiteX8" fmla="*/ 0 w 10888662"/>
              <a:gd name="connsiteY8" fmla="*/ 579722 h 6442075"/>
              <a:gd name="connsiteX0" fmla="*/ 0 w 10888662"/>
              <a:gd name="connsiteY0" fmla="*/ 659657 h 6522010"/>
              <a:gd name="connsiteX1" fmla="*/ 10308940 w 10888662"/>
              <a:gd name="connsiteY1" fmla="*/ 79935 h 6522010"/>
              <a:gd name="connsiteX2" fmla="*/ 10888662 w 10888662"/>
              <a:gd name="connsiteY2" fmla="*/ 659657 h 6522010"/>
              <a:gd name="connsiteX3" fmla="*/ 10888662 w 10888662"/>
              <a:gd name="connsiteY3" fmla="*/ 5942288 h 6522010"/>
              <a:gd name="connsiteX4" fmla="*/ 10308940 w 10888662"/>
              <a:gd name="connsiteY4" fmla="*/ 6522010 h 6522010"/>
              <a:gd name="connsiteX5" fmla="*/ 579722 w 10888662"/>
              <a:gd name="connsiteY5" fmla="*/ 6522010 h 6522010"/>
              <a:gd name="connsiteX6" fmla="*/ 0 w 10888662"/>
              <a:gd name="connsiteY6" fmla="*/ 5942288 h 6522010"/>
              <a:gd name="connsiteX7" fmla="*/ 0 w 10888662"/>
              <a:gd name="connsiteY7" fmla="*/ 659657 h 6522010"/>
              <a:gd name="connsiteX0" fmla="*/ 0 w 10888662"/>
              <a:gd name="connsiteY0" fmla="*/ 579722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579722 h 6442075"/>
              <a:gd name="connsiteX0" fmla="*/ 0 w 10888662"/>
              <a:gd name="connsiteY0" fmla="*/ 129257 h 6569679"/>
              <a:gd name="connsiteX1" fmla="*/ 10308940 w 10888662"/>
              <a:gd name="connsiteY1" fmla="*/ 127604 h 6569679"/>
              <a:gd name="connsiteX2" fmla="*/ 10888662 w 10888662"/>
              <a:gd name="connsiteY2" fmla="*/ 707326 h 6569679"/>
              <a:gd name="connsiteX3" fmla="*/ 10888662 w 10888662"/>
              <a:gd name="connsiteY3" fmla="*/ 5989957 h 6569679"/>
              <a:gd name="connsiteX4" fmla="*/ 10308940 w 10888662"/>
              <a:gd name="connsiteY4" fmla="*/ 6569679 h 6569679"/>
              <a:gd name="connsiteX5" fmla="*/ 579722 w 10888662"/>
              <a:gd name="connsiteY5" fmla="*/ 6569679 h 6569679"/>
              <a:gd name="connsiteX6" fmla="*/ 0 w 10888662"/>
              <a:gd name="connsiteY6" fmla="*/ 5989957 h 6569679"/>
              <a:gd name="connsiteX7" fmla="*/ 0 w 10888662"/>
              <a:gd name="connsiteY7" fmla="*/ 129257 h 6569679"/>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9657299 w 10888662"/>
              <a:gd name="connsiteY4" fmla="*/ 55276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522010"/>
              <a:gd name="connsiteX1" fmla="*/ 10308940 w 10888662"/>
              <a:gd name="connsiteY1" fmla="*/ 0 h 6522010"/>
              <a:gd name="connsiteX2" fmla="*/ 10888662 w 10888662"/>
              <a:gd name="connsiteY2" fmla="*/ 579722 h 6522010"/>
              <a:gd name="connsiteX3" fmla="*/ 10888662 w 10888662"/>
              <a:gd name="connsiteY3" fmla="*/ 5862353 h 6522010"/>
              <a:gd name="connsiteX4" fmla="*/ 579722 w 10888662"/>
              <a:gd name="connsiteY4" fmla="*/ 6442075 h 6522010"/>
              <a:gd name="connsiteX5" fmla="*/ 0 w 10888662"/>
              <a:gd name="connsiteY5" fmla="*/ 5862353 h 6522010"/>
              <a:gd name="connsiteX6" fmla="*/ 0 w 10888662"/>
              <a:gd name="connsiteY6" fmla="*/ 1653 h 6522010"/>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579722 w 10888662"/>
              <a:gd name="connsiteY4" fmla="*/ 6442075 h 6442075"/>
              <a:gd name="connsiteX5" fmla="*/ 0 w 10888662"/>
              <a:gd name="connsiteY5" fmla="*/ 5862353 h 6442075"/>
              <a:gd name="connsiteX6" fmla="*/ 0 w 10888662"/>
              <a:gd name="connsiteY6" fmla="*/ 1653 h 6442075"/>
              <a:gd name="connsiteX0" fmla="*/ 0 w 10888662"/>
              <a:gd name="connsiteY0" fmla="*/ 1653 h 6585432"/>
              <a:gd name="connsiteX1" fmla="*/ 10308940 w 10888662"/>
              <a:gd name="connsiteY1" fmla="*/ 0 h 6585432"/>
              <a:gd name="connsiteX2" fmla="*/ 10888662 w 10888662"/>
              <a:gd name="connsiteY2" fmla="*/ 579722 h 6585432"/>
              <a:gd name="connsiteX3" fmla="*/ 10878151 w 10888662"/>
              <a:gd name="connsiteY3" fmla="*/ 6461442 h 6585432"/>
              <a:gd name="connsiteX4" fmla="*/ 579722 w 10888662"/>
              <a:gd name="connsiteY4" fmla="*/ 6442075 h 6585432"/>
              <a:gd name="connsiteX5" fmla="*/ 0 w 10888662"/>
              <a:gd name="connsiteY5" fmla="*/ 5862353 h 6585432"/>
              <a:gd name="connsiteX6" fmla="*/ 0 w 10888662"/>
              <a:gd name="connsiteY6" fmla="*/ 1653 h 6585432"/>
              <a:gd name="connsiteX0" fmla="*/ 0 w 10888662"/>
              <a:gd name="connsiteY0" fmla="*/ 1653 h 6577502"/>
              <a:gd name="connsiteX1" fmla="*/ 10308940 w 10888662"/>
              <a:gd name="connsiteY1" fmla="*/ 0 h 6577502"/>
              <a:gd name="connsiteX2" fmla="*/ 10888662 w 10888662"/>
              <a:gd name="connsiteY2" fmla="*/ 579722 h 6577502"/>
              <a:gd name="connsiteX3" fmla="*/ 10878151 w 10888662"/>
              <a:gd name="connsiteY3" fmla="*/ 6450932 h 6577502"/>
              <a:gd name="connsiteX4" fmla="*/ 579722 w 10888662"/>
              <a:gd name="connsiteY4" fmla="*/ 6442075 h 6577502"/>
              <a:gd name="connsiteX5" fmla="*/ 0 w 10888662"/>
              <a:gd name="connsiteY5" fmla="*/ 5862353 h 6577502"/>
              <a:gd name="connsiteX6" fmla="*/ 0 w 10888662"/>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0888662"/>
              <a:gd name="connsiteY0" fmla="*/ 1653 h 6450932"/>
              <a:gd name="connsiteX1" fmla="*/ 10308940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0999550"/>
              <a:gd name="connsiteY0" fmla="*/ 1653 h 6450932"/>
              <a:gd name="connsiteX1" fmla="*/ 10844968 w 10999550"/>
              <a:gd name="connsiteY1" fmla="*/ 0 h 6450932"/>
              <a:gd name="connsiteX2" fmla="*/ 10888662 w 10999550"/>
              <a:gd name="connsiteY2" fmla="*/ 579722 h 6450932"/>
              <a:gd name="connsiteX3" fmla="*/ 10878151 w 10999550"/>
              <a:gd name="connsiteY3" fmla="*/ 6450932 h 6450932"/>
              <a:gd name="connsiteX4" fmla="*/ 579722 w 10999550"/>
              <a:gd name="connsiteY4" fmla="*/ 6442075 h 6450932"/>
              <a:gd name="connsiteX5" fmla="*/ 0 w 10999550"/>
              <a:gd name="connsiteY5" fmla="*/ 5862353 h 6450932"/>
              <a:gd name="connsiteX6" fmla="*/ 0 w 10999550"/>
              <a:gd name="connsiteY6" fmla="*/ 1653 h 6450932"/>
              <a:gd name="connsiteX0" fmla="*/ 0 w 11022020"/>
              <a:gd name="connsiteY0" fmla="*/ 1653 h 6450932"/>
              <a:gd name="connsiteX1" fmla="*/ 10876499 w 11022020"/>
              <a:gd name="connsiteY1" fmla="*/ 0 h 6450932"/>
              <a:gd name="connsiteX2" fmla="*/ 10888662 w 11022020"/>
              <a:gd name="connsiteY2" fmla="*/ 579722 h 6450932"/>
              <a:gd name="connsiteX3" fmla="*/ 10878151 w 11022020"/>
              <a:gd name="connsiteY3" fmla="*/ 6450932 h 6450932"/>
              <a:gd name="connsiteX4" fmla="*/ 579722 w 11022020"/>
              <a:gd name="connsiteY4" fmla="*/ 6442075 h 6450932"/>
              <a:gd name="connsiteX5" fmla="*/ 0 w 11022020"/>
              <a:gd name="connsiteY5" fmla="*/ 5862353 h 6450932"/>
              <a:gd name="connsiteX6" fmla="*/ 0 w 11022020"/>
              <a:gd name="connsiteY6" fmla="*/ 1653 h 6450932"/>
              <a:gd name="connsiteX0" fmla="*/ 0 w 10888662"/>
              <a:gd name="connsiteY0" fmla="*/ 1653 h 6450932"/>
              <a:gd name="connsiteX1" fmla="*/ 10876499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2200990"/>
              <a:gd name="connsiteY0" fmla="*/ 1653 h 6450932"/>
              <a:gd name="connsiteX1" fmla="*/ 10876499 w 12200990"/>
              <a:gd name="connsiteY1" fmla="*/ 0 h 6450932"/>
              <a:gd name="connsiteX2" fmla="*/ 10878151 w 12200990"/>
              <a:gd name="connsiteY2" fmla="*/ 6450932 h 6450932"/>
              <a:gd name="connsiteX3" fmla="*/ 579722 w 12200990"/>
              <a:gd name="connsiteY3" fmla="*/ 6442075 h 6450932"/>
              <a:gd name="connsiteX4" fmla="*/ 0 w 12200990"/>
              <a:gd name="connsiteY4" fmla="*/ 5862353 h 6450932"/>
              <a:gd name="connsiteX5" fmla="*/ 0 w 12200990"/>
              <a:gd name="connsiteY5" fmla="*/ 1653 h 6450932"/>
              <a:gd name="connsiteX0" fmla="*/ 0 w 11640630"/>
              <a:gd name="connsiteY0" fmla="*/ 1653 h 6450932"/>
              <a:gd name="connsiteX1" fmla="*/ 10876499 w 11640630"/>
              <a:gd name="connsiteY1" fmla="*/ 0 h 6450932"/>
              <a:gd name="connsiteX2" fmla="*/ 10878151 w 11640630"/>
              <a:gd name="connsiteY2" fmla="*/ 6450932 h 6450932"/>
              <a:gd name="connsiteX3" fmla="*/ 579722 w 11640630"/>
              <a:gd name="connsiteY3" fmla="*/ 6442075 h 6450932"/>
              <a:gd name="connsiteX4" fmla="*/ 0 w 11640630"/>
              <a:gd name="connsiteY4" fmla="*/ 5862353 h 6450932"/>
              <a:gd name="connsiteX5" fmla="*/ 0 w 11640630"/>
              <a:gd name="connsiteY5" fmla="*/ 1653 h 6450932"/>
              <a:gd name="connsiteX0" fmla="*/ 0 w 10878151"/>
              <a:gd name="connsiteY0" fmla="*/ 1653 h 6450932"/>
              <a:gd name="connsiteX1" fmla="*/ 10876499 w 10878151"/>
              <a:gd name="connsiteY1" fmla="*/ 0 h 6450932"/>
              <a:gd name="connsiteX2" fmla="*/ 10878151 w 10878151"/>
              <a:gd name="connsiteY2" fmla="*/ 6450932 h 6450932"/>
              <a:gd name="connsiteX3" fmla="*/ 579722 w 10878151"/>
              <a:gd name="connsiteY3" fmla="*/ 6442075 h 6450932"/>
              <a:gd name="connsiteX4" fmla="*/ 0 w 10878151"/>
              <a:gd name="connsiteY4" fmla="*/ 5862353 h 6450932"/>
              <a:gd name="connsiteX5" fmla="*/ 0 w 10878151"/>
              <a:gd name="connsiteY5" fmla="*/ 1653 h 6450932"/>
              <a:gd name="connsiteX0" fmla="*/ 0 w 11843451"/>
              <a:gd name="connsiteY0" fmla="*/ 1653 h 6450932"/>
              <a:gd name="connsiteX1" fmla="*/ 11843451 w 11843451"/>
              <a:gd name="connsiteY1" fmla="*/ 0 h 6450932"/>
              <a:gd name="connsiteX2" fmla="*/ 10878151 w 11843451"/>
              <a:gd name="connsiteY2" fmla="*/ 6450932 h 6450932"/>
              <a:gd name="connsiteX3" fmla="*/ 579722 w 11843451"/>
              <a:gd name="connsiteY3" fmla="*/ 6442075 h 6450932"/>
              <a:gd name="connsiteX4" fmla="*/ 0 w 11843451"/>
              <a:gd name="connsiteY4" fmla="*/ 5862353 h 6450932"/>
              <a:gd name="connsiteX5" fmla="*/ 0 w 11843451"/>
              <a:gd name="connsiteY5" fmla="*/ 1653 h 6450932"/>
              <a:gd name="connsiteX0" fmla="*/ 0 w 11855613"/>
              <a:gd name="connsiteY0" fmla="*/ 1653 h 6450932"/>
              <a:gd name="connsiteX1" fmla="*/ 11843451 w 11855613"/>
              <a:gd name="connsiteY1" fmla="*/ 0 h 6450932"/>
              <a:gd name="connsiteX2" fmla="*/ 11855613 w 11855613"/>
              <a:gd name="connsiteY2" fmla="*/ 6450932 h 6450932"/>
              <a:gd name="connsiteX3" fmla="*/ 579722 w 11855613"/>
              <a:gd name="connsiteY3" fmla="*/ 6442075 h 6450932"/>
              <a:gd name="connsiteX4" fmla="*/ 0 w 11855613"/>
              <a:gd name="connsiteY4" fmla="*/ 5862353 h 6450932"/>
              <a:gd name="connsiteX5" fmla="*/ 0 w 11855613"/>
              <a:gd name="connsiteY5" fmla="*/ 1653 h 6450932"/>
              <a:gd name="connsiteX0" fmla="*/ 0 w 11864472"/>
              <a:gd name="connsiteY0" fmla="*/ 1653 h 6450932"/>
              <a:gd name="connsiteX1" fmla="*/ 11864472 w 11864472"/>
              <a:gd name="connsiteY1" fmla="*/ 0 h 6450932"/>
              <a:gd name="connsiteX2" fmla="*/ 11855613 w 11864472"/>
              <a:gd name="connsiteY2" fmla="*/ 6450932 h 6450932"/>
              <a:gd name="connsiteX3" fmla="*/ 579722 w 11864472"/>
              <a:gd name="connsiteY3" fmla="*/ 6442075 h 6450932"/>
              <a:gd name="connsiteX4" fmla="*/ 0 w 11864472"/>
              <a:gd name="connsiteY4" fmla="*/ 5862353 h 6450932"/>
              <a:gd name="connsiteX5" fmla="*/ 0 w 11864472"/>
              <a:gd name="connsiteY5" fmla="*/ 1653 h 6450932"/>
              <a:gd name="connsiteX0" fmla="*/ 0 w 11864472"/>
              <a:gd name="connsiteY0" fmla="*/ 1653 h 6442075"/>
              <a:gd name="connsiteX1" fmla="*/ 11864472 w 11864472"/>
              <a:gd name="connsiteY1" fmla="*/ 0 h 6442075"/>
              <a:gd name="connsiteX2" fmla="*/ 11855613 w 11864472"/>
              <a:gd name="connsiteY2" fmla="*/ 6440421 h 6442075"/>
              <a:gd name="connsiteX3" fmla="*/ 579722 w 11864472"/>
              <a:gd name="connsiteY3" fmla="*/ 6442075 h 6442075"/>
              <a:gd name="connsiteX4" fmla="*/ 0 w 11864472"/>
              <a:gd name="connsiteY4" fmla="*/ 5862353 h 6442075"/>
              <a:gd name="connsiteX5" fmla="*/ 0 w 11864472"/>
              <a:gd name="connsiteY5" fmla="*/ 1653 h 6442075"/>
              <a:gd name="connsiteX0" fmla="*/ 0 w 11855613"/>
              <a:gd name="connsiteY0" fmla="*/ 1653 h 6442075"/>
              <a:gd name="connsiteX1" fmla="*/ 8912928 w 11855613"/>
              <a:gd name="connsiteY1" fmla="*/ 0 h 6442075"/>
              <a:gd name="connsiteX2" fmla="*/ 11855613 w 11855613"/>
              <a:gd name="connsiteY2" fmla="*/ 6440421 h 6442075"/>
              <a:gd name="connsiteX3" fmla="*/ 579722 w 11855613"/>
              <a:gd name="connsiteY3" fmla="*/ 6442075 h 6442075"/>
              <a:gd name="connsiteX4" fmla="*/ 0 w 11855613"/>
              <a:gd name="connsiteY4" fmla="*/ 5862353 h 6442075"/>
              <a:gd name="connsiteX5" fmla="*/ 0 w 11855613"/>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74032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36077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1615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15642"/>
              <a:gd name="connsiteY0" fmla="*/ 1653 h 6442075"/>
              <a:gd name="connsiteX1" fmla="*/ 8912928 w 8915642"/>
              <a:gd name="connsiteY1" fmla="*/ 0 h 6442075"/>
              <a:gd name="connsiteX2" fmla="*/ 8915642 w 8915642"/>
              <a:gd name="connsiteY2" fmla="*/ 6440421 h 6442075"/>
              <a:gd name="connsiteX3" fmla="*/ 579722 w 8915642"/>
              <a:gd name="connsiteY3" fmla="*/ 6442075 h 6442075"/>
              <a:gd name="connsiteX4" fmla="*/ 0 w 8915642"/>
              <a:gd name="connsiteY4" fmla="*/ 5862353 h 6442075"/>
              <a:gd name="connsiteX5" fmla="*/ 0 w 8915642"/>
              <a:gd name="connsiteY5" fmla="*/ 1653 h 6442075"/>
              <a:gd name="connsiteX0" fmla="*/ 0 w 8915642"/>
              <a:gd name="connsiteY0" fmla="*/ 1 h 6633463"/>
              <a:gd name="connsiteX1" fmla="*/ 8912928 w 8915642"/>
              <a:gd name="connsiteY1" fmla="*/ 191388 h 6633463"/>
              <a:gd name="connsiteX2" fmla="*/ 8915642 w 8915642"/>
              <a:gd name="connsiteY2" fmla="*/ 6631809 h 6633463"/>
              <a:gd name="connsiteX3" fmla="*/ 579722 w 8915642"/>
              <a:gd name="connsiteY3" fmla="*/ 6633463 h 6633463"/>
              <a:gd name="connsiteX4" fmla="*/ 0 w 8915642"/>
              <a:gd name="connsiteY4" fmla="*/ 6053741 h 6633463"/>
              <a:gd name="connsiteX5" fmla="*/ 0 w 8915642"/>
              <a:gd name="connsiteY5" fmla="*/ 1 h 6633463"/>
              <a:gd name="connsiteX0" fmla="*/ 0 w 8933278"/>
              <a:gd name="connsiteY0" fmla="*/ 1653 h 6635115"/>
              <a:gd name="connsiteX1" fmla="*/ 8933248 w 8933278"/>
              <a:gd name="connsiteY1" fmla="*/ 0 h 6635115"/>
              <a:gd name="connsiteX2" fmla="*/ 8915642 w 8933278"/>
              <a:gd name="connsiteY2" fmla="*/ 6633461 h 6635115"/>
              <a:gd name="connsiteX3" fmla="*/ 579722 w 8933278"/>
              <a:gd name="connsiteY3" fmla="*/ 6635115 h 6635115"/>
              <a:gd name="connsiteX4" fmla="*/ 0 w 8933278"/>
              <a:gd name="connsiteY4" fmla="*/ 6055393 h 6635115"/>
              <a:gd name="connsiteX5" fmla="*/ 0 w 8933278"/>
              <a:gd name="connsiteY5" fmla="*/ 1653 h 6635115"/>
              <a:gd name="connsiteX0" fmla="*/ 0 w 8933323"/>
              <a:gd name="connsiteY0" fmla="*/ 1653 h 6645336"/>
              <a:gd name="connsiteX1" fmla="*/ 8933248 w 8933323"/>
              <a:gd name="connsiteY1" fmla="*/ 0 h 6645336"/>
              <a:gd name="connsiteX2" fmla="*/ 8927517 w 8933323"/>
              <a:gd name="connsiteY2" fmla="*/ 6645336 h 6645336"/>
              <a:gd name="connsiteX3" fmla="*/ 579722 w 8933323"/>
              <a:gd name="connsiteY3" fmla="*/ 6635115 h 6645336"/>
              <a:gd name="connsiteX4" fmla="*/ 0 w 8933323"/>
              <a:gd name="connsiteY4" fmla="*/ 6055393 h 6645336"/>
              <a:gd name="connsiteX5" fmla="*/ 0 w 8933323"/>
              <a:gd name="connsiteY5" fmla="*/ 1653 h 6645336"/>
              <a:gd name="connsiteX0" fmla="*/ 0 w 8927517"/>
              <a:gd name="connsiteY0" fmla="*/ 1653 h 6645336"/>
              <a:gd name="connsiteX1" fmla="*/ 7971347 w 8927517"/>
              <a:gd name="connsiteY1" fmla="*/ 0 h 6645336"/>
              <a:gd name="connsiteX2" fmla="*/ 8927517 w 8927517"/>
              <a:gd name="connsiteY2" fmla="*/ 6645336 h 6645336"/>
              <a:gd name="connsiteX3" fmla="*/ 579722 w 8927517"/>
              <a:gd name="connsiteY3" fmla="*/ 6635115 h 6645336"/>
              <a:gd name="connsiteX4" fmla="*/ 0 w 8927517"/>
              <a:gd name="connsiteY4" fmla="*/ 6055393 h 6645336"/>
              <a:gd name="connsiteX5" fmla="*/ 0 w 8927517"/>
              <a:gd name="connsiteY5" fmla="*/ 1653 h 6645336"/>
              <a:gd name="connsiteX0" fmla="*/ 0 w 7971422"/>
              <a:gd name="connsiteY0" fmla="*/ 1653 h 6645336"/>
              <a:gd name="connsiteX1" fmla="*/ 7971347 w 7971422"/>
              <a:gd name="connsiteY1" fmla="*/ 0 h 6645336"/>
              <a:gd name="connsiteX2" fmla="*/ 7965616 w 7971422"/>
              <a:gd name="connsiteY2" fmla="*/ 6645336 h 6645336"/>
              <a:gd name="connsiteX3" fmla="*/ 579722 w 7971422"/>
              <a:gd name="connsiteY3" fmla="*/ 6635115 h 6645336"/>
              <a:gd name="connsiteX4" fmla="*/ 0 w 7971422"/>
              <a:gd name="connsiteY4" fmla="*/ 6055393 h 6645336"/>
              <a:gd name="connsiteX5" fmla="*/ 0 w 7971422"/>
              <a:gd name="connsiteY5" fmla="*/ 1653 h 6645336"/>
              <a:gd name="connsiteX0" fmla="*/ 0 w 7971422"/>
              <a:gd name="connsiteY0" fmla="*/ 1301816 h 6645336"/>
              <a:gd name="connsiteX1" fmla="*/ 7971347 w 7971422"/>
              <a:gd name="connsiteY1" fmla="*/ 0 h 6645336"/>
              <a:gd name="connsiteX2" fmla="*/ 7965616 w 7971422"/>
              <a:gd name="connsiteY2" fmla="*/ 6645336 h 6645336"/>
              <a:gd name="connsiteX3" fmla="*/ 579722 w 7971422"/>
              <a:gd name="connsiteY3" fmla="*/ 6635115 h 6645336"/>
              <a:gd name="connsiteX4" fmla="*/ 0 w 7971422"/>
              <a:gd name="connsiteY4" fmla="*/ 6055393 h 6645336"/>
              <a:gd name="connsiteX5" fmla="*/ 0 w 7971422"/>
              <a:gd name="connsiteY5" fmla="*/ 1301816 h 6645336"/>
              <a:gd name="connsiteX0" fmla="*/ 0 w 7965616"/>
              <a:gd name="connsiteY0" fmla="*/ 1653 h 5345173"/>
              <a:gd name="connsiteX1" fmla="*/ 7957060 w 7965616"/>
              <a:gd name="connsiteY1" fmla="*/ 0 h 5345173"/>
              <a:gd name="connsiteX2" fmla="*/ 7965616 w 7965616"/>
              <a:gd name="connsiteY2" fmla="*/ 5345173 h 5345173"/>
              <a:gd name="connsiteX3" fmla="*/ 579722 w 7965616"/>
              <a:gd name="connsiteY3" fmla="*/ 5334952 h 5345173"/>
              <a:gd name="connsiteX4" fmla="*/ 0 w 7965616"/>
              <a:gd name="connsiteY4" fmla="*/ 4755230 h 5345173"/>
              <a:gd name="connsiteX5" fmla="*/ 0 w 7965616"/>
              <a:gd name="connsiteY5" fmla="*/ 1653 h 5345173"/>
              <a:gd name="connsiteX0" fmla="*/ 0 w 7971422"/>
              <a:gd name="connsiteY0" fmla="*/ 1653 h 5345173"/>
              <a:gd name="connsiteX1" fmla="*/ 7971347 w 7971422"/>
              <a:gd name="connsiteY1" fmla="*/ 0 h 5345173"/>
              <a:gd name="connsiteX2" fmla="*/ 7965616 w 7971422"/>
              <a:gd name="connsiteY2" fmla="*/ 5345173 h 5345173"/>
              <a:gd name="connsiteX3" fmla="*/ 579722 w 7971422"/>
              <a:gd name="connsiteY3" fmla="*/ 5334952 h 5345173"/>
              <a:gd name="connsiteX4" fmla="*/ 0 w 7971422"/>
              <a:gd name="connsiteY4" fmla="*/ 4755230 h 5345173"/>
              <a:gd name="connsiteX5" fmla="*/ 0 w 7971422"/>
              <a:gd name="connsiteY5" fmla="*/ 1653 h 5345173"/>
              <a:gd name="connsiteX0" fmla="*/ 0 w 7988356"/>
              <a:gd name="connsiteY0" fmla="*/ 187920 h 5345173"/>
              <a:gd name="connsiteX1" fmla="*/ 7988281 w 7988356"/>
              <a:gd name="connsiteY1" fmla="*/ 0 h 5345173"/>
              <a:gd name="connsiteX2" fmla="*/ 7982550 w 7988356"/>
              <a:gd name="connsiteY2" fmla="*/ 5345173 h 5345173"/>
              <a:gd name="connsiteX3" fmla="*/ 596656 w 7988356"/>
              <a:gd name="connsiteY3" fmla="*/ 5334952 h 5345173"/>
              <a:gd name="connsiteX4" fmla="*/ 16934 w 7988356"/>
              <a:gd name="connsiteY4" fmla="*/ 4755230 h 5345173"/>
              <a:gd name="connsiteX5" fmla="*/ 0 w 7988356"/>
              <a:gd name="connsiteY5" fmla="*/ 187920 h 5345173"/>
              <a:gd name="connsiteX0" fmla="*/ 0 w 7988356"/>
              <a:gd name="connsiteY0" fmla="*/ 210145 h 5345173"/>
              <a:gd name="connsiteX1" fmla="*/ 7988281 w 7988356"/>
              <a:gd name="connsiteY1" fmla="*/ 0 h 5345173"/>
              <a:gd name="connsiteX2" fmla="*/ 7982550 w 7988356"/>
              <a:gd name="connsiteY2" fmla="*/ 5345173 h 5345173"/>
              <a:gd name="connsiteX3" fmla="*/ 596656 w 7988356"/>
              <a:gd name="connsiteY3" fmla="*/ 5334952 h 5345173"/>
              <a:gd name="connsiteX4" fmla="*/ 16934 w 7988356"/>
              <a:gd name="connsiteY4" fmla="*/ 4755230 h 5345173"/>
              <a:gd name="connsiteX5" fmla="*/ 0 w 7988356"/>
              <a:gd name="connsiteY5" fmla="*/ 210145 h 5345173"/>
              <a:gd name="connsiteX0" fmla="*/ 0 w 7988356"/>
              <a:gd name="connsiteY0" fmla="*/ 0 h 5135028"/>
              <a:gd name="connsiteX1" fmla="*/ 7988281 w 7988356"/>
              <a:gd name="connsiteY1" fmla="*/ 7569 h 5135028"/>
              <a:gd name="connsiteX2" fmla="*/ 7982550 w 7988356"/>
              <a:gd name="connsiteY2" fmla="*/ 5135028 h 5135028"/>
              <a:gd name="connsiteX3" fmla="*/ 596656 w 7988356"/>
              <a:gd name="connsiteY3" fmla="*/ 5124807 h 5135028"/>
              <a:gd name="connsiteX4" fmla="*/ 16934 w 7988356"/>
              <a:gd name="connsiteY4" fmla="*/ 4545085 h 5135028"/>
              <a:gd name="connsiteX5" fmla="*/ 0 w 7988356"/>
              <a:gd name="connsiteY5" fmla="*/ 0 h 5135028"/>
              <a:gd name="connsiteX0" fmla="*/ 0 w 7982550"/>
              <a:gd name="connsiteY0" fmla="*/ 0 h 5135028"/>
              <a:gd name="connsiteX1" fmla="*/ 6028853 w 7982550"/>
              <a:gd name="connsiteY1" fmla="*/ 7569 h 5135028"/>
              <a:gd name="connsiteX2" fmla="*/ 7982550 w 7982550"/>
              <a:gd name="connsiteY2" fmla="*/ 5135028 h 5135028"/>
              <a:gd name="connsiteX3" fmla="*/ 596656 w 7982550"/>
              <a:gd name="connsiteY3" fmla="*/ 5124807 h 5135028"/>
              <a:gd name="connsiteX4" fmla="*/ 16934 w 7982550"/>
              <a:gd name="connsiteY4" fmla="*/ 4545085 h 5135028"/>
              <a:gd name="connsiteX5" fmla="*/ 0 w 7982550"/>
              <a:gd name="connsiteY5" fmla="*/ 0 h 5135028"/>
              <a:gd name="connsiteX0" fmla="*/ 0 w 6037636"/>
              <a:gd name="connsiteY0" fmla="*/ 0 h 5135028"/>
              <a:gd name="connsiteX1" fmla="*/ 6028853 w 6037636"/>
              <a:gd name="connsiteY1" fmla="*/ 7569 h 5135028"/>
              <a:gd name="connsiteX2" fmla="*/ 6037636 w 6037636"/>
              <a:gd name="connsiteY2" fmla="*/ 5135028 h 5135028"/>
              <a:gd name="connsiteX3" fmla="*/ 596656 w 6037636"/>
              <a:gd name="connsiteY3" fmla="*/ 5124807 h 5135028"/>
              <a:gd name="connsiteX4" fmla="*/ 16934 w 6037636"/>
              <a:gd name="connsiteY4" fmla="*/ 4545085 h 5135028"/>
              <a:gd name="connsiteX5" fmla="*/ 0 w 6037636"/>
              <a:gd name="connsiteY5" fmla="*/ 0 h 5135028"/>
              <a:gd name="connsiteX0" fmla="*/ 0 w 6028853"/>
              <a:gd name="connsiteY0" fmla="*/ 0 h 5124807"/>
              <a:gd name="connsiteX1" fmla="*/ 6028853 w 6028853"/>
              <a:gd name="connsiteY1" fmla="*/ 7569 h 5124807"/>
              <a:gd name="connsiteX2" fmla="*/ 4063693 w 6028853"/>
              <a:gd name="connsiteY2" fmla="*/ 5105999 h 5124807"/>
              <a:gd name="connsiteX3" fmla="*/ 596656 w 6028853"/>
              <a:gd name="connsiteY3" fmla="*/ 5124807 h 5124807"/>
              <a:gd name="connsiteX4" fmla="*/ 16934 w 6028853"/>
              <a:gd name="connsiteY4" fmla="*/ 4545085 h 5124807"/>
              <a:gd name="connsiteX5" fmla="*/ 0 w 6028853"/>
              <a:gd name="connsiteY5" fmla="*/ 0 h 5124807"/>
              <a:gd name="connsiteX0" fmla="*/ 0 w 4069500"/>
              <a:gd name="connsiteY0" fmla="*/ 0 h 5124807"/>
              <a:gd name="connsiteX1" fmla="*/ 4069425 w 4069500"/>
              <a:gd name="connsiteY1" fmla="*/ 7569 h 5124807"/>
              <a:gd name="connsiteX2" fmla="*/ 4063693 w 4069500"/>
              <a:gd name="connsiteY2" fmla="*/ 5105999 h 5124807"/>
              <a:gd name="connsiteX3" fmla="*/ 596656 w 4069500"/>
              <a:gd name="connsiteY3" fmla="*/ 5124807 h 5124807"/>
              <a:gd name="connsiteX4" fmla="*/ 16934 w 4069500"/>
              <a:gd name="connsiteY4" fmla="*/ 4545085 h 5124807"/>
              <a:gd name="connsiteX5" fmla="*/ 0 w 4069500"/>
              <a:gd name="connsiteY5" fmla="*/ 0 h 5124807"/>
              <a:gd name="connsiteX0" fmla="*/ 0 w 4069500"/>
              <a:gd name="connsiteY0" fmla="*/ 6946 h 5131753"/>
              <a:gd name="connsiteX1" fmla="*/ 4069425 w 4069500"/>
              <a:gd name="connsiteY1" fmla="*/ 0 h 5131753"/>
              <a:gd name="connsiteX2" fmla="*/ 4063693 w 4069500"/>
              <a:gd name="connsiteY2" fmla="*/ 5112945 h 5131753"/>
              <a:gd name="connsiteX3" fmla="*/ 596656 w 4069500"/>
              <a:gd name="connsiteY3" fmla="*/ 5131753 h 5131753"/>
              <a:gd name="connsiteX4" fmla="*/ 16934 w 4069500"/>
              <a:gd name="connsiteY4" fmla="*/ 4552031 h 5131753"/>
              <a:gd name="connsiteX5" fmla="*/ 0 w 4069500"/>
              <a:gd name="connsiteY5" fmla="*/ 6946 h 5131753"/>
              <a:gd name="connsiteX0" fmla="*/ 0 w 4082753"/>
              <a:gd name="connsiteY0" fmla="*/ 2 h 6874096"/>
              <a:gd name="connsiteX1" fmla="*/ 4082678 w 4082753"/>
              <a:gd name="connsiteY1" fmla="*/ 1742343 h 6874096"/>
              <a:gd name="connsiteX2" fmla="*/ 4076946 w 4082753"/>
              <a:gd name="connsiteY2" fmla="*/ 6855288 h 6874096"/>
              <a:gd name="connsiteX3" fmla="*/ 609909 w 4082753"/>
              <a:gd name="connsiteY3" fmla="*/ 6874096 h 6874096"/>
              <a:gd name="connsiteX4" fmla="*/ 30187 w 4082753"/>
              <a:gd name="connsiteY4" fmla="*/ 6294374 h 6874096"/>
              <a:gd name="connsiteX5" fmla="*/ 0 w 4082753"/>
              <a:gd name="connsiteY5" fmla="*/ 2 h 6874096"/>
              <a:gd name="connsiteX0" fmla="*/ 0 w 4095958"/>
              <a:gd name="connsiteY0" fmla="*/ 6946 h 6881040"/>
              <a:gd name="connsiteX1" fmla="*/ 4095930 w 4095958"/>
              <a:gd name="connsiteY1" fmla="*/ 0 h 6881040"/>
              <a:gd name="connsiteX2" fmla="*/ 4076946 w 4095958"/>
              <a:gd name="connsiteY2" fmla="*/ 6862232 h 6881040"/>
              <a:gd name="connsiteX3" fmla="*/ 609909 w 4095958"/>
              <a:gd name="connsiteY3" fmla="*/ 6881040 h 6881040"/>
              <a:gd name="connsiteX4" fmla="*/ 30187 w 4095958"/>
              <a:gd name="connsiteY4" fmla="*/ 6301318 h 6881040"/>
              <a:gd name="connsiteX5" fmla="*/ 0 w 4095958"/>
              <a:gd name="connsiteY5" fmla="*/ 6946 h 6881040"/>
              <a:gd name="connsiteX0" fmla="*/ 0 w 4076946"/>
              <a:gd name="connsiteY0" fmla="*/ 0 h 6874094"/>
              <a:gd name="connsiteX1" fmla="*/ 3870643 w 4076946"/>
              <a:gd name="connsiteY1" fmla="*/ 191837 h 6874094"/>
              <a:gd name="connsiteX2" fmla="*/ 4076946 w 4076946"/>
              <a:gd name="connsiteY2" fmla="*/ 6855286 h 6874094"/>
              <a:gd name="connsiteX3" fmla="*/ 609909 w 4076946"/>
              <a:gd name="connsiteY3" fmla="*/ 6874094 h 6874094"/>
              <a:gd name="connsiteX4" fmla="*/ 30187 w 4076946"/>
              <a:gd name="connsiteY4" fmla="*/ 6294372 h 6874094"/>
              <a:gd name="connsiteX5" fmla="*/ 0 w 4076946"/>
              <a:gd name="connsiteY5" fmla="*/ 0 h 6874094"/>
              <a:gd name="connsiteX0" fmla="*/ 0 w 4076946"/>
              <a:gd name="connsiteY0" fmla="*/ 0 h 6874094"/>
              <a:gd name="connsiteX1" fmla="*/ 4069426 w 4076946"/>
              <a:gd name="connsiteY1" fmla="*/ 19559 h 6874094"/>
              <a:gd name="connsiteX2" fmla="*/ 4076946 w 4076946"/>
              <a:gd name="connsiteY2" fmla="*/ 6855286 h 6874094"/>
              <a:gd name="connsiteX3" fmla="*/ 609909 w 4076946"/>
              <a:gd name="connsiteY3" fmla="*/ 6874094 h 6874094"/>
              <a:gd name="connsiteX4" fmla="*/ 30187 w 4076946"/>
              <a:gd name="connsiteY4" fmla="*/ 6294372 h 6874094"/>
              <a:gd name="connsiteX5" fmla="*/ 0 w 4076946"/>
              <a:gd name="connsiteY5" fmla="*/ 0 h 6874094"/>
              <a:gd name="connsiteX0" fmla="*/ 0 w 4076946"/>
              <a:gd name="connsiteY0" fmla="*/ 99710 h 6854535"/>
              <a:gd name="connsiteX1" fmla="*/ 4069426 w 4076946"/>
              <a:gd name="connsiteY1" fmla="*/ 0 h 6854535"/>
              <a:gd name="connsiteX2" fmla="*/ 4076946 w 4076946"/>
              <a:gd name="connsiteY2" fmla="*/ 6835727 h 6854535"/>
              <a:gd name="connsiteX3" fmla="*/ 609909 w 4076946"/>
              <a:gd name="connsiteY3" fmla="*/ 6854535 h 6854535"/>
              <a:gd name="connsiteX4" fmla="*/ 30187 w 4076946"/>
              <a:gd name="connsiteY4" fmla="*/ 6274813 h 6854535"/>
              <a:gd name="connsiteX5" fmla="*/ 0 w 4076946"/>
              <a:gd name="connsiteY5" fmla="*/ 99710 h 6854535"/>
              <a:gd name="connsiteX0" fmla="*/ 0 w 4076946"/>
              <a:gd name="connsiteY0" fmla="*/ 0 h 6860842"/>
              <a:gd name="connsiteX1" fmla="*/ 4069426 w 4076946"/>
              <a:gd name="connsiteY1" fmla="*/ 6307 h 6860842"/>
              <a:gd name="connsiteX2" fmla="*/ 4076946 w 4076946"/>
              <a:gd name="connsiteY2" fmla="*/ 6842034 h 6860842"/>
              <a:gd name="connsiteX3" fmla="*/ 609909 w 4076946"/>
              <a:gd name="connsiteY3" fmla="*/ 6860842 h 6860842"/>
              <a:gd name="connsiteX4" fmla="*/ 30187 w 4076946"/>
              <a:gd name="connsiteY4" fmla="*/ 6281120 h 6860842"/>
              <a:gd name="connsiteX5" fmla="*/ 0 w 4076946"/>
              <a:gd name="connsiteY5" fmla="*/ 0 h 68608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076946" h="6860842">
                <a:moveTo>
                  <a:pt x="0" y="0"/>
                </a:moveTo>
                <a:lnTo>
                  <a:pt x="4069426" y="6307"/>
                </a:lnTo>
                <a:cubicBezTo>
                  <a:pt x="4070331" y="2153114"/>
                  <a:pt x="4076041" y="4695227"/>
                  <a:pt x="4076946" y="6842034"/>
                </a:cubicBezTo>
                <a:lnTo>
                  <a:pt x="609909" y="6860842"/>
                </a:lnTo>
                <a:cubicBezTo>
                  <a:pt x="289737" y="6860842"/>
                  <a:pt x="30187" y="6601292"/>
                  <a:pt x="30187" y="6281120"/>
                </a:cubicBezTo>
                <a:cubicBezTo>
                  <a:pt x="24542" y="4758683"/>
                  <a:pt x="5645" y="1522437"/>
                  <a:pt x="0" y="0"/>
                </a:cubicBezTo>
                <a:close/>
              </a:path>
            </a:pathLst>
          </a:custGeom>
          <a:noFill/>
        </p:spPr>
        <p:txBody>
          <a:bodyPr>
            <a:normAutofit/>
          </a:bodyPr>
          <a:lstStyle>
            <a:lvl1pPr marL="0" indent="0">
              <a:buNone/>
              <a:defRPr sz="1400">
                <a:solidFill>
                  <a:schemeClr val="tx1"/>
                </a:solidFill>
              </a:defRPr>
            </a:lvl1pPr>
          </a:lstStyle>
          <a:p>
            <a:r>
              <a:rPr lang="en-JP"/>
              <a:t>Insert Photo</a:t>
            </a:r>
          </a:p>
        </p:txBody>
      </p:sp>
      <p:sp>
        <p:nvSpPr>
          <p:cNvPr id="17" name="タイトル プレースホルダ 1">
            <a:extLst>
              <a:ext uri="{FF2B5EF4-FFF2-40B4-BE49-F238E27FC236}">
                <a16:creationId xmlns:a16="http://schemas.microsoft.com/office/drawing/2014/main" id="{6FB24DD6-99CB-CE43-A787-C9F60DC95F8F}"/>
              </a:ext>
            </a:extLst>
          </p:cNvPr>
          <p:cNvSpPr>
            <a:spLocks noGrp="1"/>
          </p:cNvSpPr>
          <p:nvPr>
            <p:ph type="title" hasCustomPrompt="1"/>
          </p:nvPr>
        </p:nvSpPr>
        <p:spPr>
          <a:xfrm>
            <a:off x="606079" y="161605"/>
            <a:ext cx="7368878" cy="685801"/>
          </a:xfrm>
          <a:prstGeom prst="rect">
            <a:avLst/>
          </a:prstGeom>
        </p:spPr>
        <p:txBody>
          <a:bodyPr vert="horz" lIns="0" tIns="0" rIns="0" bIns="0" rtlCol="0" anchor="ctr">
            <a:normAutofit/>
          </a:bodyPr>
          <a:lstStyle/>
          <a:p>
            <a:r>
              <a:rPr kumimoji="1" lang="en-US" altLang="ja-JP"/>
              <a:t>Click to add title</a:t>
            </a:r>
            <a:endParaRPr kumimoji="1" lang="ja-JP" altLang="en-US"/>
          </a:p>
        </p:txBody>
      </p:sp>
      <p:sp>
        <p:nvSpPr>
          <p:cNvPr id="18" name="Rectangle 17">
            <a:extLst>
              <a:ext uri="{FF2B5EF4-FFF2-40B4-BE49-F238E27FC236}">
                <a16:creationId xmlns:a16="http://schemas.microsoft.com/office/drawing/2014/main" id="{77130E5B-E573-584B-8C83-F8409492B14B}"/>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a:solidFill>
                <a:schemeClr val="accent1"/>
              </a:solidFill>
            </a:endParaRPr>
          </a:p>
        </p:txBody>
      </p:sp>
      <p:sp>
        <p:nvSpPr>
          <p:cNvPr id="21" name="スライド番号プレースホルダ 5">
            <a:extLst>
              <a:ext uri="{FF2B5EF4-FFF2-40B4-BE49-F238E27FC236}">
                <a16:creationId xmlns:a16="http://schemas.microsoft.com/office/drawing/2014/main" id="{C55CC856-2ADD-F44F-96B6-03734457CCF1}"/>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2" name="Text Placeholder 6">
            <a:extLst>
              <a:ext uri="{FF2B5EF4-FFF2-40B4-BE49-F238E27FC236}">
                <a16:creationId xmlns:a16="http://schemas.microsoft.com/office/drawing/2014/main" id="{DB94AACD-56D4-F146-AFC0-5CBE6630C5AA}"/>
              </a:ext>
            </a:extLst>
          </p:cNvPr>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Private and confidential. For internal use only.</a:t>
            </a:r>
          </a:p>
        </p:txBody>
      </p:sp>
      <p:sp>
        <p:nvSpPr>
          <p:cNvPr id="19" name="Text Placeholder 2">
            <a:extLst>
              <a:ext uri="{FF2B5EF4-FFF2-40B4-BE49-F238E27FC236}">
                <a16:creationId xmlns:a16="http://schemas.microsoft.com/office/drawing/2014/main" id="{73A8AA34-7C7D-A24F-AF24-5158DD2AB0ED}"/>
              </a:ext>
            </a:extLst>
          </p:cNvPr>
          <p:cNvSpPr>
            <a:spLocks noGrp="1"/>
          </p:cNvSpPr>
          <p:nvPr>
            <p:ph type="body" sz="quarter" idx="20" hasCustomPrompt="1"/>
          </p:nvPr>
        </p:nvSpPr>
        <p:spPr>
          <a:xfrm>
            <a:off x="311151" y="1491373"/>
            <a:ext cx="7660042" cy="1464957"/>
          </a:xfrm>
        </p:spPr>
        <p:txBody>
          <a:bodyPr tIns="0" rIns="0" bIns="0" numCol="1" spcCol="126000">
            <a:noAutofit/>
          </a:bodyPr>
          <a:lstStyle>
            <a:lvl1pPr marL="0" indent="0">
              <a:lnSpc>
                <a:spcPct val="100000"/>
              </a:lnSpc>
              <a:spcBef>
                <a:spcPts val="0"/>
              </a:spcBef>
              <a:buNone/>
              <a:defRPr sz="1600" b="1"/>
            </a:lvl1pPr>
            <a:lvl2pPr marL="457068" indent="0">
              <a:buNone/>
              <a:defRPr sz="1800" b="1"/>
            </a:lvl2pPr>
            <a:lvl3pPr marL="914149" indent="0">
              <a:buNone/>
              <a:defRPr sz="1800" b="1"/>
            </a:lvl3pPr>
            <a:lvl4pPr marL="1371219" indent="0">
              <a:buNone/>
              <a:defRPr sz="1800" b="1"/>
            </a:lvl4pPr>
            <a:lvl5pPr marL="1828290" indent="0">
              <a:buNone/>
              <a:defRPr sz="1800" b="1"/>
            </a:lvl5pPr>
          </a:lstStyle>
          <a:p>
            <a:pPr lvl="0"/>
            <a:r>
              <a:rPr lang="en-US"/>
              <a:t>This is your Primary Text.</a:t>
            </a:r>
            <a:endParaRPr lang="en-JP"/>
          </a:p>
        </p:txBody>
      </p:sp>
      <p:sp>
        <p:nvSpPr>
          <p:cNvPr id="20" name="Text Placeholder 6">
            <a:extLst>
              <a:ext uri="{FF2B5EF4-FFF2-40B4-BE49-F238E27FC236}">
                <a16:creationId xmlns:a16="http://schemas.microsoft.com/office/drawing/2014/main" id="{8F4B55CE-CF3E-7E44-A66A-599621CA5C5F}"/>
              </a:ext>
            </a:extLst>
          </p:cNvPr>
          <p:cNvSpPr>
            <a:spLocks noGrp="1"/>
          </p:cNvSpPr>
          <p:nvPr>
            <p:ph type="body" sz="quarter" idx="21" hasCustomPrompt="1"/>
          </p:nvPr>
        </p:nvSpPr>
        <p:spPr>
          <a:xfrm>
            <a:off x="311150" y="1093767"/>
            <a:ext cx="7660042" cy="272786"/>
          </a:xfrm>
        </p:spPr>
        <p:txBody>
          <a:bodyPr tIns="0" rIns="0" bIns="0" numCol="1">
            <a:noAutofit/>
          </a:bodyPr>
          <a:lstStyle>
            <a:lvl1pPr marL="0" indent="0">
              <a:lnSpc>
                <a:spcPct val="100000"/>
              </a:lnSpc>
              <a:spcBef>
                <a:spcPts val="0"/>
              </a:spcBef>
              <a:spcAft>
                <a:spcPts val="600"/>
              </a:spcAft>
              <a:buNone/>
              <a:defRPr sz="20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Primary Title</a:t>
            </a:r>
          </a:p>
        </p:txBody>
      </p:sp>
    </p:spTree>
    <p:extLst>
      <p:ext uri="{BB962C8B-B14F-4D97-AF65-F5344CB8AC3E}">
        <p14:creationId xmlns:p14="http://schemas.microsoft.com/office/powerpoint/2010/main" val="3431162305"/>
      </p:ext>
    </p:extLst>
  </p:cSld>
  <p:clrMapOvr>
    <a:masterClrMapping/>
  </p:clrMapOvr>
  <p:transition spd="slow">
    <p:push dir="u"/>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Advanced Image 4-Column">
    <p:spTree>
      <p:nvGrpSpPr>
        <p:cNvPr id="1" name=""/>
        <p:cNvGrpSpPr/>
        <p:nvPr/>
      </p:nvGrpSpPr>
      <p:grpSpPr>
        <a:xfrm>
          <a:off x="0" y="0"/>
          <a:ext cx="0" cy="0"/>
          <a:chOff x="0" y="0"/>
          <a:chExt cx="0" cy="0"/>
        </a:xfrm>
      </p:grpSpPr>
      <p:sp>
        <p:nvSpPr>
          <p:cNvPr id="22" name="Picture Placeholder 9">
            <a:extLst>
              <a:ext uri="{FF2B5EF4-FFF2-40B4-BE49-F238E27FC236}">
                <a16:creationId xmlns:a16="http://schemas.microsoft.com/office/drawing/2014/main" id="{21DF8897-54F9-C24F-8261-0C5418827A6D}"/>
              </a:ext>
            </a:extLst>
          </p:cNvPr>
          <p:cNvSpPr>
            <a:spLocks noGrp="1"/>
          </p:cNvSpPr>
          <p:nvPr>
            <p:ph type="pic" sz="quarter" idx="10" hasCustomPrompt="1"/>
          </p:nvPr>
        </p:nvSpPr>
        <p:spPr>
          <a:xfrm>
            <a:off x="9110737" y="3076286"/>
            <a:ext cx="2772041" cy="3138969"/>
          </a:xfrm>
          <a:custGeom>
            <a:avLst/>
            <a:gdLst>
              <a:gd name="connsiteX0" fmla="*/ 0 w 10888662"/>
              <a:gd name="connsiteY0" fmla="*/ 579722 h 6442075"/>
              <a:gd name="connsiteX1" fmla="*/ 579722 w 10888662"/>
              <a:gd name="connsiteY1" fmla="*/ 0 h 6442075"/>
              <a:gd name="connsiteX2" fmla="*/ 10308940 w 10888662"/>
              <a:gd name="connsiteY2" fmla="*/ 0 h 6442075"/>
              <a:gd name="connsiteX3" fmla="*/ 10888662 w 10888662"/>
              <a:gd name="connsiteY3" fmla="*/ 579722 h 6442075"/>
              <a:gd name="connsiteX4" fmla="*/ 10888662 w 10888662"/>
              <a:gd name="connsiteY4" fmla="*/ 5862353 h 6442075"/>
              <a:gd name="connsiteX5" fmla="*/ 10308940 w 10888662"/>
              <a:gd name="connsiteY5" fmla="*/ 6442075 h 6442075"/>
              <a:gd name="connsiteX6" fmla="*/ 579722 w 10888662"/>
              <a:gd name="connsiteY6" fmla="*/ 6442075 h 6442075"/>
              <a:gd name="connsiteX7" fmla="*/ 0 w 10888662"/>
              <a:gd name="connsiteY7" fmla="*/ 5862353 h 6442075"/>
              <a:gd name="connsiteX8" fmla="*/ 0 w 10888662"/>
              <a:gd name="connsiteY8" fmla="*/ 579722 h 6442075"/>
              <a:gd name="connsiteX0" fmla="*/ 0 w 10888662"/>
              <a:gd name="connsiteY0" fmla="*/ 659657 h 6522010"/>
              <a:gd name="connsiteX1" fmla="*/ 10308940 w 10888662"/>
              <a:gd name="connsiteY1" fmla="*/ 79935 h 6522010"/>
              <a:gd name="connsiteX2" fmla="*/ 10888662 w 10888662"/>
              <a:gd name="connsiteY2" fmla="*/ 659657 h 6522010"/>
              <a:gd name="connsiteX3" fmla="*/ 10888662 w 10888662"/>
              <a:gd name="connsiteY3" fmla="*/ 5942288 h 6522010"/>
              <a:gd name="connsiteX4" fmla="*/ 10308940 w 10888662"/>
              <a:gd name="connsiteY4" fmla="*/ 6522010 h 6522010"/>
              <a:gd name="connsiteX5" fmla="*/ 579722 w 10888662"/>
              <a:gd name="connsiteY5" fmla="*/ 6522010 h 6522010"/>
              <a:gd name="connsiteX6" fmla="*/ 0 w 10888662"/>
              <a:gd name="connsiteY6" fmla="*/ 5942288 h 6522010"/>
              <a:gd name="connsiteX7" fmla="*/ 0 w 10888662"/>
              <a:gd name="connsiteY7" fmla="*/ 659657 h 6522010"/>
              <a:gd name="connsiteX0" fmla="*/ 0 w 10888662"/>
              <a:gd name="connsiteY0" fmla="*/ 579722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579722 h 6442075"/>
              <a:gd name="connsiteX0" fmla="*/ 0 w 10888662"/>
              <a:gd name="connsiteY0" fmla="*/ 129257 h 6569679"/>
              <a:gd name="connsiteX1" fmla="*/ 10308940 w 10888662"/>
              <a:gd name="connsiteY1" fmla="*/ 127604 h 6569679"/>
              <a:gd name="connsiteX2" fmla="*/ 10888662 w 10888662"/>
              <a:gd name="connsiteY2" fmla="*/ 707326 h 6569679"/>
              <a:gd name="connsiteX3" fmla="*/ 10888662 w 10888662"/>
              <a:gd name="connsiteY3" fmla="*/ 5989957 h 6569679"/>
              <a:gd name="connsiteX4" fmla="*/ 10308940 w 10888662"/>
              <a:gd name="connsiteY4" fmla="*/ 6569679 h 6569679"/>
              <a:gd name="connsiteX5" fmla="*/ 579722 w 10888662"/>
              <a:gd name="connsiteY5" fmla="*/ 6569679 h 6569679"/>
              <a:gd name="connsiteX6" fmla="*/ 0 w 10888662"/>
              <a:gd name="connsiteY6" fmla="*/ 5989957 h 6569679"/>
              <a:gd name="connsiteX7" fmla="*/ 0 w 10888662"/>
              <a:gd name="connsiteY7" fmla="*/ 129257 h 6569679"/>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9657299 w 10888662"/>
              <a:gd name="connsiteY4" fmla="*/ 55276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522010"/>
              <a:gd name="connsiteX1" fmla="*/ 10308940 w 10888662"/>
              <a:gd name="connsiteY1" fmla="*/ 0 h 6522010"/>
              <a:gd name="connsiteX2" fmla="*/ 10888662 w 10888662"/>
              <a:gd name="connsiteY2" fmla="*/ 579722 h 6522010"/>
              <a:gd name="connsiteX3" fmla="*/ 10888662 w 10888662"/>
              <a:gd name="connsiteY3" fmla="*/ 5862353 h 6522010"/>
              <a:gd name="connsiteX4" fmla="*/ 579722 w 10888662"/>
              <a:gd name="connsiteY4" fmla="*/ 6442075 h 6522010"/>
              <a:gd name="connsiteX5" fmla="*/ 0 w 10888662"/>
              <a:gd name="connsiteY5" fmla="*/ 5862353 h 6522010"/>
              <a:gd name="connsiteX6" fmla="*/ 0 w 10888662"/>
              <a:gd name="connsiteY6" fmla="*/ 1653 h 6522010"/>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579722 w 10888662"/>
              <a:gd name="connsiteY4" fmla="*/ 6442075 h 6442075"/>
              <a:gd name="connsiteX5" fmla="*/ 0 w 10888662"/>
              <a:gd name="connsiteY5" fmla="*/ 5862353 h 6442075"/>
              <a:gd name="connsiteX6" fmla="*/ 0 w 10888662"/>
              <a:gd name="connsiteY6" fmla="*/ 1653 h 6442075"/>
              <a:gd name="connsiteX0" fmla="*/ 0 w 10888662"/>
              <a:gd name="connsiteY0" fmla="*/ 1653 h 6585432"/>
              <a:gd name="connsiteX1" fmla="*/ 10308940 w 10888662"/>
              <a:gd name="connsiteY1" fmla="*/ 0 h 6585432"/>
              <a:gd name="connsiteX2" fmla="*/ 10888662 w 10888662"/>
              <a:gd name="connsiteY2" fmla="*/ 579722 h 6585432"/>
              <a:gd name="connsiteX3" fmla="*/ 10878151 w 10888662"/>
              <a:gd name="connsiteY3" fmla="*/ 6461442 h 6585432"/>
              <a:gd name="connsiteX4" fmla="*/ 579722 w 10888662"/>
              <a:gd name="connsiteY4" fmla="*/ 6442075 h 6585432"/>
              <a:gd name="connsiteX5" fmla="*/ 0 w 10888662"/>
              <a:gd name="connsiteY5" fmla="*/ 5862353 h 6585432"/>
              <a:gd name="connsiteX6" fmla="*/ 0 w 10888662"/>
              <a:gd name="connsiteY6" fmla="*/ 1653 h 6585432"/>
              <a:gd name="connsiteX0" fmla="*/ 0 w 10888662"/>
              <a:gd name="connsiteY0" fmla="*/ 1653 h 6577502"/>
              <a:gd name="connsiteX1" fmla="*/ 10308940 w 10888662"/>
              <a:gd name="connsiteY1" fmla="*/ 0 h 6577502"/>
              <a:gd name="connsiteX2" fmla="*/ 10888662 w 10888662"/>
              <a:gd name="connsiteY2" fmla="*/ 579722 h 6577502"/>
              <a:gd name="connsiteX3" fmla="*/ 10878151 w 10888662"/>
              <a:gd name="connsiteY3" fmla="*/ 6450932 h 6577502"/>
              <a:gd name="connsiteX4" fmla="*/ 579722 w 10888662"/>
              <a:gd name="connsiteY4" fmla="*/ 6442075 h 6577502"/>
              <a:gd name="connsiteX5" fmla="*/ 0 w 10888662"/>
              <a:gd name="connsiteY5" fmla="*/ 5862353 h 6577502"/>
              <a:gd name="connsiteX6" fmla="*/ 0 w 10888662"/>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0888662"/>
              <a:gd name="connsiteY0" fmla="*/ 1653 h 6450932"/>
              <a:gd name="connsiteX1" fmla="*/ 10308940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0999550"/>
              <a:gd name="connsiteY0" fmla="*/ 1653 h 6450932"/>
              <a:gd name="connsiteX1" fmla="*/ 10844968 w 10999550"/>
              <a:gd name="connsiteY1" fmla="*/ 0 h 6450932"/>
              <a:gd name="connsiteX2" fmla="*/ 10888662 w 10999550"/>
              <a:gd name="connsiteY2" fmla="*/ 579722 h 6450932"/>
              <a:gd name="connsiteX3" fmla="*/ 10878151 w 10999550"/>
              <a:gd name="connsiteY3" fmla="*/ 6450932 h 6450932"/>
              <a:gd name="connsiteX4" fmla="*/ 579722 w 10999550"/>
              <a:gd name="connsiteY4" fmla="*/ 6442075 h 6450932"/>
              <a:gd name="connsiteX5" fmla="*/ 0 w 10999550"/>
              <a:gd name="connsiteY5" fmla="*/ 5862353 h 6450932"/>
              <a:gd name="connsiteX6" fmla="*/ 0 w 10999550"/>
              <a:gd name="connsiteY6" fmla="*/ 1653 h 6450932"/>
              <a:gd name="connsiteX0" fmla="*/ 0 w 11022020"/>
              <a:gd name="connsiteY0" fmla="*/ 1653 h 6450932"/>
              <a:gd name="connsiteX1" fmla="*/ 10876499 w 11022020"/>
              <a:gd name="connsiteY1" fmla="*/ 0 h 6450932"/>
              <a:gd name="connsiteX2" fmla="*/ 10888662 w 11022020"/>
              <a:gd name="connsiteY2" fmla="*/ 579722 h 6450932"/>
              <a:gd name="connsiteX3" fmla="*/ 10878151 w 11022020"/>
              <a:gd name="connsiteY3" fmla="*/ 6450932 h 6450932"/>
              <a:gd name="connsiteX4" fmla="*/ 579722 w 11022020"/>
              <a:gd name="connsiteY4" fmla="*/ 6442075 h 6450932"/>
              <a:gd name="connsiteX5" fmla="*/ 0 w 11022020"/>
              <a:gd name="connsiteY5" fmla="*/ 5862353 h 6450932"/>
              <a:gd name="connsiteX6" fmla="*/ 0 w 11022020"/>
              <a:gd name="connsiteY6" fmla="*/ 1653 h 6450932"/>
              <a:gd name="connsiteX0" fmla="*/ 0 w 10888662"/>
              <a:gd name="connsiteY0" fmla="*/ 1653 h 6450932"/>
              <a:gd name="connsiteX1" fmla="*/ 10876499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2200990"/>
              <a:gd name="connsiteY0" fmla="*/ 1653 h 6450932"/>
              <a:gd name="connsiteX1" fmla="*/ 10876499 w 12200990"/>
              <a:gd name="connsiteY1" fmla="*/ 0 h 6450932"/>
              <a:gd name="connsiteX2" fmla="*/ 10878151 w 12200990"/>
              <a:gd name="connsiteY2" fmla="*/ 6450932 h 6450932"/>
              <a:gd name="connsiteX3" fmla="*/ 579722 w 12200990"/>
              <a:gd name="connsiteY3" fmla="*/ 6442075 h 6450932"/>
              <a:gd name="connsiteX4" fmla="*/ 0 w 12200990"/>
              <a:gd name="connsiteY4" fmla="*/ 5862353 h 6450932"/>
              <a:gd name="connsiteX5" fmla="*/ 0 w 12200990"/>
              <a:gd name="connsiteY5" fmla="*/ 1653 h 6450932"/>
              <a:gd name="connsiteX0" fmla="*/ 0 w 11640630"/>
              <a:gd name="connsiteY0" fmla="*/ 1653 h 6450932"/>
              <a:gd name="connsiteX1" fmla="*/ 10876499 w 11640630"/>
              <a:gd name="connsiteY1" fmla="*/ 0 h 6450932"/>
              <a:gd name="connsiteX2" fmla="*/ 10878151 w 11640630"/>
              <a:gd name="connsiteY2" fmla="*/ 6450932 h 6450932"/>
              <a:gd name="connsiteX3" fmla="*/ 579722 w 11640630"/>
              <a:gd name="connsiteY3" fmla="*/ 6442075 h 6450932"/>
              <a:gd name="connsiteX4" fmla="*/ 0 w 11640630"/>
              <a:gd name="connsiteY4" fmla="*/ 5862353 h 6450932"/>
              <a:gd name="connsiteX5" fmla="*/ 0 w 11640630"/>
              <a:gd name="connsiteY5" fmla="*/ 1653 h 6450932"/>
              <a:gd name="connsiteX0" fmla="*/ 0 w 10878151"/>
              <a:gd name="connsiteY0" fmla="*/ 1653 h 6450932"/>
              <a:gd name="connsiteX1" fmla="*/ 10876499 w 10878151"/>
              <a:gd name="connsiteY1" fmla="*/ 0 h 6450932"/>
              <a:gd name="connsiteX2" fmla="*/ 10878151 w 10878151"/>
              <a:gd name="connsiteY2" fmla="*/ 6450932 h 6450932"/>
              <a:gd name="connsiteX3" fmla="*/ 579722 w 10878151"/>
              <a:gd name="connsiteY3" fmla="*/ 6442075 h 6450932"/>
              <a:gd name="connsiteX4" fmla="*/ 0 w 10878151"/>
              <a:gd name="connsiteY4" fmla="*/ 5862353 h 6450932"/>
              <a:gd name="connsiteX5" fmla="*/ 0 w 10878151"/>
              <a:gd name="connsiteY5" fmla="*/ 1653 h 6450932"/>
              <a:gd name="connsiteX0" fmla="*/ 0 w 11843451"/>
              <a:gd name="connsiteY0" fmla="*/ 1653 h 6450932"/>
              <a:gd name="connsiteX1" fmla="*/ 11843451 w 11843451"/>
              <a:gd name="connsiteY1" fmla="*/ 0 h 6450932"/>
              <a:gd name="connsiteX2" fmla="*/ 10878151 w 11843451"/>
              <a:gd name="connsiteY2" fmla="*/ 6450932 h 6450932"/>
              <a:gd name="connsiteX3" fmla="*/ 579722 w 11843451"/>
              <a:gd name="connsiteY3" fmla="*/ 6442075 h 6450932"/>
              <a:gd name="connsiteX4" fmla="*/ 0 w 11843451"/>
              <a:gd name="connsiteY4" fmla="*/ 5862353 h 6450932"/>
              <a:gd name="connsiteX5" fmla="*/ 0 w 11843451"/>
              <a:gd name="connsiteY5" fmla="*/ 1653 h 6450932"/>
              <a:gd name="connsiteX0" fmla="*/ 0 w 11855613"/>
              <a:gd name="connsiteY0" fmla="*/ 1653 h 6450932"/>
              <a:gd name="connsiteX1" fmla="*/ 11843451 w 11855613"/>
              <a:gd name="connsiteY1" fmla="*/ 0 h 6450932"/>
              <a:gd name="connsiteX2" fmla="*/ 11855613 w 11855613"/>
              <a:gd name="connsiteY2" fmla="*/ 6450932 h 6450932"/>
              <a:gd name="connsiteX3" fmla="*/ 579722 w 11855613"/>
              <a:gd name="connsiteY3" fmla="*/ 6442075 h 6450932"/>
              <a:gd name="connsiteX4" fmla="*/ 0 w 11855613"/>
              <a:gd name="connsiteY4" fmla="*/ 5862353 h 6450932"/>
              <a:gd name="connsiteX5" fmla="*/ 0 w 11855613"/>
              <a:gd name="connsiteY5" fmla="*/ 1653 h 6450932"/>
              <a:gd name="connsiteX0" fmla="*/ 0 w 11864472"/>
              <a:gd name="connsiteY0" fmla="*/ 1653 h 6450932"/>
              <a:gd name="connsiteX1" fmla="*/ 11864472 w 11864472"/>
              <a:gd name="connsiteY1" fmla="*/ 0 h 6450932"/>
              <a:gd name="connsiteX2" fmla="*/ 11855613 w 11864472"/>
              <a:gd name="connsiteY2" fmla="*/ 6450932 h 6450932"/>
              <a:gd name="connsiteX3" fmla="*/ 579722 w 11864472"/>
              <a:gd name="connsiteY3" fmla="*/ 6442075 h 6450932"/>
              <a:gd name="connsiteX4" fmla="*/ 0 w 11864472"/>
              <a:gd name="connsiteY4" fmla="*/ 5862353 h 6450932"/>
              <a:gd name="connsiteX5" fmla="*/ 0 w 11864472"/>
              <a:gd name="connsiteY5" fmla="*/ 1653 h 6450932"/>
              <a:gd name="connsiteX0" fmla="*/ 0 w 11864472"/>
              <a:gd name="connsiteY0" fmla="*/ 1653 h 6442075"/>
              <a:gd name="connsiteX1" fmla="*/ 11864472 w 11864472"/>
              <a:gd name="connsiteY1" fmla="*/ 0 h 6442075"/>
              <a:gd name="connsiteX2" fmla="*/ 11855613 w 11864472"/>
              <a:gd name="connsiteY2" fmla="*/ 6440421 h 6442075"/>
              <a:gd name="connsiteX3" fmla="*/ 579722 w 11864472"/>
              <a:gd name="connsiteY3" fmla="*/ 6442075 h 6442075"/>
              <a:gd name="connsiteX4" fmla="*/ 0 w 11864472"/>
              <a:gd name="connsiteY4" fmla="*/ 5862353 h 6442075"/>
              <a:gd name="connsiteX5" fmla="*/ 0 w 11864472"/>
              <a:gd name="connsiteY5" fmla="*/ 1653 h 6442075"/>
              <a:gd name="connsiteX0" fmla="*/ 0 w 11855613"/>
              <a:gd name="connsiteY0" fmla="*/ 1653 h 6442075"/>
              <a:gd name="connsiteX1" fmla="*/ 8912928 w 11855613"/>
              <a:gd name="connsiteY1" fmla="*/ 0 h 6442075"/>
              <a:gd name="connsiteX2" fmla="*/ 11855613 w 11855613"/>
              <a:gd name="connsiteY2" fmla="*/ 6440421 h 6442075"/>
              <a:gd name="connsiteX3" fmla="*/ 579722 w 11855613"/>
              <a:gd name="connsiteY3" fmla="*/ 6442075 h 6442075"/>
              <a:gd name="connsiteX4" fmla="*/ 0 w 11855613"/>
              <a:gd name="connsiteY4" fmla="*/ 5862353 h 6442075"/>
              <a:gd name="connsiteX5" fmla="*/ 0 w 11855613"/>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74032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36077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1615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15642"/>
              <a:gd name="connsiteY0" fmla="*/ 1653 h 6442075"/>
              <a:gd name="connsiteX1" fmla="*/ 8912928 w 8915642"/>
              <a:gd name="connsiteY1" fmla="*/ 0 h 6442075"/>
              <a:gd name="connsiteX2" fmla="*/ 8915642 w 8915642"/>
              <a:gd name="connsiteY2" fmla="*/ 6440421 h 6442075"/>
              <a:gd name="connsiteX3" fmla="*/ 579722 w 8915642"/>
              <a:gd name="connsiteY3" fmla="*/ 6442075 h 6442075"/>
              <a:gd name="connsiteX4" fmla="*/ 0 w 8915642"/>
              <a:gd name="connsiteY4" fmla="*/ 5862353 h 6442075"/>
              <a:gd name="connsiteX5" fmla="*/ 0 w 8915642"/>
              <a:gd name="connsiteY5" fmla="*/ 1653 h 6442075"/>
              <a:gd name="connsiteX0" fmla="*/ 0 w 8915642"/>
              <a:gd name="connsiteY0" fmla="*/ 1 h 6618553"/>
              <a:gd name="connsiteX1" fmla="*/ 8912928 w 8915642"/>
              <a:gd name="connsiteY1" fmla="*/ 176478 h 6618553"/>
              <a:gd name="connsiteX2" fmla="*/ 8915642 w 8915642"/>
              <a:gd name="connsiteY2" fmla="*/ 6616899 h 6618553"/>
              <a:gd name="connsiteX3" fmla="*/ 579722 w 8915642"/>
              <a:gd name="connsiteY3" fmla="*/ 6618553 h 6618553"/>
              <a:gd name="connsiteX4" fmla="*/ 0 w 8915642"/>
              <a:gd name="connsiteY4" fmla="*/ 6038831 h 6618553"/>
              <a:gd name="connsiteX5" fmla="*/ 0 w 8915642"/>
              <a:gd name="connsiteY5" fmla="*/ 1 h 6618553"/>
              <a:gd name="connsiteX0" fmla="*/ 0 w 8915642"/>
              <a:gd name="connsiteY0" fmla="*/ 25404 h 6643956"/>
              <a:gd name="connsiteX1" fmla="*/ 6015348 w 8915642"/>
              <a:gd name="connsiteY1" fmla="*/ 0 h 6643956"/>
              <a:gd name="connsiteX2" fmla="*/ 8915642 w 8915642"/>
              <a:gd name="connsiteY2" fmla="*/ 6642302 h 6643956"/>
              <a:gd name="connsiteX3" fmla="*/ 579722 w 8915642"/>
              <a:gd name="connsiteY3" fmla="*/ 6643956 h 6643956"/>
              <a:gd name="connsiteX4" fmla="*/ 0 w 8915642"/>
              <a:gd name="connsiteY4" fmla="*/ 6064234 h 6643956"/>
              <a:gd name="connsiteX5" fmla="*/ 0 w 8915642"/>
              <a:gd name="connsiteY5" fmla="*/ 25404 h 6643956"/>
              <a:gd name="connsiteX0" fmla="*/ 0 w 8915642"/>
              <a:gd name="connsiteY0" fmla="*/ 1653 h 6620205"/>
              <a:gd name="connsiteX1" fmla="*/ 6003473 w 8915642"/>
              <a:gd name="connsiteY1" fmla="*/ 0 h 6620205"/>
              <a:gd name="connsiteX2" fmla="*/ 8915642 w 8915642"/>
              <a:gd name="connsiteY2" fmla="*/ 6618551 h 6620205"/>
              <a:gd name="connsiteX3" fmla="*/ 579722 w 8915642"/>
              <a:gd name="connsiteY3" fmla="*/ 6620205 h 6620205"/>
              <a:gd name="connsiteX4" fmla="*/ 0 w 8915642"/>
              <a:gd name="connsiteY4" fmla="*/ 6040483 h 6620205"/>
              <a:gd name="connsiteX5" fmla="*/ 0 w 8915642"/>
              <a:gd name="connsiteY5" fmla="*/ 1653 h 6620205"/>
              <a:gd name="connsiteX0" fmla="*/ 0 w 8915642"/>
              <a:gd name="connsiteY0" fmla="*/ 96656 h 6620205"/>
              <a:gd name="connsiteX1" fmla="*/ 6003473 w 8915642"/>
              <a:gd name="connsiteY1" fmla="*/ 0 h 6620205"/>
              <a:gd name="connsiteX2" fmla="*/ 8915642 w 8915642"/>
              <a:gd name="connsiteY2" fmla="*/ 6618551 h 6620205"/>
              <a:gd name="connsiteX3" fmla="*/ 579722 w 8915642"/>
              <a:gd name="connsiteY3" fmla="*/ 6620205 h 6620205"/>
              <a:gd name="connsiteX4" fmla="*/ 0 w 8915642"/>
              <a:gd name="connsiteY4" fmla="*/ 6040483 h 6620205"/>
              <a:gd name="connsiteX5" fmla="*/ 0 w 8915642"/>
              <a:gd name="connsiteY5" fmla="*/ 96656 h 6620205"/>
              <a:gd name="connsiteX0" fmla="*/ 0 w 8915642"/>
              <a:gd name="connsiteY0" fmla="*/ 0 h 6642302"/>
              <a:gd name="connsiteX1" fmla="*/ 6003473 w 8915642"/>
              <a:gd name="connsiteY1" fmla="*/ 22097 h 6642302"/>
              <a:gd name="connsiteX2" fmla="*/ 8915642 w 8915642"/>
              <a:gd name="connsiteY2" fmla="*/ 6640648 h 6642302"/>
              <a:gd name="connsiteX3" fmla="*/ 579722 w 8915642"/>
              <a:gd name="connsiteY3" fmla="*/ 6642302 h 6642302"/>
              <a:gd name="connsiteX4" fmla="*/ 0 w 8915642"/>
              <a:gd name="connsiteY4" fmla="*/ 6062580 h 6642302"/>
              <a:gd name="connsiteX5" fmla="*/ 0 w 8915642"/>
              <a:gd name="connsiteY5" fmla="*/ 0 h 6642302"/>
              <a:gd name="connsiteX0" fmla="*/ 0 w 8915642"/>
              <a:gd name="connsiteY0" fmla="*/ 0 h 6642302"/>
              <a:gd name="connsiteX1" fmla="*/ 5932221 w 8915642"/>
              <a:gd name="connsiteY1" fmla="*/ 152725 h 6642302"/>
              <a:gd name="connsiteX2" fmla="*/ 8915642 w 8915642"/>
              <a:gd name="connsiteY2" fmla="*/ 6640648 h 6642302"/>
              <a:gd name="connsiteX3" fmla="*/ 579722 w 8915642"/>
              <a:gd name="connsiteY3" fmla="*/ 6642302 h 6642302"/>
              <a:gd name="connsiteX4" fmla="*/ 0 w 8915642"/>
              <a:gd name="connsiteY4" fmla="*/ 6062580 h 6642302"/>
              <a:gd name="connsiteX5" fmla="*/ 0 w 8915642"/>
              <a:gd name="connsiteY5" fmla="*/ 0 h 6642302"/>
              <a:gd name="connsiteX0" fmla="*/ 0 w 8915642"/>
              <a:gd name="connsiteY0" fmla="*/ 1654 h 6643956"/>
              <a:gd name="connsiteX1" fmla="*/ 6003473 w 8915642"/>
              <a:gd name="connsiteY1" fmla="*/ 0 h 6643956"/>
              <a:gd name="connsiteX2" fmla="*/ 8915642 w 8915642"/>
              <a:gd name="connsiteY2" fmla="*/ 6642302 h 6643956"/>
              <a:gd name="connsiteX3" fmla="*/ 579722 w 8915642"/>
              <a:gd name="connsiteY3" fmla="*/ 6643956 h 6643956"/>
              <a:gd name="connsiteX4" fmla="*/ 0 w 8915642"/>
              <a:gd name="connsiteY4" fmla="*/ 6064234 h 6643956"/>
              <a:gd name="connsiteX5" fmla="*/ 0 w 8915642"/>
              <a:gd name="connsiteY5" fmla="*/ 1654 h 6643956"/>
              <a:gd name="connsiteX0" fmla="*/ 0 w 6018062"/>
              <a:gd name="connsiteY0" fmla="*/ 1654 h 6654178"/>
              <a:gd name="connsiteX1" fmla="*/ 6003473 w 6018062"/>
              <a:gd name="connsiteY1" fmla="*/ 0 h 6654178"/>
              <a:gd name="connsiteX2" fmla="*/ 6018062 w 6018062"/>
              <a:gd name="connsiteY2" fmla="*/ 6654178 h 6654178"/>
              <a:gd name="connsiteX3" fmla="*/ 579722 w 6018062"/>
              <a:gd name="connsiteY3" fmla="*/ 6643956 h 6654178"/>
              <a:gd name="connsiteX4" fmla="*/ 0 w 6018062"/>
              <a:gd name="connsiteY4" fmla="*/ 6064234 h 6654178"/>
              <a:gd name="connsiteX5" fmla="*/ 0 w 6018062"/>
              <a:gd name="connsiteY5" fmla="*/ 1654 h 6654178"/>
              <a:gd name="connsiteX0" fmla="*/ 0 w 6018062"/>
              <a:gd name="connsiteY0" fmla="*/ 203535 h 6654178"/>
              <a:gd name="connsiteX1" fmla="*/ 6003473 w 6018062"/>
              <a:gd name="connsiteY1" fmla="*/ 0 h 6654178"/>
              <a:gd name="connsiteX2" fmla="*/ 6018062 w 6018062"/>
              <a:gd name="connsiteY2" fmla="*/ 6654178 h 6654178"/>
              <a:gd name="connsiteX3" fmla="*/ 579722 w 6018062"/>
              <a:gd name="connsiteY3" fmla="*/ 6643956 h 6654178"/>
              <a:gd name="connsiteX4" fmla="*/ 0 w 6018062"/>
              <a:gd name="connsiteY4" fmla="*/ 6064234 h 6654178"/>
              <a:gd name="connsiteX5" fmla="*/ 0 w 6018062"/>
              <a:gd name="connsiteY5" fmla="*/ 203535 h 6654178"/>
              <a:gd name="connsiteX0" fmla="*/ 0 w 6018062"/>
              <a:gd name="connsiteY0" fmla="*/ 1655 h 6452298"/>
              <a:gd name="connsiteX1" fmla="*/ 4055920 w 6018062"/>
              <a:gd name="connsiteY1" fmla="*/ 0 h 6452298"/>
              <a:gd name="connsiteX2" fmla="*/ 6018062 w 6018062"/>
              <a:gd name="connsiteY2" fmla="*/ 6452298 h 6452298"/>
              <a:gd name="connsiteX3" fmla="*/ 579722 w 6018062"/>
              <a:gd name="connsiteY3" fmla="*/ 6442076 h 6452298"/>
              <a:gd name="connsiteX4" fmla="*/ 0 w 6018062"/>
              <a:gd name="connsiteY4" fmla="*/ 5862354 h 6452298"/>
              <a:gd name="connsiteX5" fmla="*/ 0 w 6018062"/>
              <a:gd name="connsiteY5" fmla="*/ 1655 h 6452298"/>
              <a:gd name="connsiteX0" fmla="*/ 0 w 4055973"/>
              <a:gd name="connsiteY0" fmla="*/ 1655 h 6452298"/>
              <a:gd name="connsiteX1" fmla="*/ 4055920 w 4055973"/>
              <a:gd name="connsiteY1" fmla="*/ 0 h 6452298"/>
              <a:gd name="connsiteX2" fmla="*/ 4046758 w 4055973"/>
              <a:gd name="connsiteY2" fmla="*/ 6452298 h 6452298"/>
              <a:gd name="connsiteX3" fmla="*/ 579722 w 4055973"/>
              <a:gd name="connsiteY3" fmla="*/ 6442076 h 6452298"/>
              <a:gd name="connsiteX4" fmla="*/ 0 w 4055973"/>
              <a:gd name="connsiteY4" fmla="*/ 5862354 h 6452298"/>
              <a:gd name="connsiteX5" fmla="*/ 0 w 4055973"/>
              <a:gd name="connsiteY5" fmla="*/ 1655 h 6452298"/>
              <a:gd name="connsiteX0" fmla="*/ 0 w 4055973"/>
              <a:gd name="connsiteY0" fmla="*/ 0 h 6652523"/>
              <a:gd name="connsiteX1" fmla="*/ 4055920 w 4055973"/>
              <a:gd name="connsiteY1" fmla="*/ 200225 h 6652523"/>
              <a:gd name="connsiteX2" fmla="*/ 4046758 w 4055973"/>
              <a:gd name="connsiteY2" fmla="*/ 6652523 h 6652523"/>
              <a:gd name="connsiteX3" fmla="*/ 579722 w 4055973"/>
              <a:gd name="connsiteY3" fmla="*/ 6642301 h 6652523"/>
              <a:gd name="connsiteX4" fmla="*/ 0 w 4055973"/>
              <a:gd name="connsiteY4" fmla="*/ 6062579 h 6652523"/>
              <a:gd name="connsiteX5" fmla="*/ 0 w 4055973"/>
              <a:gd name="connsiteY5" fmla="*/ 0 h 6652523"/>
              <a:gd name="connsiteX0" fmla="*/ 0 w 4046758"/>
              <a:gd name="connsiteY0" fmla="*/ 0 h 6652523"/>
              <a:gd name="connsiteX1" fmla="*/ 4044045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1655 h 6654178"/>
              <a:gd name="connsiteX1" fmla="*/ 3082144 w 4046758"/>
              <a:gd name="connsiteY1" fmla="*/ 0 h 6654178"/>
              <a:gd name="connsiteX2" fmla="*/ 4046758 w 4046758"/>
              <a:gd name="connsiteY2" fmla="*/ 6654178 h 6654178"/>
              <a:gd name="connsiteX3" fmla="*/ 579722 w 4046758"/>
              <a:gd name="connsiteY3" fmla="*/ 6643956 h 6654178"/>
              <a:gd name="connsiteX4" fmla="*/ 0 w 4046758"/>
              <a:gd name="connsiteY4" fmla="*/ 6064234 h 6654178"/>
              <a:gd name="connsiteX5" fmla="*/ 0 w 4046758"/>
              <a:gd name="connsiteY5" fmla="*/ 1655 h 6654178"/>
              <a:gd name="connsiteX0" fmla="*/ 0 w 4046758"/>
              <a:gd name="connsiteY0" fmla="*/ 0 h 6652523"/>
              <a:gd name="connsiteX1" fmla="*/ 2975266 w 4046758"/>
              <a:gd name="connsiteY1" fmla="*/ 93348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0 h 6652523"/>
              <a:gd name="connsiteX1" fmla="*/ 3070268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0 h 6652523"/>
              <a:gd name="connsiteX1" fmla="*/ 3082144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3082197"/>
              <a:gd name="connsiteY0" fmla="*/ 0 h 6652523"/>
              <a:gd name="connsiteX1" fmla="*/ 3082144 w 3082197"/>
              <a:gd name="connsiteY1" fmla="*/ 10220 h 6652523"/>
              <a:gd name="connsiteX2" fmla="*/ 3072982 w 3082197"/>
              <a:gd name="connsiteY2" fmla="*/ 6652523 h 6652523"/>
              <a:gd name="connsiteX3" fmla="*/ 579722 w 3082197"/>
              <a:gd name="connsiteY3" fmla="*/ 6642301 h 6652523"/>
              <a:gd name="connsiteX4" fmla="*/ 0 w 3082197"/>
              <a:gd name="connsiteY4" fmla="*/ 6062579 h 6652523"/>
              <a:gd name="connsiteX5" fmla="*/ 0 w 3082197"/>
              <a:gd name="connsiteY5" fmla="*/ 0 h 6652523"/>
              <a:gd name="connsiteX0" fmla="*/ 0 w 3072982"/>
              <a:gd name="connsiteY0" fmla="*/ 0 h 6652523"/>
              <a:gd name="connsiteX1" fmla="*/ 3010892 w 3072982"/>
              <a:gd name="connsiteY1" fmla="*/ 164599 h 6652523"/>
              <a:gd name="connsiteX2" fmla="*/ 3072982 w 3072982"/>
              <a:gd name="connsiteY2" fmla="*/ 6652523 h 6652523"/>
              <a:gd name="connsiteX3" fmla="*/ 579722 w 3072982"/>
              <a:gd name="connsiteY3" fmla="*/ 6642301 h 6652523"/>
              <a:gd name="connsiteX4" fmla="*/ 0 w 3072982"/>
              <a:gd name="connsiteY4" fmla="*/ 6062579 h 6652523"/>
              <a:gd name="connsiteX5" fmla="*/ 0 w 3072982"/>
              <a:gd name="connsiteY5" fmla="*/ 0 h 6652523"/>
              <a:gd name="connsiteX0" fmla="*/ 0 w 3082197"/>
              <a:gd name="connsiteY0" fmla="*/ 1656 h 6654179"/>
              <a:gd name="connsiteX1" fmla="*/ 3082144 w 3082197"/>
              <a:gd name="connsiteY1" fmla="*/ 0 h 6654179"/>
              <a:gd name="connsiteX2" fmla="*/ 3072982 w 3082197"/>
              <a:gd name="connsiteY2" fmla="*/ 6654179 h 6654179"/>
              <a:gd name="connsiteX3" fmla="*/ 579722 w 3082197"/>
              <a:gd name="connsiteY3" fmla="*/ 6643957 h 6654179"/>
              <a:gd name="connsiteX4" fmla="*/ 0 w 3082197"/>
              <a:gd name="connsiteY4" fmla="*/ 6064235 h 6654179"/>
              <a:gd name="connsiteX5" fmla="*/ 0 w 3082197"/>
              <a:gd name="connsiteY5" fmla="*/ 1656 h 6654179"/>
              <a:gd name="connsiteX0" fmla="*/ 0 w 3082197"/>
              <a:gd name="connsiteY0" fmla="*/ 1316107 h 6654179"/>
              <a:gd name="connsiteX1" fmla="*/ 3082144 w 3082197"/>
              <a:gd name="connsiteY1" fmla="*/ 0 h 6654179"/>
              <a:gd name="connsiteX2" fmla="*/ 3072982 w 3082197"/>
              <a:gd name="connsiteY2" fmla="*/ 6654179 h 6654179"/>
              <a:gd name="connsiteX3" fmla="*/ 579722 w 3082197"/>
              <a:gd name="connsiteY3" fmla="*/ 6643957 h 6654179"/>
              <a:gd name="connsiteX4" fmla="*/ 0 w 3082197"/>
              <a:gd name="connsiteY4" fmla="*/ 6064235 h 6654179"/>
              <a:gd name="connsiteX5" fmla="*/ 0 w 3082197"/>
              <a:gd name="connsiteY5" fmla="*/ 1316107 h 6654179"/>
              <a:gd name="connsiteX0" fmla="*/ 0 w 3082197"/>
              <a:gd name="connsiteY0" fmla="*/ 1657 h 5339729"/>
              <a:gd name="connsiteX1" fmla="*/ 3082144 w 3082197"/>
              <a:gd name="connsiteY1" fmla="*/ 0 h 5339729"/>
              <a:gd name="connsiteX2" fmla="*/ 3072982 w 3082197"/>
              <a:gd name="connsiteY2" fmla="*/ 5339729 h 5339729"/>
              <a:gd name="connsiteX3" fmla="*/ 579722 w 3082197"/>
              <a:gd name="connsiteY3" fmla="*/ 5329507 h 5339729"/>
              <a:gd name="connsiteX4" fmla="*/ 0 w 3082197"/>
              <a:gd name="connsiteY4" fmla="*/ 4749785 h 5339729"/>
              <a:gd name="connsiteX5" fmla="*/ 0 w 3082197"/>
              <a:gd name="connsiteY5" fmla="*/ 1657 h 5339729"/>
              <a:gd name="connsiteX0" fmla="*/ 0 w 3082197"/>
              <a:gd name="connsiteY0" fmla="*/ 2202416 h 5339729"/>
              <a:gd name="connsiteX1" fmla="*/ 3082144 w 3082197"/>
              <a:gd name="connsiteY1" fmla="*/ 0 h 5339729"/>
              <a:gd name="connsiteX2" fmla="*/ 3072982 w 3082197"/>
              <a:gd name="connsiteY2" fmla="*/ 5339729 h 5339729"/>
              <a:gd name="connsiteX3" fmla="*/ 579722 w 3082197"/>
              <a:gd name="connsiteY3" fmla="*/ 5329507 h 5339729"/>
              <a:gd name="connsiteX4" fmla="*/ 0 w 3082197"/>
              <a:gd name="connsiteY4" fmla="*/ 4749785 h 5339729"/>
              <a:gd name="connsiteX5" fmla="*/ 0 w 3082197"/>
              <a:gd name="connsiteY5" fmla="*/ 2202416 h 5339729"/>
              <a:gd name="connsiteX0" fmla="*/ 0 w 3082197"/>
              <a:gd name="connsiteY0" fmla="*/ 1656 h 3138969"/>
              <a:gd name="connsiteX1" fmla="*/ 3082144 w 3082197"/>
              <a:gd name="connsiteY1" fmla="*/ 0 h 3138969"/>
              <a:gd name="connsiteX2" fmla="*/ 3072982 w 3082197"/>
              <a:gd name="connsiteY2" fmla="*/ 3138969 h 3138969"/>
              <a:gd name="connsiteX3" fmla="*/ 579722 w 3082197"/>
              <a:gd name="connsiteY3" fmla="*/ 3128747 h 3138969"/>
              <a:gd name="connsiteX4" fmla="*/ 0 w 3082197"/>
              <a:gd name="connsiteY4" fmla="*/ 2549025 h 3138969"/>
              <a:gd name="connsiteX5" fmla="*/ 0 w 3082197"/>
              <a:gd name="connsiteY5" fmla="*/ 1656 h 3138969"/>
              <a:gd name="connsiteX0" fmla="*/ 0 w 3082145"/>
              <a:gd name="connsiteY0" fmla="*/ 1656 h 3150544"/>
              <a:gd name="connsiteX1" fmla="*/ 3082144 w 3082145"/>
              <a:gd name="connsiteY1" fmla="*/ 0 h 3150544"/>
              <a:gd name="connsiteX2" fmla="*/ 2772041 w 3082145"/>
              <a:gd name="connsiteY2" fmla="*/ 3150544 h 3150544"/>
              <a:gd name="connsiteX3" fmla="*/ 579722 w 3082145"/>
              <a:gd name="connsiteY3" fmla="*/ 3128747 h 3150544"/>
              <a:gd name="connsiteX4" fmla="*/ 0 w 3082145"/>
              <a:gd name="connsiteY4" fmla="*/ 2549025 h 3150544"/>
              <a:gd name="connsiteX5" fmla="*/ 0 w 3082145"/>
              <a:gd name="connsiteY5" fmla="*/ 1656 h 3150544"/>
              <a:gd name="connsiteX0" fmla="*/ 0 w 2772041"/>
              <a:gd name="connsiteY0" fmla="*/ 1656 h 3150544"/>
              <a:gd name="connsiteX1" fmla="*/ 2769627 w 2772041"/>
              <a:gd name="connsiteY1" fmla="*/ 0 h 3150544"/>
              <a:gd name="connsiteX2" fmla="*/ 2772041 w 2772041"/>
              <a:gd name="connsiteY2" fmla="*/ 3150544 h 3150544"/>
              <a:gd name="connsiteX3" fmla="*/ 579722 w 2772041"/>
              <a:gd name="connsiteY3" fmla="*/ 3128747 h 3150544"/>
              <a:gd name="connsiteX4" fmla="*/ 0 w 2772041"/>
              <a:gd name="connsiteY4" fmla="*/ 2549025 h 3150544"/>
              <a:gd name="connsiteX5" fmla="*/ 0 w 2772041"/>
              <a:gd name="connsiteY5" fmla="*/ 1656 h 3150544"/>
              <a:gd name="connsiteX0" fmla="*/ 0 w 2772041"/>
              <a:gd name="connsiteY0" fmla="*/ 1656 h 3138969"/>
              <a:gd name="connsiteX1" fmla="*/ 2769627 w 2772041"/>
              <a:gd name="connsiteY1" fmla="*/ 0 h 3138969"/>
              <a:gd name="connsiteX2" fmla="*/ 2772041 w 2772041"/>
              <a:gd name="connsiteY2" fmla="*/ 3138969 h 3138969"/>
              <a:gd name="connsiteX3" fmla="*/ 579722 w 2772041"/>
              <a:gd name="connsiteY3" fmla="*/ 3128747 h 3138969"/>
              <a:gd name="connsiteX4" fmla="*/ 0 w 2772041"/>
              <a:gd name="connsiteY4" fmla="*/ 2549025 h 3138969"/>
              <a:gd name="connsiteX5" fmla="*/ 0 w 2772041"/>
              <a:gd name="connsiteY5" fmla="*/ 1656 h 3138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2041" h="3138969">
                <a:moveTo>
                  <a:pt x="0" y="1656"/>
                </a:moveTo>
                <a:lnTo>
                  <a:pt x="2769627" y="0"/>
                </a:lnTo>
                <a:cubicBezTo>
                  <a:pt x="2770532" y="2146807"/>
                  <a:pt x="2771136" y="992162"/>
                  <a:pt x="2772041" y="3138969"/>
                </a:cubicBezTo>
                <a:lnTo>
                  <a:pt x="579722" y="3128747"/>
                </a:lnTo>
                <a:cubicBezTo>
                  <a:pt x="259550" y="3128747"/>
                  <a:pt x="0" y="2869197"/>
                  <a:pt x="0" y="2549025"/>
                </a:cubicBezTo>
                <a:lnTo>
                  <a:pt x="0" y="1656"/>
                </a:lnTo>
                <a:close/>
              </a:path>
            </a:pathLst>
          </a:custGeom>
          <a:noFill/>
        </p:spPr>
        <p:txBody>
          <a:bodyPr>
            <a:normAutofit/>
          </a:bodyPr>
          <a:lstStyle>
            <a:lvl1pPr marL="0" marR="0" indent="0" algn="l" defTabSz="914150" rtl="0" eaLnBrk="1" fontAlgn="auto" latinLnBrk="0" hangingPunct="1">
              <a:lnSpc>
                <a:spcPct val="100000"/>
              </a:lnSpc>
              <a:spcBef>
                <a:spcPct val="20000"/>
              </a:spcBef>
              <a:spcAft>
                <a:spcPts val="0"/>
              </a:spcAft>
              <a:buClr>
                <a:srgbClr val="4C4948"/>
              </a:buClr>
              <a:buSzTx/>
              <a:buFont typeface="Arial" panose="020B0604020202020204" pitchFamily="34" charset="0"/>
              <a:buNone/>
              <a:tabLst/>
              <a:defRPr sz="1400">
                <a:solidFill>
                  <a:schemeClr val="tx1"/>
                </a:solidFill>
              </a:defRPr>
            </a:lvl1pPr>
          </a:lstStyle>
          <a:p>
            <a:pPr marL="0" marR="0" lvl="0" indent="0" algn="l" defTabSz="914150" rtl="0" eaLnBrk="1" fontAlgn="auto" latinLnBrk="0" hangingPunct="1">
              <a:lnSpc>
                <a:spcPct val="100000"/>
              </a:lnSpc>
              <a:spcBef>
                <a:spcPct val="20000"/>
              </a:spcBef>
              <a:spcAft>
                <a:spcPts val="0"/>
              </a:spcAft>
              <a:buClr>
                <a:srgbClr val="4C4948"/>
              </a:buClr>
              <a:buSzTx/>
              <a:buFont typeface="Arial" panose="020B0604020202020204" pitchFamily="34" charset="0"/>
              <a:buNone/>
              <a:tabLst/>
              <a:defRPr/>
            </a:pPr>
            <a:r>
              <a:rPr lang="en-JP"/>
              <a:t>Insert Picture/Text Block</a:t>
            </a:r>
          </a:p>
          <a:p>
            <a:endParaRPr lang="en-JP"/>
          </a:p>
        </p:txBody>
      </p:sp>
      <p:sp>
        <p:nvSpPr>
          <p:cNvPr id="23" name="Picture Placeholder 9">
            <a:extLst>
              <a:ext uri="{FF2B5EF4-FFF2-40B4-BE49-F238E27FC236}">
                <a16:creationId xmlns:a16="http://schemas.microsoft.com/office/drawing/2014/main" id="{8D6B3691-FCAC-8A46-AA30-DEB2A719C7B2}"/>
              </a:ext>
            </a:extLst>
          </p:cNvPr>
          <p:cNvSpPr>
            <a:spLocks noGrp="1"/>
          </p:cNvSpPr>
          <p:nvPr>
            <p:ph type="pic" sz="quarter" idx="18" hasCustomPrompt="1"/>
          </p:nvPr>
        </p:nvSpPr>
        <p:spPr>
          <a:xfrm>
            <a:off x="311373" y="3076286"/>
            <a:ext cx="2772041" cy="3138969"/>
          </a:xfrm>
          <a:custGeom>
            <a:avLst/>
            <a:gdLst>
              <a:gd name="connsiteX0" fmla="*/ 0 w 10888662"/>
              <a:gd name="connsiteY0" fmla="*/ 579722 h 6442075"/>
              <a:gd name="connsiteX1" fmla="*/ 579722 w 10888662"/>
              <a:gd name="connsiteY1" fmla="*/ 0 h 6442075"/>
              <a:gd name="connsiteX2" fmla="*/ 10308940 w 10888662"/>
              <a:gd name="connsiteY2" fmla="*/ 0 h 6442075"/>
              <a:gd name="connsiteX3" fmla="*/ 10888662 w 10888662"/>
              <a:gd name="connsiteY3" fmla="*/ 579722 h 6442075"/>
              <a:gd name="connsiteX4" fmla="*/ 10888662 w 10888662"/>
              <a:gd name="connsiteY4" fmla="*/ 5862353 h 6442075"/>
              <a:gd name="connsiteX5" fmla="*/ 10308940 w 10888662"/>
              <a:gd name="connsiteY5" fmla="*/ 6442075 h 6442075"/>
              <a:gd name="connsiteX6" fmla="*/ 579722 w 10888662"/>
              <a:gd name="connsiteY6" fmla="*/ 6442075 h 6442075"/>
              <a:gd name="connsiteX7" fmla="*/ 0 w 10888662"/>
              <a:gd name="connsiteY7" fmla="*/ 5862353 h 6442075"/>
              <a:gd name="connsiteX8" fmla="*/ 0 w 10888662"/>
              <a:gd name="connsiteY8" fmla="*/ 579722 h 6442075"/>
              <a:gd name="connsiteX0" fmla="*/ 0 w 10888662"/>
              <a:gd name="connsiteY0" fmla="*/ 659657 h 6522010"/>
              <a:gd name="connsiteX1" fmla="*/ 10308940 w 10888662"/>
              <a:gd name="connsiteY1" fmla="*/ 79935 h 6522010"/>
              <a:gd name="connsiteX2" fmla="*/ 10888662 w 10888662"/>
              <a:gd name="connsiteY2" fmla="*/ 659657 h 6522010"/>
              <a:gd name="connsiteX3" fmla="*/ 10888662 w 10888662"/>
              <a:gd name="connsiteY3" fmla="*/ 5942288 h 6522010"/>
              <a:gd name="connsiteX4" fmla="*/ 10308940 w 10888662"/>
              <a:gd name="connsiteY4" fmla="*/ 6522010 h 6522010"/>
              <a:gd name="connsiteX5" fmla="*/ 579722 w 10888662"/>
              <a:gd name="connsiteY5" fmla="*/ 6522010 h 6522010"/>
              <a:gd name="connsiteX6" fmla="*/ 0 w 10888662"/>
              <a:gd name="connsiteY6" fmla="*/ 5942288 h 6522010"/>
              <a:gd name="connsiteX7" fmla="*/ 0 w 10888662"/>
              <a:gd name="connsiteY7" fmla="*/ 659657 h 6522010"/>
              <a:gd name="connsiteX0" fmla="*/ 0 w 10888662"/>
              <a:gd name="connsiteY0" fmla="*/ 579722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579722 h 6442075"/>
              <a:gd name="connsiteX0" fmla="*/ 0 w 10888662"/>
              <a:gd name="connsiteY0" fmla="*/ 129257 h 6569679"/>
              <a:gd name="connsiteX1" fmla="*/ 10308940 w 10888662"/>
              <a:gd name="connsiteY1" fmla="*/ 127604 h 6569679"/>
              <a:gd name="connsiteX2" fmla="*/ 10888662 w 10888662"/>
              <a:gd name="connsiteY2" fmla="*/ 707326 h 6569679"/>
              <a:gd name="connsiteX3" fmla="*/ 10888662 w 10888662"/>
              <a:gd name="connsiteY3" fmla="*/ 5989957 h 6569679"/>
              <a:gd name="connsiteX4" fmla="*/ 10308940 w 10888662"/>
              <a:gd name="connsiteY4" fmla="*/ 6569679 h 6569679"/>
              <a:gd name="connsiteX5" fmla="*/ 579722 w 10888662"/>
              <a:gd name="connsiteY5" fmla="*/ 6569679 h 6569679"/>
              <a:gd name="connsiteX6" fmla="*/ 0 w 10888662"/>
              <a:gd name="connsiteY6" fmla="*/ 5989957 h 6569679"/>
              <a:gd name="connsiteX7" fmla="*/ 0 w 10888662"/>
              <a:gd name="connsiteY7" fmla="*/ 129257 h 6569679"/>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9657299 w 10888662"/>
              <a:gd name="connsiteY4" fmla="*/ 55276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522010"/>
              <a:gd name="connsiteX1" fmla="*/ 10308940 w 10888662"/>
              <a:gd name="connsiteY1" fmla="*/ 0 h 6522010"/>
              <a:gd name="connsiteX2" fmla="*/ 10888662 w 10888662"/>
              <a:gd name="connsiteY2" fmla="*/ 579722 h 6522010"/>
              <a:gd name="connsiteX3" fmla="*/ 10888662 w 10888662"/>
              <a:gd name="connsiteY3" fmla="*/ 5862353 h 6522010"/>
              <a:gd name="connsiteX4" fmla="*/ 579722 w 10888662"/>
              <a:gd name="connsiteY4" fmla="*/ 6442075 h 6522010"/>
              <a:gd name="connsiteX5" fmla="*/ 0 w 10888662"/>
              <a:gd name="connsiteY5" fmla="*/ 5862353 h 6522010"/>
              <a:gd name="connsiteX6" fmla="*/ 0 w 10888662"/>
              <a:gd name="connsiteY6" fmla="*/ 1653 h 6522010"/>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579722 w 10888662"/>
              <a:gd name="connsiteY4" fmla="*/ 6442075 h 6442075"/>
              <a:gd name="connsiteX5" fmla="*/ 0 w 10888662"/>
              <a:gd name="connsiteY5" fmla="*/ 5862353 h 6442075"/>
              <a:gd name="connsiteX6" fmla="*/ 0 w 10888662"/>
              <a:gd name="connsiteY6" fmla="*/ 1653 h 6442075"/>
              <a:gd name="connsiteX0" fmla="*/ 0 w 10888662"/>
              <a:gd name="connsiteY0" fmla="*/ 1653 h 6585432"/>
              <a:gd name="connsiteX1" fmla="*/ 10308940 w 10888662"/>
              <a:gd name="connsiteY1" fmla="*/ 0 h 6585432"/>
              <a:gd name="connsiteX2" fmla="*/ 10888662 w 10888662"/>
              <a:gd name="connsiteY2" fmla="*/ 579722 h 6585432"/>
              <a:gd name="connsiteX3" fmla="*/ 10878151 w 10888662"/>
              <a:gd name="connsiteY3" fmla="*/ 6461442 h 6585432"/>
              <a:gd name="connsiteX4" fmla="*/ 579722 w 10888662"/>
              <a:gd name="connsiteY4" fmla="*/ 6442075 h 6585432"/>
              <a:gd name="connsiteX5" fmla="*/ 0 w 10888662"/>
              <a:gd name="connsiteY5" fmla="*/ 5862353 h 6585432"/>
              <a:gd name="connsiteX6" fmla="*/ 0 w 10888662"/>
              <a:gd name="connsiteY6" fmla="*/ 1653 h 6585432"/>
              <a:gd name="connsiteX0" fmla="*/ 0 w 10888662"/>
              <a:gd name="connsiteY0" fmla="*/ 1653 h 6577502"/>
              <a:gd name="connsiteX1" fmla="*/ 10308940 w 10888662"/>
              <a:gd name="connsiteY1" fmla="*/ 0 h 6577502"/>
              <a:gd name="connsiteX2" fmla="*/ 10888662 w 10888662"/>
              <a:gd name="connsiteY2" fmla="*/ 579722 h 6577502"/>
              <a:gd name="connsiteX3" fmla="*/ 10878151 w 10888662"/>
              <a:gd name="connsiteY3" fmla="*/ 6450932 h 6577502"/>
              <a:gd name="connsiteX4" fmla="*/ 579722 w 10888662"/>
              <a:gd name="connsiteY4" fmla="*/ 6442075 h 6577502"/>
              <a:gd name="connsiteX5" fmla="*/ 0 w 10888662"/>
              <a:gd name="connsiteY5" fmla="*/ 5862353 h 6577502"/>
              <a:gd name="connsiteX6" fmla="*/ 0 w 10888662"/>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0888662"/>
              <a:gd name="connsiteY0" fmla="*/ 1653 h 6450932"/>
              <a:gd name="connsiteX1" fmla="*/ 10308940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0999550"/>
              <a:gd name="connsiteY0" fmla="*/ 1653 h 6450932"/>
              <a:gd name="connsiteX1" fmla="*/ 10844968 w 10999550"/>
              <a:gd name="connsiteY1" fmla="*/ 0 h 6450932"/>
              <a:gd name="connsiteX2" fmla="*/ 10888662 w 10999550"/>
              <a:gd name="connsiteY2" fmla="*/ 579722 h 6450932"/>
              <a:gd name="connsiteX3" fmla="*/ 10878151 w 10999550"/>
              <a:gd name="connsiteY3" fmla="*/ 6450932 h 6450932"/>
              <a:gd name="connsiteX4" fmla="*/ 579722 w 10999550"/>
              <a:gd name="connsiteY4" fmla="*/ 6442075 h 6450932"/>
              <a:gd name="connsiteX5" fmla="*/ 0 w 10999550"/>
              <a:gd name="connsiteY5" fmla="*/ 5862353 h 6450932"/>
              <a:gd name="connsiteX6" fmla="*/ 0 w 10999550"/>
              <a:gd name="connsiteY6" fmla="*/ 1653 h 6450932"/>
              <a:gd name="connsiteX0" fmla="*/ 0 w 11022020"/>
              <a:gd name="connsiteY0" fmla="*/ 1653 h 6450932"/>
              <a:gd name="connsiteX1" fmla="*/ 10876499 w 11022020"/>
              <a:gd name="connsiteY1" fmla="*/ 0 h 6450932"/>
              <a:gd name="connsiteX2" fmla="*/ 10888662 w 11022020"/>
              <a:gd name="connsiteY2" fmla="*/ 579722 h 6450932"/>
              <a:gd name="connsiteX3" fmla="*/ 10878151 w 11022020"/>
              <a:gd name="connsiteY3" fmla="*/ 6450932 h 6450932"/>
              <a:gd name="connsiteX4" fmla="*/ 579722 w 11022020"/>
              <a:gd name="connsiteY4" fmla="*/ 6442075 h 6450932"/>
              <a:gd name="connsiteX5" fmla="*/ 0 w 11022020"/>
              <a:gd name="connsiteY5" fmla="*/ 5862353 h 6450932"/>
              <a:gd name="connsiteX6" fmla="*/ 0 w 11022020"/>
              <a:gd name="connsiteY6" fmla="*/ 1653 h 6450932"/>
              <a:gd name="connsiteX0" fmla="*/ 0 w 10888662"/>
              <a:gd name="connsiteY0" fmla="*/ 1653 h 6450932"/>
              <a:gd name="connsiteX1" fmla="*/ 10876499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2200990"/>
              <a:gd name="connsiteY0" fmla="*/ 1653 h 6450932"/>
              <a:gd name="connsiteX1" fmla="*/ 10876499 w 12200990"/>
              <a:gd name="connsiteY1" fmla="*/ 0 h 6450932"/>
              <a:gd name="connsiteX2" fmla="*/ 10878151 w 12200990"/>
              <a:gd name="connsiteY2" fmla="*/ 6450932 h 6450932"/>
              <a:gd name="connsiteX3" fmla="*/ 579722 w 12200990"/>
              <a:gd name="connsiteY3" fmla="*/ 6442075 h 6450932"/>
              <a:gd name="connsiteX4" fmla="*/ 0 w 12200990"/>
              <a:gd name="connsiteY4" fmla="*/ 5862353 h 6450932"/>
              <a:gd name="connsiteX5" fmla="*/ 0 w 12200990"/>
              <a:gd name="connsiteY5" fmla="*/ 1653 h 6450932"/>
              <a:gd name="connsiteX0" fmla="*/ 0 w 11640630"/>
              <a:gd name="connsiteY0" fmla="*/ 1653 h 6450932"/>
              <a:gd name="connsiteX1" fmla="*/ 10876499 w 11640630"/>
              <a:gd name="connsiteY1" fmla="*/ 0 h 6450932"/>
              <a:gd name="connsiteX2" fmla="*/ 10878151 w 11640630"/>
              <a:gd name="connsiteY2" fmla="*/ 6450932 h 6450932"/>
              <a:gd name="connsiteX3" fmla="*/ 579722 w 11640630"/>
              <a:gd name="connsiteY3" fmla="*/ 6442075 h 6450932"/>
              <a:gd name="connsiteX4" fmla="*/ 0 w 11640630"/>
              <a:gd name="connsiteY4" fmla="*/ 5862353 h 6450932"/>
              <a:gd name="connsiteX5" fmla="*/ 0 w 11640630"/>
              <a:gd name="connsiteY5" fmla="*/ 1653 h 6450932"/>
              <a:gd name="connsiteX0" fmla="*/ 0 w 10878151"/>
              <a:gd name="connsiteY0" fmla="*/ 1653 h 6450932"/>
              <a:gd name="connsiteX1" fmla="*/ 10876499 w 10878151"/>
              <a:gd name="connsiteY1" fmla="*/ 0 h 6450932"/>
              <a:gd name="connsiteX2" fmla="*/ 10878151 w 10878151"/>
              <a:gd name="connsiteY2" fmla="*/ 6450932 h 6450932"/>
              <a:gd name="connsiteX3" fmla="*/ 579722 w 10878151"/>
              <a:gd name="connsiteY3" fmla="*/ 6442075 h 6450932"/>
              <a:gd name="connsiteX4" fmla="*/ 0 w 10878151"/>
              <a:gd name="connsiteY4" fmla="*/ 5862353 h 6450932"/>
              <a:gd name="connsiteX5" fmla="*/ 0 w 10878151"/>
              <a:gd name="connsiteY5" fmla="*/ 1653 h 6450932"/>
              <a:gd name="connsiteX0" fmla="*/ 0 w 11843451"/>
              <a:gd name="connsiteY0" fmla="*/ 1653 h 6450932"/>
              <a:gd name="connsiteX1" fmla="*/ 11843451 w 11843451"/>
              <a:gd name="connsiteY1" fmla="*/ 0 h 6450932"/>
              <a:gd name="connsiteX2" fmla="*/ 10878151 w 11843451"/>
              <a:gd name="connsiteY2" fmla="*/ 6450932 h 6450932"/>
              <a:gd name="connsiteX3" fmla="*/ 579722 w 11843451"/>
              <a:gd name="connsiteY3" fmla="*/ 6442075 h 6450932"/>
              <a:gd name="connsiteX4" fmla="*/ 0 w 11843451"/>
              <a:gd name="connsiteY4" fmla="*/ 5862353 h 6450932"/>
              <a:gd name="connsiteX5" fmla="*/ 0 w 11843451"/>
              <a:gd name="connsiteY5" fmla="*/ 1653 h 6450932"/>
              <a:gd name="connsiteX0" fmla="*/ 0 w 11855613"/>
              <a:gd name="connsiteY0" fmla="*/ 1653 h 6450932"/>
              <a:gd name="connsiteX1" fmla="*/ 11843451 w 11855613"/>
              <a:gd name="connsiteY1" fmla="*/ 0 h 6450932"/>
              <a:gd name="connsiteX2" fmla="*/ 11855613 w 11855613"/>
              <a:gd name="connsiteY2" fmla="*/ 6450932 h 6450932"/>
              <a:gd name="connsiteX3" fmla="*/ 579722 w 11855613"/>
              <a:gd name="connsiteY3" fmla="*/ 6442075 h 6450932"/>
              <a:gd name="connsiteX4" fmla="*/ 0 w 11855613"/>
              <a:gd name="connsiteY4" fmla="*/ 5862353 h 6450932"/>
              <a:gd name="connsiteX5" fmla="*/ 0 w 11855613"/>
              <a:gd name="connsiteY5" fmla="*/ 1653 h 6450932"/>
              <a:gd name="connsiteX0" fmla="*/ 0 w 11864472"/>
              <a:gd name="connsiteY0" fmla="*/ 1653 h 6450932"/>
              <a:gd name="connsiteX1" fmla="*/ 11864472 w 11864472"/>
              <a:gd name="connsiteY1" fmla="*/ 0 h 6450932"/>
              <a:gd name="connsiteX2" fmla="*/ 11855613 w 11864472"/>
              <a:gd name="connsiteY2" fmla="*/ 6450932 h 6450932"/>
              <a:gd name="connsiteX3" fmla="*/ 579722 w 11864472"/>
              <a:gd name="connsiteY3" fmla="*/ 6442075 h 6450932"/>
              <a:gd name="connsiteX4" fmla="*/ 0 w 11864472"/>
              <a:gd name="connsiteY4" fmla="*/ 5862353 h 6450932"/>
              <a:gd name="connsiteX5" fmla="*/ 0 w 11864472"/>
              <a:gd name="connsiteY5" fmla="*/ 1653 h 6450932"/>
              <a:gd name="connsiteX0" fmla="*/ 0 w 11864472"/>
              <a:gd name="connsiteY0" fmla="*/ 1653 h 6442075"/>
              <a:gd name="connsiteX1" fmla="*/ 11864472 w 11864472"/>
              <a:gd name="connsiteY1" fmla="*/ 0 h 6442075"/>
              <a:gd name="connsiteX2" fmla="*/ 11855613 w 11864472"/>
              <a:gd name="connsiteY2" fmla="*/ 6440421 h 6442075"/>
              <a:gd name="connsiteX3" fmla="*/ 579722 w 11864472"/>
              <a:gd name="connsiteY3" fmla="*/ 6442075 h 6442075"/>
              <a:gd name="connsiteX4" fmla="*/ 0 w 11864472"/>
              <a:gd name="connsiteY4" fmla="*/ 5862353 h 6442075"/>
              <a:gd name="connsiteX5" fmla="*/ 0 w 11864472"/>
              <a:gd name="connsiteY5" fmla="*/ 1653 h 6442075"/>
              <a:gd name="connsiteX0" fmla="*/ 0 w 11855613"/>
              <a:gd name="connsiteY0" fmla="*/ 1653 h 6442075"/>
              <a:gd name="connsiteX1" fmla="*/ 8912928 w 11855613"/>
              <a:gd name="connsiteY1" fmla="*/ 0 h 6442075"/>
              <a:gd name="connsiteX2" fmla="*/ 11855613 w 11855613"/>
              <a:gd name="connsiteY2" fmla="*/ 6440421 h 6442075"/>
              <a:gd name="connsiteX3" fmla="*/ 579722 w 11855613"/>
              <a:gd name="connsiteY3" fmla="*/ 6442075 h 6442075"/>
              <a:gd name="connsiteX4" fmla="*/ 0 w 11855613"/>
              <a:gd name="connsiteY4" fmla="*/ 5862353 h 6442075"/>
              <a:gd name="connsiteX5" fmla="*/ 0 w 11855613"/>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74032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36077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1615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15642"/>
              <a:gd name="connsiteY0" fmla="*/ 1653 h 6442075"/>
              <a:gd name="connsiteX1" fmla="*/ 8912928 w 8915642"/>
              <a:gd name="connsiteY1" fmla="*/ 0 h 6442075"/>
              <a:gd name="connsiteX2" fmla="*/ 8915642 w 8915642"/>
              <a:gd name="connsiteY2" fmla="*/ 6440421 h 6442075"/>
              <a:gd name="connsiteX3" fmla="*/ 579722 w 8915642"/>
              <a:gd name="connsiteY3" fmla="*/ 6442075 h 6442075"/>
              <a:gd name="connsiteX4" fmla="*/ 0 w 8915642"/>
              <a:gd name="connsiteY4" fmla="*/ 5862353 h 6442075"/>
              <a:gd name="connsiteX5" fmla="*/ 0 w 8915642"/>
              <a:gd name="connsiteY5" fmla="*/ 1653 h 6442075"/>
              <a:gd name="connsiteX0" fmla="*/ 0 w 8915642"/>
              <a:gd name="connsiteY0" fmla="*/ 1 h 6618553"/>
              <a:gd name="connsiteX1" fmla="*/ 8912928 w 8915642"/>
              <a:gd name="connsiteY1" fmla="*/ 176478 h 6618553"/>
              <a:gd name="connsiteX2" fmla="*/ 8915642 w 8915642"/>
              <a:gd name="connsiteY2" fmla="*/ 6616899 h 6618553"/>
              <a:gd name="connsiteX3" fmla="*/ 579722 w 8915642"/>
              <a:gd name="connsiteY3" fmla="*/ 6618553 h 6618553"/>
              <a:gd name="connsiteX4" fmla="*/ 0 w 8915642"/>
              <a:gd name="connsiteY4" fmla="*/ 6038831 h 6618553"/>
              <a:gd name="connsiteX5" fmla="*/ 0 w 8915642"/>
              <a:gd name="connsiteY5" fmla="*/ 1 h 6618553"/>
              <a:gd name="connsiteX0" fmla="*/ 0 w 8915642"/>
              <a:gd name="connsiteY0" fmla="*/ 25404 h 6643956"/>
              <a:gd name="connsiteX1" fmla="*/ 6015348 w 8915642"/>
              <a:gd name="connsiteY1" fmla="*/ 0 h 6643956"/>
              <a:gd name="connsiteX2" fmla="*/ 8915642 w 8915642"/>
              <a:gd name="connsiteY2" fmla="*/ 6642302 h 6643956"/>
              <a:gd name="connsiteX3" fmla="*/ 579722 w 8915642"/>
              <a:gd name="connsiteY3" fmla="*/ 6643956 h 6643956"/>
              <a:gd name="connsiteX4" fmla="*/ 0 w 8915642"/>
              <a:gd name="connsiteY4" fmla="*/ 6064234 h 6643956"/>
              <a:gd name="connsiteX5" fmla="*/ 0 w 8915642"/>
              <a:gd name="connsiteY5" fmla="*/ 25404 h 6643956"/>
              <a:gd name="connsiteX0" fmla="*/ 0 w 8915642"/>
              <a:gd name="connsiteY0" fmla="*/ 1653 h 6620205"/>
              <a:gd name="connsiteX1" fmla="*/ 6003473 w 8915642"/>
              <a:gd name="connsiteY1" fmla="*/ 0 h 6620205"/>
              <a:gd name="connsiteX2" fmla="*/ 8915642 w 8915642"/>
              <a:gd name="connsiteY2" fmla="*/ 6618551 h 6620205"/>
              <a:gd name="connsiteX3" fmla="*/ 579722 w 8915642"/>
              <a:gd name="connsiteY3" fmla="*/ 6620205 h 6620205"/>
              <a:gd name="connsiteX4" fmla="*/ 0 w 8915642"/>
              <a:gd name="connsiteY4" fmla="*/ 6040483 h 6620205"/>
              <a:gd name="connsiteX5" fmla="*/ 0 w 8915642"/>
              <a:gd name="connsiteY5" fmla="*/ 1653 h 6620205"/>
              <a:gd name="connsiteX0" fmla="*/ 0 w 8915642"/>
              <a:gd name="connsiteY0" fmla="*/ 96656 h 6620205"/>
              <a:gd name="connsiteX1" fmla="*/ 6003473 w 8915642"/>
              <a:gd name="connsiteY1" fmla="*/ 0 h 6620205"/>
              <a:gd name="connsiteX2" fmla="*/ 8915642 w 8915642"/>
              <a:gd name="connsiteY2" fmla="*/ 6618551 h 6620205"/>
              <a:gd name="connsiteX3" fmla="*/ 579722 w 8915642"/>
              <a:gd name="connsiteY3" fmla="*/ 6620205 h 6620205"/>
              <a:gd name="connsiteX4" fmla="*/ 0 w 8915642"/>
              <a:gd name="connsiteY4" fmla="*/ 6040483 h 6620205"/>
              <a:gd name="connsiteX5" fmla="*/ 0 w 8915642"/>
              <a:gd name="connsiteY5" fmla="*/ 96656 h 6620205"/>
              <a:gd name="connsiteX0" fmla="*/ 0 w 8915642"/>
              <a:gd name="connsiteY0" fmla="*/ 0 h 6642302"/>
              <a:gd name="connsiteX1" fmla="*/ 6003473 w 8915642"/>
              <a:gd name="connsiteY1" fmla="*/ 22097 h 6642302"/>
              <a:gd name="connsiteX2" fmla="*/ 8915642 w 8915642"/>
              <a:gd name="connsiteY2" fmla="*/ 6640648 h 6642302"/>
              <a:gd name="connsiteX3" fmla="*/ 579722 w 8915642"/>
              <a:gd name="connsiteY3" fmla="*/ 6642302 h 6642302"/>
              <a:gd name="connsiteX4" fmla="*/ 0 w 8915642"/>
              <a:gd name="connsiteY4" fmla="*/ 6062580 h 6642302"/>
              <a:gd name="connsiteX5" fmla="*/ 0 w 8915642"/>
              <a:gd name="connsiteY5" fmla="*/ 0 h 6642302"/>
              <a:gd name="connsiteX0" fmla="*/ 0 w 8915642"/>
              <a:gd name="connsiteY0" fmla="*/ 0 h 6642302"/>
              <a:gd name="connsiteX1" fmla="*/ 5932221 w 8915642"/>
              <a:gd name="connsiteY1" fmla="*/ 152725 h 6642302"/>
              <a:gd name="connsiteX2" fmla="*/ 8915642 w 8915642"/>
              <a:gd name="connsiteY2" fmla="*/ 6640648 h 6642302"/>
              <a:gd name="connsiteX3" fmla="*/ 579722 w 8915642"/>
              <a:gd name="connsiteY3" fmla="*/ 6642302 h 6642302"/>
              <a:gd name="connsiteX4" fmla="*/ 0 w 8915642"/>
              <a:gd name="connsiteY4" fmla="*/ 6062580 h 6642302"/>
              <a:gd name="connsiteX5" fmla="*/ 0 w 8915642"/>
              <a:gd name="connsiteY5" fmla="*/ 0 h 6642302"/>
              <a:gd name="connsiteX0" fmla="*/ 0 w 8915642"/>
              <a:gd name="connsiteY0" fmla="*/ 1654 h 6643956"/>
              <a:gd name="connsiteX1" fmla="*/ 6003473 w 8915642"/>
              <a:gd name="connsiteY1" fmla="*/ 0 h 6643956"/>
              <a:gd name="connsiteX2" fmla="*/ 8915642 w 8915642"/>
              <a:gd name="connsiteY2" fmla="*/ 6642302 h 6643956"/>
              <a:gd name="connsiteX3" fmla="*/ 579722 w 8915642"/>
              <a:gd name="connsiteY3" fmla="*/ 6643956 h 6643956"/>
              <a:gd name="connsiteX4" fmla="*/ 0 w 8915642"/>
              <a:gd name="connsiteY4" fmla="*/ 6064234 h 6643956"/>
              <a:gd name="connsiteX5" fmla="*/ 0 w 8915642"/>
              <a:gd name="connsiteY5" fmla="*/ 1654 h 6643956"/>
              <a:gd name="connsiteX0" fmla="*/ 0 w 6018062"/>
              <a:gd name="connsiteY0" fmla="*/ 1654 h 6654178"/>
              <a:gd name="connsiteX1" fmla="*/ 6003473 w 6018062"/>
              <a:gd name="connsiteY1" fmla="*/ 0 h 6654178"/>
              <a:gd name="connsiteX2" fmla="*/ 6018062 w 6018062"/>
              <a:gd name="connsiteY2" fmla="*/ 6654178 h 6654178"/>
              <a:gd name="connsiteX3" fmla="*/ 579722 w 6018062"/>
              <a:gd name="connsiteY3" fmla="*/ 6643956 h 6654178"/>
              <a:gd name="connsiteX4" fmla="*/ 0 w 6018062"/>
              <a:gd name="connsiteY4" fmla="*/ 6064234 h 6654178"/>
              <a:gd name="connsiteX5" fmla="*/ 0 w 6018062"/>
              <a:gd name="connsiteY5" fmla="*/ 1654 h 6654178"/>
              <a:gd name="connsiteX0" fmla="*/ 0 w 6018062"/>
              <a:gd name="connsiteY0" fmla="*/ 203535 h 6654178"/>
              <a:gd name="connsiteX1" fmla="*/ 6003473 w 6018062"/>
              <a:gd name="connsiteY1" fmla="*/ 0 h 6654178"/>
              <a:gd name="connsiteX2" fmla="*/ 6018062 w 6018062"/>
              <a:gd name="connsiteY2" fmla="*/ 6654178 h 6654178"/>
              <a:gd name="connsiteX3" fmla="*/ 579722 w 6018062"/>
              <a:gd name="connsiteY3" fmla="*/ 6643956 h 6654178"/>
              <a:gd name="connsiteX4" fmla="*/ 0 w 6018062"/>
              <a:gd name="connsiteY4" fmla="*/ 6064234 h 6654178"/>
              <a:gd name="connsiteX5" fmla="*/ 0 w 6018062"/>
              <a:gd name="connsiteY5" fmla="*/ 203535 h 6654178"/>
              <a:gd name="connsiteX0" fmla="*/ 0 w 6018062"/>
              <a:gd name="connsiteY0" fmla="*/ 1655 h 6452298"/>
              <a:gd name="connsiteX1" fmla="*/ 4055920 w 6018062"/>
              <a:gd name="connsiteY1" fmla="*/ 0 h 6452298"/>
              <a:gd name="connsiteX2" fmla="*/ 6018062 w 6018062"/>
              <a:gd name="connsiteY2" fmla="*/ 6452298 h 6452298"/>
              <a:gd name="connsiteX3" fmla="*/ 579722 w 6018062"/>
              <a:gd name="connsiteY3" fmla="*/ 6442076 h 6452298"/>
              <a:gd name="connsiteX4" fmla="*/ 0 w 6018062"/>
              <a:gd name="connsiteY4" fmla="*/ 5862354 h 6452298"/>
              <a:gd name="connsiteX5" fmla="*/ 0 w 6018062"/>
              <a:gd name="connsiteY5" fmla="*/ 1655 h 6452298"/>
              <a:gd name="connsiteX0" fmla="*/ 0 w 4055973"/>
              <a:gd name="connsiteY0" fmla="*/ 1655 h 6452298"/>
              <a:gd name="connsiteX1" fmla="*/ 4055920 w 4055973"/>
              <a:gd name="connsiteY1" fmla="*/ 0 h 6452298"/>
              <a:gd name="connsiteX2" fmla="*/ 4046758 w 4055973"/>
              <a:gd name="connsiteY2" fmla="*/ 6452298 h 6452298"/>
              <a:gd name="connsiteX3" fmla="*/ 579722 w 4055973"/>
              <a:gd name="connsiteY3" fmla="*/ 6442076 h 6452298"/>
              <a:gd name="connsiteX4" fmla="*/ 0 w 4055973"/>
              <a:gd name="connsiteY4" fmla="*/ 5862354 h 6452298"/>
              <a:gd name="connsiteX5" fmla="*/ 0 w 4055973"/>
              <a:gd name="connsiteY5" fmla="*/ 1655 h 6452298"/>
              <a:gd name="connsiteX0" fmla="*/ 0 w 4055973"/>
              <a:gd name="connsiteY0" fmla="*/ 0 h 6652523"/>
              <a:gd name="connsiteX1" fmla="*/ 4055920 w 4055973"/>
              <a:gd name="connsiteY1" fmla="*/ 200225 h 6652523"/>
              <a:gd name="connsiteX2" fmla="*/ 4046758 w 4055973"/>
              <a:gd name="connsiteY2" fmla="*/ 6652523 h 6652523"/>
              <a:gd name="connsiteX3" fmla="*/ 579722 w 4055973"/>
              <a:gd name="connsiteY3" fmla="*/ 6642301 h 6652523"/>
              <a:gd name="connsiteX4" fmla="*/ 0 w 4055973"/>
              <a:gd name="connsiteY4" fmla="*/ 6062579 h 6652523"/>
              <a:gd name="connsiteX5" fmla="*/ 0 w 4055973"/>
              <a:gd name="connsiteY5" fmla="*/ 0 h 6652523"/>
              <a:gd name="connsiteX0" fmla="*/ 0 w 4046758"/>
              <a:gd name="connsiteY0" fmla="*/ 0 h 6652523"/>
              <a:gd name="connsiteX1" fmla="*/ 4044045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1655 h 6654178"/>
              <a:gd name="connsiteX1" fmla="*/ 3082144 w 4046758"/>
              <a:gd name="connsiteY1" fmla="*/ 0 h 6654178"/>
              <a:gd name="connsiteX2" fmla="*/ 4046758 w 4046758"/>
              <a:gd name="connsiteY2" fmla="*/ 6654178 h 6654178"/>
              <a:gd name="connsiteX3" fmla="*/ 579722 w 4046758"/>
              <a:gd name="connsiteY3" fmla="*/ 6643956 h 6654178"/>
              <a:gd name="connsiteX4" fmla="*/ 0 w 4046758"/>
              <a:gd name="connsiteY4" fmla="*/ 6064234 h 6654178"/>
              <a:gd name="connsiteX5" fmla="*/ 0 w 4046758"/>
              <a:gd name="connsiteY5" fmla="*/ 1655 h 6654178"/>
              <a:gd name="connsiteX0" fmla="*/ 0 w 4046758"/>
              <a:gd name="connsiteY0" fmla="*/ 0 h 6652523"/>
              <a:gd name="connsiteX1" fmla="*/ 2975266 w 4046758"/>
              <a:gd name="connsiteY1" fmla="*/ 93348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0 h 6652523"/>
              <a:gd name="connsiteX1" fmla="*/ 3070268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0 h 6652523"/>
              <a:gd name="connsiteX1" fmla="*/ 3082144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3082197"/>
              <a:gd name="connsiteY0" fmla="*/ 0 h 6652523"/>
              <a:gd name="connsiteX1" fmla="*/ 3082144 w 3082197"/>
              <a:gd name="connsiteY1" fmla="*/ 10220 h 6652523"/>
              <a:gd name="connsiteX2" fmla="*/ 3072982 w 3082197"/>
              <a:gd name="connsiteY2" fmla="*/ 6652523 h 6652523"/>
              <a:gd name="connsiteX3" fmla="*/ 579722 w 3082197"/>
              <a:gd name="connsiteY3" fmla="*/ 6642301 h 6652523"/>
              <a:gd name="connsiteX4" fmla="*/ 0 w 3082197"/>
              <a:gd name="connsiteY4" fmla="*/ 6062579 h 6652523"/>
              <a:gd name="connsiteX5" fmla="*/ 0 w 3082197"/>
              <a:gd name="connsiteY5" fmla="*/ 0 h 6652523"/>
              <a:gd name="connsiteX0" fmla="*/ 0 w 3072982"/>
              <a:gd name="connsiteY0" fmla="*/ 0 h 6652523"/>
              <a:gd name="connsiteX1" fmla="*/ 3010892 w 3072982"/>
              <a:gd name="connsiteY1" fmla="*/ 164599 h 6652523"/>
              <a:gd name="connsiteX2" fmla="*/ 3072982 w 3072982"/>
              <a:gd name="connsiteY2" fmla="*/ 6652523 h 6652523"/>
              <a:gd name="connsiteX3" fmla="*/ 579722 w 3072982"/>
              <a:gd name="connsiteY3" fmla="*/ 6642301 h 6652523"/>
              <a:gd name="connsiteX4" fmla="*/ 0 w 3072982"/>
              <a:gd name="connsiteY4" fmla="*/ 6062579 h 6652523"/>
              <a:gd name="connsiteX5" fmla="*/ 0 w 3072982"/>
              <a:gd name="connsiteY5" fmla="*/ 0 h 6652523"/>
              <a:gd name="connsiteX0" fmla="*/ 0 w 3082197"/>
              <a:gd name="connsiteY0" fmla="*/ 1656 h 6654179"/>
              <a:gd name="connsiteX1" fmla="*/ 3082144 w 3082197"/>
              <a:gd name="connsiteY1" fmla="*/ 0 h 6654179"/>
              <a:gd name="connsiteX2" fmla="*/ 3072982 w 3082197"/>
              <a:gd name="connsiteY2" fmla="*/ 6654179 h 6654179"/>
              <a:gd name="connsiteX3" fmla="*/ 579722 w 3082197"/>
              <a:gd name="connsiteY3" fmla="*/ 6643957 h 6654179"/>
              <a:gd name="connsiteX4" fmla="*/ 0 w 3082197"/>
              <a:gd name="connsiteY4" fmla="*/ 6064235 h 6654179"/>
              <a:gd name="connsiteX5" fmla="*/ 0 w 3082197"/>
              <a:gd name="connsiteY5" fmla="*/ 1656 h 6654179"/>
              <a:gd name="connsiteX0" fmla="*/ 0 w 3082197"/>
              <a:gd name="connsiteY0" fmla="*/ 1316107 h 6654179"/>
              <a:gd name="connsiteX1" fmla="*/ 3082144 w 3082197"/>
              <a:gd name="connsiteY1" fmla="*/ 0 h 6654179"/>
              <a:gd name="connsiteX2" fmla="*/ 3072982 w 3082197"/>
              <a:gd name="connsiteY2" fmla="*/ 6654179 h 6654179"/>
              <a:gd name="connsiteX3" fmla="*/ 579722 w 3082197"/>
              <a:gd name="connsiteY3" fmla="*/ 6643957 h 6654179"/>
              <a:gd name="connsiteX4" fmla="*/ 0 w 3082197"/>
              <a:gd name="connsiteY4" fmla="*/ 6064235 h 6654179"/>
              <a:gd name="connsiteX5" fmla="*/ 0 w 3082197"/>
              <a:gd name="connsiteY5" fmla="*/ 1316107 h 6654179"/>
              <a:gd name="connsiteX0" fmla="*/ 0 w 3082197"/>
              <a:gd name="connsiteY0" fmla="*/ 1657 h 5339729"/>
              <a:gd name="connsiteX1" fmla="*/ 3082144 w 3082197"/>
              <a:gd name="connsiteY1" fmla="*/ 0 h 5339729"/>
              <a:gd name="connsiteX2" fmla="*/ 3072982 w 3082197"/>
              <a:gd name="connsiteY2" fmla="*/ 5339729 h 5339729"/>
              <a:gd name="connsiteX3" fmla="*/ 579722 w 3082197"/>
              <a:gd name="connsiteY3" fmla="*/ 5329507 h 5339729"/>
              <a:gd name="connsiteX4" fmla="*/ 0 w 3082197"/>
              <a:gd name="connsiteY4" fmla="*/ 4749785 h 5339729"/>
              <a:gd name="connsiteX5" fmla="*/ 0 w 3082197"/>
              <a:gd name="connsiteY5" fmla="*/ 1657 h 5339729"/>
              <a:gd name="connsiteX0" fmla="*/ 0 w 3082197"/>
              <a:gd name="connsiteY0" fmla="*/ 2202416 h 5339729"/>
              <a:gd name="connsiteX1" fmla="*/ 3082144 w 3082197"/>
              <a:gd name="connsiteY1" fmla="*/ 0 h 5339729"/>
              <a:gd name="connsiteX2" fmla="*/ 3072982 w 3082197"/>
              <a:gd name="connsiteY2" fmla="*/ 5339729 h 5339729"/>
              <a:gd name="connsiteX3" fmla="*/ 579722 w 3082197"/>
              <a:gd name="connsiteY3" fmla="*/ 5329507 h 5339729"/>
              <a:gd name="connsiteX4" fmla="*/ 0 w 3082197"/>
              <a:gd name="connsiteY4" fmla="*/ 4749785 h 5339729"/>
              <a:gd name="connsiteX5" fmla="*/ 0 w 3082197"/>
              <a:gd name="connsiteY5" fmla="*/ 2202416 h 5339729"/>
              <a:gd name="connsiteX0" fmla="*/ 0 w 3082197"/>
              <a:gd name="connsiteY0" fmla="*/ 1656 h 3138969"/>
              <a:gd name="connsiteX1" fmla="*/ 3082144 w 3082197"/>
              <a:gd name="connsiteY1" fmla="*/ 0 h 3138969"/>
              <a:gd name="connsiteX2" fmla="*/ 3072982 w 3082197"/>
              <a:gd name="connsiteY2" fmla="*/ 3138969 h 3138969"/>
              <a:gd name="connsiteX3" fmla="*/ 579722 w 3082197"/>
              <a:gd name="connsiteY3" fmla="*/ 3128747 h 3138969"/>
              <a:gd name="connsiteX4" fmla="*/ 0 w 3082197"/>
              <a:gd name="connsiteY4" fmla="*/ 2549025 h 3138969"/>
              <a:gd name="connsiteX5" fmla="*/ 0 w 3082197"/>
              <a:gd name="connsiteY5" fmla="*/ 1656 h 3138969"/>
              <a:gd name="connsiteX0" fmla="*/ 0 w 3082145"/>
              <a:gd name="connsiteY0" fmla="*/ 1656 h 3150544"/>
              <a:gd name="connsiteX1" fmla="*/ 3082144 w 3082145"/>
              <a:gd name="connsiteY1" fmla="*/ 0 h 3150544"/>
              <a:gd name="connsiteX2" fmla="*/ 2772041 w 3082145"/>
              <a:gd name="connsiteY2" fmla="*/ 3150544 h 3150544"/>
              <a:gd name="connsiteX3" fmla="*/ 579722 w 3082145"/>
              <a:gd name="connsiteY3" fmla="*/ 3128747 h 3150544"/>
              <a:gd name="connsiteX4" fmla="*/ 0 w 3082145"/>
              <a:gd name="connsiteY4" fmla="*/ 2549025 h 3150544"/>
              <a:gd name="connsiteX5" fmla="*/ 0 w 3082145"/>
              <a:gd name="connsiteY5" fmla="*/ 1656 h 3150544"/>
              <a:gd name="connsiteX0" fmla="*/ 0 w 2772041"/>
              <a:gd name="connsiteY0" fmla="*/ 1656 h 3150544"/>
              <a:gd name="connsiteX1" fmla="*/ 2769627 w 2772041"/>
              <a:gd name="connsiteY1" fmla="*/ 0 h 3150544"/>
              <a:gd name="connsiteX2" fmla="*/ 2772041 w 2772041"/>
              <a:gd name="connsiteY2" fmla="*/ 3150544 h 3150544"/>
              <a:gd name="connsiteX3" fmla="*/ 579722 w 2772041"/>
              <a:gd name="connsiteY3" fmla="*/ 3128747 h 3150544"/>
              <a:gd name="connsiteX4" fmla="*/ 0 w 2772041"/>
              <a:gd name="connsiteY4" fmla="*/ 2549025 h 3150544"/>
              <a:gd name="connsiteX5" fmla="*/ 0 w 2772041"/>
              <a:gd name="connsiteY5" fmla="*/ 1656 h 3150544"/>
              <a:gd name="connsiteX0" fmla="*/ 0 w 2772041"/>
              <a:gd name="connsiteY0" fmla="*/ 1656 h 3138969"/>
              <a:gd name="connsiteX1" fmla="*/ 2769627 w 2772041"/>
              <a:gd name="connsiteY1" fmla="*/ 0 h 3138969"/>
              <a:gd name="connsiteX2" fmla="*/ 2772041 w 2772041"/>
              <a:gd name="connsiteY2" fmla="*/ 3138969 h 3138969"/>
              <a:gd name="connsiteX3" fmla="*/ 579722 w 2772041"/>
              <a:gd name="connsiteY3" fmla="*/ 3128747 h 3138969"/>
              <a:gd name="connsiteX4" fmla="*/ 0 w 2772041"/>
              <a:gd name="connsiteY4" fmla="*/ 2549025 h 3138969"/>
              <a:gd name="connsiteX5" fmla="*/ 0 w 2772041"/>
              <a:gd name="connsiteY5" fmla="*/ 1656 h 3138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2041" h="3138969">
                <a:moveTo>
                  <a:pt x="0" y="1656"/>
                </a:moveTo>
                <a:lnTo>
                  <a:pt x="2769627" y="0"/>
                </a:lnTo>
                <a:cubicBezTo>
                  <a:pt x="2770532" y="2146807"/>
                  <a:pt x="2771136" y="992162"/>
                  <a:pt x="2772041" y="3138969"/>
                </a:cubicBezTo>
                <a:lnTo>
                  <a:pt x="579722" y="3128747"/>
                </a:lnTo>
                <a:cubicBezTo>
                  <a:pt x="259550" y="3128747"/>
                  <a:pt x="0" y="2869197"/>
                  <a:pt x="0" y="2549025"/>
                </a:cubicBezTo>
                <a:lnTo>
                  <a:pt x="0" y="1656"/>
                </a:lnTo>
                <a:close/>
              </a:path>
            </a:pathLst>
          </a:custGeom>
          <a:noFill/>
        </p:spPr>
        <p:txBody>
          <a:bodyPr>
            <a:normAutofit/>
          </a:bodyPr>
          <a:lstStyle>
            <a:lvl1pPr marL="0" indent="0">
              <a:buNone/>
              <a:defRPr sz="1400">
                <a:solidFill>
                  <a:schemeClr val="tx1"/>
                </a:solidFill>
              </a:defRPr>
            </a:lvl1pPr>
          </a:lstStyle>
          <a:p>
            <a:r>
              <a:rPr lang="en-JP"/>
              <a:t>Insert Picture/Text Block</a:t>
            </a:r>
          </a:p>
        </p:txBody>
      </p:sp>
      <p:sp>
        <p:nvSpPr>
          <p:cNvPr id="24" name="Picture Placeholder 9">
            <a:extLst>
              <a:ext uri="{FF2B5EF4-FFF2-40B4-BE49-F238E27FC236}">
                <a16:creationId xmlns:a16="http://schemas.microsoft.com/office/drawing/2014/main" id="{AA8F528A-C9DE-0B46-881A-43E0F9B6F677}"/>
              </a:ext>
            </a:extLst>
          </p:cNvPr>
          <p:cNvSpPr>
            <a:spLocks noGrp="1"/>
          </p:cNvSpPr>
          <p:nvPr>
            <p:ph type="pic" sz="quarter" idx="19" hasCustomPrompt="1"/>
          </p:nvPr>
        </p:nvSpPr>
        <p:spPr>
          <a:xfrm>
            <a:off x="3244494" y="3076286"/>
            <a:ext cx="2772041" cy="3138969"/>
          </a:xfrm>
          <a:custGeom>
            <a:avLst/>
            <a:gdLst>
              <a:gd name="connsiteX0" fmla="*/ 0 w 10888662"/>
              <a:gd name="connsiteY0" fmla="*/ 579722 h 6442075"/>
              <a:gd name="connsiteX1" fmla="*/ 579722 w 10888662"/>
              <a:gd name="connsiteY1" fmla="*/ 0 h 6442075"/>
              <a:gd name="connsiteX2" fmla="*/ 10308940 w 10888662"/>
              <a:gd name="connsiteY2" fmla="*/ 0 h 6442075"/>
              <a:gd name="connsiteX3" fmla="*/ 10888662 w 10888662"/>
              <a:gd name="connsiteY3" fmla="*/ 579722 h 6442075"/>
              <a:gd name="connsiteX4" fmla="*/ 10888662 w 10888662"/>
              <a:gd name="connsiteY4" fmla="*/ 5862353 h 6442075"/>
              <a:gd name="connsiteX5" fmla="*/ 10308940 w 10888662"/>
              <a:gd name="connsiteY5" fmla="*/ 6442075 h 6442075"/>
              <a:gd name="connsiteX6" fmla="*/ 579722 w 10888662"/>
              <a:gd name="connsiteY6" fmla="*/ 6442075 h 6442075"/>
              <a:gd name="connsiteX7" fmla="*/ 0 w 10888662"/>
              <a:gd name="connsiteY7" fmla="*/ 5862353 h 6442075"/>
              <a:gd name="connsiteX8" fmla="*/ 0 w 10888662"/>
              <a:gd name="connsiteY8" fmla="*/ 579722 h 6442075"/>
              <a:gd name="connsiteX0" fmla="*/ 0 w 10888662"/>
              <a:gd name="connsiteY0" fmla="*/ 659657 h 6522010"/>
              <a:gd name="connsiteX1" fmla="*/ 10308940 w 10888662"/>
              <a:gd name="connsiteY1" fmla="*/ 79935 h 6522010"/>
              <a:gd name="connsiteX2" fmla="*/ 10888662 w 10888662"/>
              <a:gd name="connsiteY2" fmla="*/ 659657 h 6522010"/>
              <a:gd name="connsiteX3" fmla="*/ 10888662 w 10888662"/>
              <a:gd name="connsiteY3" fmla="*/ 5942288 h 6522010"/>
              <a:gd name="connsiteX4" fmla="*/ 10308940 w 10888662"/>
              <a:gd name="connsiteY4" fmla="*/ 6522010 h 6522010"/>
              <a:gd name="connsiteX5" fmla="*/ 579722 w 10888662"/>
              <a:gd name="connsiteY5" fmla="*/ 6522010 h 6522010"/>
              <a:gd name="connsiteX6" fmla="*/ 0 w 10888662"/>
              <a:gd name="connsiteY6" fmla="*/ 5942288 h 6522010"/>
              <a:gd name="connsiteX7" fmla="*/ 0 w 10888662"/>
              <a:gd name="connsiteY7" fmla="*/ 659657 h 6522010"/>
              <a:gd name="connsiteX0" fmla="*/ 0 w 10888662"/>
              <a:gd name="connsiteY0" fmla="*/ 579722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579722 h 6442075"/>
              <a:gd name="connsiteX0" fmla="*/ 0 w 10888662"/>
              <a:gd name="connsiteY0" fmla="*/ 129257 h 6569679"/>
              <a:gd name="connsiteX1" fmla="*/ 10308940 w 10888662"/>
              <a:gd name="connsiteY1" fmla="*/ 127604 h 6569679"/>
              <a:gd name="connsiteX2" fmla="*/ 10888662 w 10888662"/>
              <a:gd name="connsiteY2" fmla="*/ 707326 h 6569679"/>
              <a:gd name="connsiteX3" fmla="*/ 10888662 w 10888662"/>
              <a:gd name="connsiteY3" fmla="*/ 5989957 h 6569679"/>
              <a:gd name="connsiteX4" fmla="*/ 10308940 w 10888662"/>
              <a:gd name="connsiteY4" fmla="*/ 6569679 h 6569679"/>
              <a:gd name="connsiteX5" fmla="*/ 579722 w 10888662"/>
              <a:gd name="connsiteY5" fmla="*/ 6569679 h 6569679"/>
              <a:gd name="connsiteX6" fmla="*/ 0 w 10888662"/>
              <a:gd name="connsiteY6" fmla="*/ 5989957 h 6569679"/>
              <a:gd name="connsiteX7" fmla="*/ 0 w 10888662"/>
              <a:gd name="connsiteY7" fmla="*/ 129257 h 6569679"/>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9657299 w 10888662"/>
              <a:gd name="connsiteY4" fmla="*/ 55276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522010"/>
              <a:gd name="connsiteX1" fmla="*/ 10308940 w 10888662"/>
              <a:gd name="connsiteY1" fmla="*/ 0 h 6522010"/>
              <a:gd name="connsiteX2" fmla="*/ 10888662 w 10888662"/>
              <a:gd name="connsiteY2" fmla="*/ 579722 h 6522010"/>
              <a:gd name="connsiteX3" fmla="*/ 10888662 w 10888662"/>
              <a:gd name="connsiteY3" fmla="*/ 5862353 h 6522010"/>
              <a:gd name="connsiteX4" fmla="*/ 579722 w 10888662"/>
              <a:gd name="connsiteY4" fmla="*/ 6442075 h 6522010"/>
              <a:gd name="connsiteX5" fmla="*/ 0 w 10888662"/>
              <a:gd name="connsiteY5" fmla="*/ 5862353 h 6522010"/>
              <a:gd name="connsiteX6" fmla="*/ 0 w 10888662"/>
              <a:gd name="connsiteY6" fmla="*/ 1653 h 6522010"/>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579722 w 10888662"/>
              <a:gd name="connsiteY4" fmla="*/ 6442075 h 6442075"/>
              <a:gd name="connsiteX5" fmla="*/ 0 w 10888662"/>
              <a:gd name="connsiteY5" fmla="*/ 5862353 h 6442075"/>
              <a:gd name="connsiteX6" fmla="*/ 0 w 10888662"/>
              <a:gd name="connsiteY6" fmla="*/ 1653 h 6442075"/>
              <a:gd name="connsiteX0" fmla="*/ 0 w 10888662"/>
              <a:gd name="connsiteY0" fmla="*/ 1653 h 6585432"/>
              <a:gd name="connsiteX1" fmla="*/ 10308940 w 10888662"/>
              <a:gd name="connsiteY1" fmla="*/ 0 h 6585432"/>
              <a:gd name="connsiteX2" fmla="*/ 10888662 w 10888662"/>
              <a:gd name="connsiteY2" fmla="*/ 579722 h 6585432"/>
              <a:gd name="connsiteX3" fmla="*/ 10878151 w 10888662"/>
              <a:gd name="connsiteY3" fmla="*/ 6461442 h 6585432"/>
              <a:gd name="connsiteX4" fmla="*/ 579722 w 10888662"/>
              <a:gd name="connsiteY4" fmla="*/ 6442075 h 6585432"/>
              <a:gd name="connsiteX5" fmla="*/ 0 w 10888662"/>
              <a:gd name="connsiteY5" fmla="*/ 5862353 h 6585432"/>
              <a:gd name="connsiteX6" fmla="*/ 0 w 10888662"/>
              <a:gd name="connsiteY6" fmla="*/ 1653 h 6585432"/>
              <a:gd name="connsiteX0" fmla="*/ 0 w 10888662"/>
              <a:gd name="connsiteY0" fmla="*/ 1653 h 6577502"/>
              <a:gd name="connsiteX1" fmla="*/ 10308940 w 10888662"/>
              <a:gd name="connsiteY1" fmla="*/ 0 h 6577502"/>
              <a:gd name="connsiteX2" fmla="*/ 10888662 w 10888662"/>
              <a:gd name="connsiteY2" fmla="*/ 579722 h 6577502"/>
              <a:gd name="connsiteX3" fmla="*/ 10878151 w 10888662"/>
              <a:gd name="connsiteY3" fmla="*/ 6450932 h 6577502"/>
              <a:gd name="connsiteX4" fmla="*/ 579722 w 10888662"/>
              <a:gd name="connsiteY4" fmla="*/ 6442075 h 6577502"/>
              <a:gd name="connsiteX5" fmla="*/ 0 w 10888662"/>
              <a:gd name="connsiteY5" fmla="*/ 5862353 h 6577502"/>
              <a:gd name="connsiteX6" fmla="*/ 0 w 10888662"/>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0888662"/>
              <a:gd name="connsiteY0" fmla="*/ 1653 h 6450932"/>
              <a:gd name="connsiteX1" fmla="*/ 10308940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0999550"/>
              <a:gd name="connsiteY0" fmla="*/ 1653 h 6450932"/>
              <a:gd name="connsiteX1" fmla="*/ 10844968 w 10999550"/>
              <a:gd name="connsiteY1" fmla="*/ 0 h 6450932"/>
              <a:gd name="connsiteX2" fmla="*/ 10888662 w 10999550"/>
              <a:gd name="connsiteY2" fmla="*/ 579722 h 6450932"/>
              <a:gd name="connsiteX3" fmla="*/ 10878151 w 10999550"/>
              <a:gd name="connsiteY3" fmla="*/ 6450932 h 6450932"/>
              <a:gd name="connsiteX4" fmla="*/ 579722 w 10999550"/>
              <a:gd name="connsiteY4" fmla="*/ 6442075 h 6450932"/>
              <a:gd name="connsiteX5" fmla="*/ 0 w 10999550"/>
              <a:gd name="connsiteY5" fmla="*/ 5862353 h 6450932"/>
              <a:gd name="connsiteX6" fmla="*/ 0 w 10999550"/>
              <a:gd name="connsiteY6" fmla="*/ 1653 h 6450932"/>
              <a:gd name="connsiteX0" fmla="*/ 0 w 11022020"/>
              <a:gd name="connsiteY0" fmla="*/ 1653 h 6450932"/>
              <a:gd name="connsiteX1" fmla="*/ 10876499 w 11022020"/>
              <a:gd name="connsiteY1" fmla="*/ 0 h 6450932"/>
              <a:gd name="connsiteX2" fmla="*/ 10888662 w 11022020"/>
              <a:gd name="connsiteY2" fmla="*/ 579722 h 6450932"/>
              <a:gd name="connsiteX3" fmla="*/ 10878151 w 11022020"/>
              <a:gd name="connsiteY3" fmla="*/ 6450932 h 6450932"/>
              <a:gd name="connsiteX4" fmla="*/ 579722 w 11022020"/>
              <a:gd name="connsiteY4" fmla="*/ 6442075 h 6450932"/>
              <a:gd name="connsiteX5" fmla="*/ 0 w 11022020"/>
              <a:gd name="connsiteY5" fmla="*/ 5862353 h 6450932"/>
              <a:gd name="connsiteX6" fmla="*/ 0 w 11022020"/>
              <a:gd name="connsiteY6" fmla="*/ 1653 h 6450932"/>
              <a:gd name="connsiteX0" fmla="*/ 0 w 10888662"/>
              <a:gd name="connsiteY0" fmla="*/ 1653 h 6450932"/>
              <a:gd name="connsiteX1" fmla="*/ 10876499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2200990"/>
              <a:gd name="connsiteY0" fmla="*/ 1653 h 6450932"/>
              <a:gd name="connsiteX1" fmla="*/ 10876499 w 12200990"/>
              <a:gd name="connsiteY1" fmla="*/ 0 h 6450932"/>
              <a:gd name="connsiteX2" fmla="*/ 10878151 w 12200990"/>
              <a:gd name="connsiteY2" fmla="*/ 6450932 h 6450932"/>
              <a:gd name="connsiteX3" fmla="*/ 579722 w 12200990"/>
              <a:gd name="connsiteY3" fmla="*/ 6442075 h 6450932"/>
              <a:gd name="connsiteX4" fmla="*/ 0 w 12200990"/>
              <a:gd name="connsiteY4" fmla="*/ 5862353 h 6450932"/>
              <a:gd name="connsiteX5" fmla="*/ 0 w 12200990"/>
              <a:gd name="connsiteY5" fmla="*/ 1653 h 6450932"/>
              <a:gd name="connsiteX0" fmla="*/ 0 w 11640630"/>
              <a:gd name="connsiteY0" fmla="*/ 1653 h 6450932"/>
              <a:gd name="connsiteX1" fmla="*/ 10876499 w 11640630"/>
              <a:gd name="connsiteY1" fmla="*/ 0 h 6450932"/>
              <a:gd name="connsiteX2" fmla="*/ 10878151 w 11640630"/>
              <a:gd name="connsiteY2" fmla="*/ 6450932 h 6450932"/>
              <a:gd name="connsiteX3" fmla="*/ 579722 w 11640630"/>
              <a:gd name="connsiteY3" fmla="*/ 6442075 h 6450932"/>
              <a:gd name="connsiteX4" fmla="*/ 0 w 11640630"/>
              <a:gd name="connsiteY4" fmla="*/ 5862353 h 6450932"/>
              <a:gd name="connsiteX5" fmla="*/ 0 w 11640630"/>
              <a:gd name="connsiteY5" fmla="*/ 1653 h 6450932"/>
              <a:gd name="connsiteX0" fmla="*/ 0 w 10878151"/>
              <a:gd name="connsiteY0" fmla="*/ 1653 h 6450932"/>
              <a:gd name="connsiteX1" fmla="*/ 10876499 w 10878151"/>
              <a:gd name="connsiteY1" fmla="*/ 0 h 6450932"/>
              <a:gd name="connsiteX2" fmla="*/ 10878151 w 10878151"/>
              <a:gd name="connsiteY2" fmla="*/ 6450932 h 6450932"/>
              <a:gd name="connsiteX3" fmla="*/ 579722 w 10878151"/>
              <a:gd name="connsiteY3" fmla="*/ 6442075 h 6450932"/>
              <a:gd name="connsiteX4" fmla="*/ 0 w 10878151"/>
              <a:gd name="connsiteY4" fmla="*/ 5862353 h 6450932"/>
              <a:gd name="connsiteX5" fmla="*/ 0 w 10878151"/>
              <a:gd name="connsiteY5" fmla="*/ 1653 h 6450932"/>
              <a:gd name="connsiteX0" fmla="*/ 0 w 11843451"/>
              <a:gd name="connsiteY0" fmla="*/ 1653 h 6450932"/>
              <a:gd name="connsiteX1" fmla="*/ 11843451 w 11843451"/>
              <a:gd name="connsiteY1" fmla="*/ 0 h 6450932"/>
              <a:gd name="connsiteX2" fmla="*/ 10878151 w 11843451"/>
              <a:gd name="connsiteY2" fmla="*/ 6450932 h 6450932"/>
              <a:gd name="connsiteX3" fmla="*/ 579722 w 11843451"/>
              <a:gd name="connsiteY3" fmla="*/ 6442075 h 6450932"/>
              <a:gd name="connsiteX4" fmla="*/ 0 w 11843451"/>
              <a:gd name="connsiteY4" fmla="*/ 5862353 h 6450932"/>
              <a:gd name="connsiteX5" fmla="*/ 0 w 11843451"/>
              <a:gd name="connsiteY5" fmla="*/ 1653 h 6450932"/>
              <a:gd name="connsiteX0" fmla="*/ 0 w 11855613"/>
              <a:gd name="connsiteY0" fmla="*/ 1653 h 6450932"/>
              <a:gd name="connsiteX1" fmla="*/ 11843451 w 11855613"/>
              <a:gd name="connsiteY1" fmla="*/ 0 h 6450932"/>
              <a:gd name="connsiteX2" fmla="*/ 11855613 w 11855613"/>
              <a:gd name="connsiteY2" fmla="*/ 6450932 h 6450932"/>
              <a:gd name="connsiteX3" fmla="*/ 579722 w 11855613"/>
              <a:gd name="connsiteY3" fmla="*/ 6442075 h 6450932"/>
              <a:gd name="connsiteX4" fmla="*/ 0 w 11855613"/>
              <a:gd name="connsiteY4" fmla="*/ 5862353 h 6450932"/>
              <a:gd name="connsiteX5" fmla="*/ 0 w 11855613"/>
              <a:gd name="connsiteY5" fmla="*/ 1653 h 6450932"/>
              <a:gd name="connsiteX0" fmla="*/ 0 w 11864472"/>
              <a:gd name="connsiteY0" fmla="*/ 1653 h 6450932"/>
              <a:gd name="connsiteX1" fmla="*/ 11864472 w 11864472"/>
              <a:gd name="connsiteY1" fmla="*/ 0 h 6450932"/>
              <a:gd name="connsiteX2" fmla="*/ 11855613 w 11864472"/>
              <a:gd name="connsiteY2" fmla="*/ 6450932 h 6450932"/>
              <a:gd name="connsiteX3" fmla="*/ 579722 w 11864472"/>
              <a:gd name="connsiteY3" fmla="*/ 6442075 h 6450932"/>
              <a:gd name="connsiteX4" fmla="*/ 0 w 11864472"/>
              <a:gd name="connsiteY4" fmla="*/ 5862353 h 6450932"/>
              <a:gd name="connsiteX5" fmla="*/ 0 w 11864472"/>
              <a:gd name="connsiteY5" fmla="*/ 1653 h 6450932"/>
              <a:gd name="connsiteX0" fmla="*/ 0 w 11864472"/>
              <a:gd name="connsiteY0" fmla="*/ 1653 h 6442075"/>
              <a:gd name="connsiteX1" fmla="*/ 11864472 w 11864472"/>
              <a:gd name="connsiteY1" fmla="*/ 0 h 6442075"/>
              <a:gd name="connsiteX2" fmla="*/ 11855613 w 11864472"/>
              <a:gd name="connsiteY2" fmla="*/ 6440421 h 6442075"/>
              <a:gd name="connsiteX3" fmla="*/ 579722 w 11864472"/>
              <a:gd name="connsiteY3" fmla="*/ 6442075 h 6442075"/>
              <a:gd name="connsiteX4" fmla="*/ 0 w 11864472"/>
              <a:gd name="connsiteY4" fmla="*/ 5862353 h 6442075"/>
              <a:gd name="connsiteX5" fmla="*/ 0 w 11864472"/>
              <a:gd name="connsiteY5" fmla="*/ 1653 h 6442075"/>
              <a:gd name="connsiteX0" fmla="*/ 0 w 11855613"/>
              <a:gd name="connsiteY0" fmla="*/ 1653 h 6442075"/>
              <a:gd name="connsiteX1" fmla="*/ 8912928 w 11855613"/>
              <a:gd name="connsiteY1" fmla="*/ 0 h 6442075"/>
              <a:gd name="connsiteX2" fmla="*/ 11855613 w 11855613"/>
              <a:gd name="connsiteY2" fmla="*/ 6440421 h 6442075"/>
              <a:gd name="connsiteX3" fmla="*/ 579722 w 11855613"/>
              <a:gd name="connsiteY3" fmla="*/ 6442075 h 6442075"/>
              <a:gd name="connsiteX4" fmla="*/ 0 w 11855613"/>
              <a:gd name="connsiteY4" fmla="*/ 5862353 h 6442075"/>
              <a:gd name="connsiteX5" fmla="*/ 0 w 11855613"/>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74032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36077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1615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15642"/>
              <a:gd name="connsiteY0" fmla="*/ 1653 h 6442075"/>
              <a:gd name="connsiteX1" fmla="*/ 8912928 w 8915642"/>
              <a:gd name="connsiteY1" fmla="*/ 0 h 6442075"/>
              <a:gd name="connsiteX2" fmla="*/ 8915642 w 8915642"/>
              <a:gd name="connsiteY2" fmla="*/ 6440421 h 6442075"/>
              <a:gd name="connsiteX3" fmla="*/ 579722 w 8915642"/>
              <a:gd name="connsiteY3" fmla="*/ 6442075 h 6442075"/>
              <a:gd name="connsiteX4" fmla="*/ 0 w 8915642"/>
              <a:gd name="connsiteY4" fmla="*/ 5862353 h 6442075"/>
              <a:gd name="connsiteX5" fmla="*/ 0 w 8915642"/>
              <a:gd name="connsiteY5" fmla="*/ 1653 h 6442075"/>
              <a:gd name="connsiteX0" fmla="*/ 0 w 8915642"/>
              <a:gd name="connsiteY0" fmla="*/ 1 h 6618553"/>
              <a:gd name="connsiteX1" fmla="*/ 8912928 w 8915642"/>
              <a:gd name="connsiteY1" fmla="*/ 176478 h 6618553"/>
              <a:gd name="connsiteX2" fmla="*/ 8915642 w 8915642"/>
              <a:gd name="connsiteY2" fmla="*/ 6616899 h 6618553"/>
              <a:gd name="connsiteX3" fmla="*/ 579722 w 8915642"/>
              <a:gd name="connsiteY3" fmla="*/ 6618553 h 6618553"/>
              <a:gd name="connsiteX4" fmla="*/ 0 w 8915642"/>
              <a:gd name="connsiteY4" fmla="*/ 6038831 h 6618553"/>
              <a:gd name="connsiteX5" fmla="*/ 0 w 8915642"/>
              <a:gd name="connsiteY5" fmla="*/ 1 h 6618553"/>
              <a:gd name="connsiteX0" fmla="*/ 0 w 8915642"/>
              <a:gd name="connsiteY0" fmla="*/ 25404 h 6643956"/>
              <a:gd name="connsiteX1" fmla="*/ 6015348 w 8915642"/>
              <a:gd name="connsiteY1" fmla="*/ 0 h 6643956"/>
              <a:gd name="connsiteX2" fmla="*/ 8915642 w 8915642"/>
              <a:gd name="connsiteY2" fmla="*/ 6642302 h 6643956"/>
              <a:gd name="connsiteX3" fmla="*/ 579722 w 8915642"/>
              <a:gd name="connsiteY3" fmla="*/ 6643956 h 6643956"/>
              <a:gd name="connsiteX4" fmla="*/ 0 w 8915642"/>
              <a:gd name="connsiteY4" fmla="*/ 6064234 h 6643956"/>
              <a:gd name="connsiteX5" fmla="*/ 0 w 8915642"/>
              <a:gd name="connsiteY5" fmla="*/ 25404 h 6643956"/>
              <a:gd name="connsiteX0" fmla="*/ 0 w 8915642"/>
              <a:gd name="connsiteY0" fmla="*/ 1653 h 6620205"/>
              <a:gd name="connsiteX1" fmla="*/ 6003473 w 8915642"/>
              <a:gd name="connsiteY1" fmla="*/ 0 h 6620205"/>
              <a:gd name="connsiteX2" fmla="*/ 8915642 w 8915642"/>
              <a:gd name="connsiteY2" fmla="*/ 6618551 h 6620205"/>
              <a:gd name="connsiteX3" fmla="*/ 579722 w 8915642"/>
              <a:gd name="connsiteY3" fmla="*/ 6620205 h 6620205"/>
              <a:gd name="connsiteX4" fmla="*/ 0 w 8915642"/>
              <a:gd name="connsiteY4" fmla="*/ 6040483 h 6620205"/>
              <a:gd name="connsiteX5" fmla="*/ 0 w 8915642"/>
              <a:gd name="connsiteY5" fmla="*/ 1653 h 6620205"/>
              <a:gd name="connsiteX0" fmla="*/ 0 w 8915642"/>
              <a:gd name="connsiteY0" fmla="*/ 96656 h 6620205"/>
              <a:gd name="connsiteX1" fmla="*/ 6003473 w 8915642"/>
              <a:gd name="connsiteY1" fmla="*/ 0 h 6620205"/>
              <a:gd name="connsiteX2" fmla="*/ 8915642 w 8915642"/>
              <a:gd name="connsiteY2" fmla="*/ 6618551 h 6620205"/>
              <a:gd name="connsiteX3" fmla="*/ 579722 w 8915642"/>
              <a:gd name="connsiteY3" fmla="*/ 6620205 h 6620205"/>
              <a:gd name="connsiteX4" fmla="*/ 0 w 8915642"/>
              <a:gd name="connsiteY4" fmla="*/ 6040483 h 6620205"/>
              <a:gd name="connsiteX5" fmla="*/ 0 w 8915642"/>
              <a:gd name="connsiteY5" fmla="*/ 96656 h 6620205"/>
              <a:gd name="connsiteX0" fmla="*/ 0 w 8915642"/>
              <a:gd name="connsiteY0" fmla="*/ 0 h 6642302"/>
              <a:gd name="connsiteX1" fmla="*/ 6003473 w 8915642"/>
              <a:gd name="connsiteY1" fmla="*/ 22097 h 6642302"/>
              <a:gd name="connsiteX2" fmla="*/ 8915642 w 8915642"/>
              <a:gd name="connsiteY2" fmla="*/ 6640648 h 6642302"/>
              <a:gd name="connsiteX3" fmla="*/ 579722 w 8915642"/>
              <a:gd name="connsiteY3" fmla="*/ 6642302 h 6642302"/>
              <a:gd name="connsiteX4" fmla="*/ 0 w 8915642"/>
              <a:gd name="connsiteY4" fmla="*/ 6062580 h 6642302"/>
              <a:gd name="connsiteX5" fmla="*/ 0 w 8915642"/>
              <a:gd name="connsiteY5" fmla="*/ 0 h 6642302"/>
              <a:gd name="connsiteX0" fmla="*/ 0 w 8915642"/>
              <a:gd name="connsiteY0" fmla="*/ 0 h 6642302"/>
              <a:gd name="connsiteX1" fmla="*/ 5932221 w 8915642"/>
              <a:gd name="connsiteY1" fmla="*/ 152725 h 6642302"/>
              <a:gd name="connsiteX2" fmla="*/ 8915642 w 8915642"/>
              <a:gd name="connsiteY2" fmla="*/ 6640648 h 6642302"/>
              <a:gd name="connsiteX3" fmla="*/ 579722 w 8915642"/>
              <a:gd name="connsiteY3" fmla="*/ 6642302 h 6642302"/>
              <a:gd name="connsiteX4" fmla="*/ 0 w 8915642"/>
              <a:gd name="connsiteY4" fmla="*/ 6062580 h 6642302"/>
              <a:gd name="connsiteX5" fmla="*/ 0 w 8915642"/>
              <a:gd name="connsiteY5" fmla="*/ 0 h 6642302"/>
              <a:gd name="connsiteX0" fmla="*/ 0 w 8915642"/>
              <a:gd name="connsiteY0" fmla="*/ 1654 h 6643956"/>
              <a:gd name="connsiteX1" fmla="*/ 6003473 w 8915642"/>
              <a:gd name="connsiteY1" fmla="*/ 0 h 6643956"/>
              <a:gd name="connsiteX2" fmla="*/ 8915642 w 8915642"/>
              <a:gd name="connsiteY2" fmla="*/ 6642302 h 6643956"/>
              <a:gd name="connsiteX3" fmla="*/ 579722 w 8915642"/>
              <a:gd name="connsiteY3" fmla="*/ 6643956 h 6643956"/>
              <a:gd name="connsiteX4" fmla="*/ 0 w 8915642"/>
              <a:gd name="connsiteY4" fmla="*/ 6064234 h 6643956"/>
              <a:gd name="connsiteX5" fmla="*/ 0 w 8915642"/>
              <a:gd name="connsiteY5" fmla="*/ 1654 h 6643956"/>
              <a:gd name="connsiteX0" fmla="*/ 0 w 6018062"/>
              <a:gd name="connsiteY0" fmla="*/ 1654 h 6654178"/>
              <a:gd name="connsiteX1" fmla="*/ 6003473 w 6018062"/>
              <a:gd name="connsiteY1" fmla="*/ 0 h 6654178"/>
              <a:gd name="connsiteX2" fmla="*/ 6018062 w 6018062"/>
              <a:gd name="connsiteY2" fmla="*/ 6654178 h 6654178"/>
              <a:gd name="connsiteX3" fmla="*/ 579722 w 6018062"/>
              <a:gd name="connsiteY3" fmla="*/ 6643956 h 6654178"/>
              <a:gd name="connsiteX4" fmla="*/ 0 w 6018062"/>
              <a:gd name="connsiteY4" fmla="*/ 6064234 h 6654178"/>
              <a:gd name="connsiteX5" fmla="*/ 0 w 6018062"/>
              <a:gd name="connsiteY5" fmla="*/ 1654 h 6654178"/>
              <a:gd name="connsiteX0" fmla="*/ 0 w 6018062"/>
              <a:gd name="connsiteY0" fmla="*/ 203535 h 6654178"/>
              <a:gd name="connsiteX1" fmla="*/ 6003473 w 6018062"/>
              <a:gd name="connsiteY1" fmla="*/ 0 h 6654178"/>
              <a:gd name="connsiteX2" fmla="*/ 6018062 w 6018062"/>
              <a:gd name="connsiteY2" fmla="*/ 6654178 h 6654178"/>
              <a:gd name="connsiteX3" fmla="*/ 579722 w 6018062"/>
              <a:gd name="connsiteY3" fmla="*/ 6643956 h 6654178"/>
              <a:gd name="connsiteX4" fmla="*/ 0 w 6018062"/>
              <a:gd name="connsiteY4" fmla="*/ 6064234 h 6654178"/>
              <a:gd name="connsiteX5" fmla="*/ 0 w 6018062"/>
              <a:gd name="connsiteY5" fmla="*/ 203535 h 6654178"/>
              <a:gd name="connsiteX0" fmla="*/ 0 w 6018062"/>
              <a:gd name="connsiteY0" fmla="*/ 1655 h 6452298"/>
              <a:gd name="connsiteX1" fmla="*/ 4055920 w 6018062"/>
              <a:gd name="connsiteY1" fmla="*/ 0 h 6452298"/>
              <a:gd name="connsiteX2" fmla="*/ 6018062 w 6018062"/>
              <a:gd name="connsiteY2" fmla="*/ 6452298 h 6452298"/>
              <a:gd name="connsiteX3" fmla="*/ 579722 w 6018062"/>
              <a:gd name="connsiteY3" fmla="*/ 6442076 h 6452298"/>
              <a:gd name="connsiteX4" fmla="*/ 0 w 6018062"/>
              <a:gd name="connsiteY4" fmla="*/ 5862354 h 6452298"/>
              <a:gd name="connsiteX5" fmla="*/ 0 w 6018062"/>
              <a:gd name="connsiteY5" fmla="*/ 1655 h 6452298"/>
              <a:gd name="connsiteX0" fmla="*/ 0 w 4055973"/>
              <a:gd name="connsiteY0" fmla="*/ 1655 h 6452298"/>
              <a:gd name="connsiteX1" fmla="*/ 4055920 w 4055973"/>
              <a:gd name="connsiteY1" fmla="*/ 0 h 6452298"/>
              <a:gd name="connsiteX2" fmla="*/ 4046758 w 4055973"/>
              <a:gd name="connsiteY2" fmla="*/ 6452298 h 6452298"/>
              <a:gd name="connsiteX3" fmla="*/ 579722 w 4055973"/>
              <a:gd name="connsiteY3" fmla="*/ 6442076 h 6452298"/>
              <a:gd name="connsiteX4" fmla="*/ 0 w 4055973"/>
              <a:gd name="connsiteY4" fmla="*/ 5862354 h 6452298"/>
              <a:gd name="connsiteX5" fmla="*/ 0 w 4055973"/>
              <a:gd name="connsiteY5" fmla="*/ 1655 h 6452298"/>
              <a:gd name="connsiteX0" fmla="*/ 0 w 4055973"/>
              <a:gd name="connsiteY0" fmla="*/ 0 h 6652523"/>
              <a:gd name="connsiteX1" fmla="*/ 4055920 w 4055973"/>
              <a:gd name="connsiteY1" fmla="*/ 200225 h 6652523"/>
              <a:gd name="connsiteX2" fmla="*/ 4046758 w 4055973"/>
              <a:gd name="connsiteY2" fmla="*/ 6652523 h 6652523"/>
              <a:gd name="connsiteX3" fmla="*/ 579722 w 4055973"/>
              <a:gd name="connsiteY3" fmla="*/ 6642301 h 6652523"/>
              <a:gd name="connsiteX4" fmla="*/ 0 w 4055973"/>
              <a:gd name="connsiteY4" fmla="*/ 6062579 h 6652523"/>
              <a:gd name="connsiteX5" fmla="*/ 0 w 4055973"/>
              <a:gd name="connsiteY5" fmla="*/ 0 h 6652523"/>
              <a:gd name="connsiteX0" fmla="*/ 0 w 4046758"/>
              <a:gd name="connsiteY0" fmla="*/ 0 h 6652523"/>
              <a:gd name="connsiteX1" fmla="*/ 4044045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1655 h 6654178"/>
              <a:gd name="connsiteX1" fmla="*/ 3082144 w 4046758"/>
              <a:gd name="connsiteY1" fmla="*/ 0 h 6654178"/>
              <a:gd name="connsiteX2" fmla="*/ 4046758 w 4046758"/>
              <a:gd name="connsiteY2" fmla="*/ 6654178 h 6654178"/>
              <a:gd name="connsiteX3" fmla="*/ 579722 w 4046758"/>
              <a:gd name="connsiteY3" fmla="*/ 6643956 h 6654178"/>
              <a:gd name="connsiteX4" fmla="*/ 0 w 4046758"/>
              <a:gd name="connsiteY4" fmla="*/ 6064234 h 6654178"/>
              <a:gd name="connsiteX5" fmla="*/ 0 w 4046758"/>
              <a:gd name="connsiteY5" fmla="*/ 1655 h 6654178"/>
              <a:gd name="connsiteX0" fmla="*/ 0 w 4046758"/>
              <a:gd name="connsiteY0" fmla="*/ 0 h 6652523"/>
              <a:gd name="connsiteX1" fmla="*/ 2975266 w 4046758"/>
              <a:gd name="connsiteY1" fmla="*/ 93348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0 h 6652523"/>
              <a:gd name="connsiteX1" fmla="*/ 3070268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0 h 6652523"/>
              <a:gd name="connsiteX1" fmla="*/ 3082144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3082197"/>
              <a:gd name="connsiteY0" fmla="*/ 0 h 6652523"/>
              <a:gd name="connsiteX1" fmla="*/ 3082144 w 3082197"/>
              <a:gd name="connsiteY1" fmla="*/ 10220 h 6652523"/>
              <a:gd name="connsiteX2" fmla="*/ 3072982 w 3082197"/>
              <a:gd name="connsiteY2" fmla="*/ 6652523 h 6652523"/>
              <a:gd name="connsiteX3" fmla="*/ 579722 w 3082197"/>
              <a:gd name="connsiteY3" fmla="*/ 6642301 h 6652523"/>
              <a:gd name="connsiteX4" fmla="*/ 0 w 3082197"/>
              <a:gd name="connsiteY4" fmla="*/ 6062579 h 6652523"/>
              <a:gd name="connsiteX5" fmla="*/ 0 w 3082197"/>
              <a:gd name="connsiteY5" fmla="*/ 0 h 6652523"/>
              <a:gd name="connsiteX0" fmla="*/ 0 w 3072982"/>
              <a:gd name="connsiteY0" fmla="*/ 0 h 6652523"/>
              <a:gd name="connsiteX1" fmla="*/ 3010892 w 3072982"/>
              <a:gd name="connsiteY1" fmla="*/ 164599 h 6652523"/>
              <a:gd name="connsiteX2" fmla="*/ 3072982 w 3072982"/>
              <a:gd name="connsiteY2" fmla="*/ 6652523 h 6652523"/>
              <a:gd name="connsiteX3" fmla="*/ 579722 w 3072982"/>
              <a:gd name="connsiteY3" fmla="*/ 6642301 h 6652523"/>
              <a:gd name="connsiteX4" fmla="*/ 0 w 3072982"/>
              <a:gd name="connsiteY4" fmla="*/ 6062579 h 6652523"/>
              <a:gd name="connsiteX5" fmla="*/ 0 w 3072982"/>
              <a:gd name="connsiteY5" fmla="*/ 0 h 6652523"/>
              <a:gd name="connsiteX0" fmla="*/ 0 w 3082197"/>
              <a:gd name="connsiteY0" fmla="*/ 1656 h 6654179"/>
              <a:gd name="connsiteX1" fmla="*/ 3082144 w 3082197"/>
              <a:gd name="connsiteY1" fmla="*/ 0 h 6654179"/>
              <a:gd name="connsiteX2" fmla="*/ 3072982 w 3082197"/>
              <a:gd name="connsiteY2" fmla="*/ 6654179 h 6654179"/>
              <a:gd name="connsiteX3" fmla="*/ 579722 w 3082197"/>
              <a:gd name="connsiteY3" fmla="*/ 6643957 h 6654179"/>
              <a:gd name="connsiteX4" fmla="*/ 0 w 3082197"/>
              <a:gd name="connsiteY4" fmla="*/ 6064235 h 6654179"/>
              <a:gd name="connsiteX5" fmla="*/ 0 w 3082197"/>
              <a:gd name="connsiteY5" fmla="*/ 1656 h 6654179"/>
              <a:gd name="connsiteX0" fmla="*/ 0 w 3082197"/>
              <a:gd name="connsiteY0" fmla="*/ 1316107 h 6654179"/>
              <a:gd name="connsiteX1" fmla="*/ 3082144 w 3082197"/>
              <a:gd name="connsiteY1" fmla="*/ 0 h 6654179"/>
              <a:gd name="connsiteX2" fmla="*/ 3072982 w 3082197"/>
              <a:gd name="connsiteY2" fmla="*/ 6654179 h 6654179"/>
              <a:gd name="connsiteX3" fmla="*/ 579722 w 3082197"/>
              <a:gd name="connsiteY3" fmla="*/ 6643957 h 6654179"/>
              <a:gd name="connsiteX4" fmla="*/ 0 w 3082197"/>
              <a:gd name="connsiteY4" fmla="*/ 6064235 h 6654179"/>
              <a:gd name="connsiteX5" fmla="*/ 0 w 3082197"/>
              <a:gd name="connsiteY5" fmla="*/ 1316107 h 6654179"/>
              <a:gd name="connsiteX0" fmla="*/ 0 w 3082197"/>
              <a:gd name="connsiteY0" fmla="*/ 1657 h 5339729"/>
              <a:gd name="connsiteX1" fmla="*/ 3082144 w 3082197"/>
              <a:gd name="connsiteY1" fmla="*/ 0 h 5339729"/>
              <a:gd name="connsiteX2" fmla="*/ 3072982 w 3082197"/>
              <a:gd name="connsiteY2" fmla="*/ 5339729 h 5339729"/>
              <a:gd name="connsiteX3" fmla="*/ 579722 w 3082197"/>
              <a:gd name="connsiteY3" fmla="*/ 5329507 h 5339729"/>
              <a:gd name="connsiteX4" fmla="*/ 0 w 3082197"/>
              <a:gd name="connsiteY4" fmla="*/ 4749785 h 5339729"/>
              <a:gd name="connsiteX5" fmla="*/ 0 w 3082197"/>
              <a:gd name="connsiteY5" fmla="*/ 1657 h 5339729"/>
              <a:gd name="connsiteX0" fmla="*/ 0 w 3082197"/>
              <a:gd name="connsiteY0" fmla="*/ 2202416 h 5339729"/>
              <a:gd name="connsiteX1" fmla="*/ 3082144 w 3082197"/>
              <a:gd name="connsiteY1" fmla="*/ 0 h 5339729"/>
              <a:gd name="connsiteX2" fmla="*/ 3072982 w 3082197"/>
              <a:gd name="connsiteY2" fmla="*/ 5339729 h 5339729"/>
              <a:gd name="connsiteX3" fmla="*/ 579722 w 3082197"/>
              <a:gd name="connsiteY3" fmla="*/ 5329507 h 5339729"/>
              <a:gd name="connsiteX4" fmla="*/ 0 w 3082197"/>
              <a:gd name="connsiteY4" fmla="*/ 4749785 h 5339729"/>
              <a:gd name="connsiteX5" fmla="*/ 0 w 3082197"/>
              <a:gd name="connsiteY5" fmla="*/ 2202416 h 5339729"/>
              <a:gd name="connsiteX0" fmla="*/ 0 w 3082197"/>
              <a:gd name="connsiteY0" fmla="*/ 1656 h 3138969"/>
              <a:gd name="connsiteX1" fmla="*/ 3082144 w 3082197"/>
              <a:gd name="connsiteY1" fmla="*/ 0 h 3138969"/>
              <a:gd name="connsiteX2" fmla="*/ 3072982 w 3082197"/>
              <a:gd name="connsiteY2" fmla="*/ 3138969 h 3138969"/>
              <a:gd name="connsiteX3" fmla="*/ 579722 w 3082197"/>
              <a:gd name="connsiteY3" fmla="*/ 3128747 h 3138969"/>
              <a:gd name="connsiteX4" fmla="*/ 0 w 3082197"/>
              <a:gd name="connsiteY4" fmla="*/ 2549025 h 3138969"/>
              <a:gd name="connsiteX5" fmla="*/ 0 w 3082197"/>
              <a:gd name="connsiteY5" fmla="*/ 1656 h 3138969"/>
              <a:gd name="connsiteX0" fmla="*/ 0 w 3082145"/>
              <a:gd name="connsiteY0" fmla="*/ 1656 h 3150544"/>
              <a:gd name="connsiteX1" fmla="*/ 3082144 w 3082145"/>
              <a:gd name="connsiteY1" fmla="*/ 0 h 3150544"/>
              <a:gd name="connsiteX2" fmla="*/ 2772041 w 3082145"/>
              <a:gd name="connsiteY2" fmla="*/ 3150544 h 3150544"/>
              <a:gd name="connsiteX3" fmla="*/ 579722 w 3082145"/>
              <a:gd name="connsiteY3" fmla="*/ 3128747 h 3150544"/>
              <a:gd name="connsiteX4" fmla="*/ 0 w 3082145"/>
              <a:gd name="connsiteY4" fmla="*/ 2549025 h 3150544"/>
              <a:gd name="connsiteX5" fmla="*/ 0 w 3082145"/>
              <a:gd name="connsiteY5" fmla="*/ 1656 h 3150544"/>
              <a:gd name="connsiteX0" fmla="*/ 0 w 2772041"/>
              <a:gd name="connsiteY0" fmla="*/ 1656 h 3150544"/>
              <a:gd name="connsiteX1" fmla="*/ 2769627 w 2772041"/>
              <a:gd name="connsiteY1" fmla="*/ 0 h 3150544"/>
              <a:gd name="connsiteX2" fmla="*/ 2772041 w 2772041"/>
              <a:gd name="connsiteY2" fmla="*/ 3150544 h 3150544"/>
              <a:gd name="connsiteX3" fmla="*/ 579722 w 2772041"/>
              <a:gd name="connsiteY3" fmla="*/ 3128747 h 3150544"/>
              <a:gd name="connsiteX4" fmla="*/ 0 w 2772041"/>
              <a:gd name="connsiteY4" fmla="*/ 2549025 h 3150544"/>
              <a:gd name="connsiteX5" fmla="*/ 0 w 2772041"/>
              <a:gd name="connsiteY5" fmla="*/ 1656 h 3150544"/>
              <a:gd name="connsiteX0" fmla="*/ 0 w 2772041"/>
              <a:gd name="connsiteY0" fmla="*/ 1656 h 3138969"/>
              <a:gd name="connsiteX1" fmla="*/ 2769627 w 2772041"/>
              <a:gd name="connsiteY1" fmla="*/ 0 h 3138969"/>
              <a:gd name="connsiteX2" fmla="*/ 2772041 w 2772041"/>
              <a:gd name="connsiteY2" fmla="*/ 3138969 h 3138969"/>
              <a:gd name="connsiteX3" fmla="*/ 579722 w 2772041"/>
              <a:gd name="connsiteY3" fmla="*/ 3128747 h 3138969"/>
              <a:gd name="connsiteX4" fmla="*/ 0 w 2772041"/>
              <a:gd name="connsiteY4" fmla="*/ 2549025 h 3138969"/>
              <a:gd name="connsiteX5" fmla="*/ 0 w 2772041"/>
              <a:gd name="connsiteY5" fmla="*/ 1656 h 3138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2041" h="3138969">
                <a:moveTo>
                  <a:pt x="0" y="1656"/>
                </a:moveTo>
                <a:lnTo>
                  <a:pt x="2769627" y="0"/>
                </a:lnTo>
                <a:cubicBezTo>
                  <a:pt x="2770532" y="2146807"/>
                  <a:pt x="2771136" y="992162"/>
                  <a:pt x="2772041" y="3138969"/>
                </a:cubicBezTo>
                <a:lnTo>
                  <a:pt x="579722" y="3128747"/>
                </a:lnTo>
                <a:cubicBezTo>
                  <a:pt x="259550" y="3128747"/>
                  <a:pt x="0" y="2869197"/>
                  <a:pt x="0" y="2549025"/>
                </a:cubicBezTo>
                <a:lnTo>
                  <a:pt x="0" y="1656"/>
                </a:lnTo>
                <a:close/>
              </a:path>
            </a:pathLst>
          </a:custGeom>
          <a:noFill/>
        </p:spPr>
        <p:txBody>
          <a:bodyPr>
            <a:normAutofit/>
          </a:bodyPr>
          <a:lstStyle>
            <a:lvl1pPr marL="0" indent="0">
              <a:buNone/>
              <a:defRPr sz="1400">
                <a:solidFill>
                  <a:schemeClr val="tx1"/>
                </a:solidFill>
              </a:defRPr>
            </a:lvl1pPr>
          </a:lstStyle>
          <a:p>
            <a:r>
              <a:rPr lang="en-JP"/>
              <a:t>Insert Picture/Text Block</a:t>
            </a:r>
          </a:p>
        </p:txBody>
      </p:sp>
      <p:sp>
        <p:nvSpPr>
          <p:cNvPr id="25" name="Picture Placeholder 9">
            <a:extLst>
              <a:ext uri="{FF2B5EF4-FFF2-40B4-BE49-F238E27FC236}">
                <a16:creationId xmlns:a16="http://schemas.microsoft.com/office/drawing/2014/main" id="{E01CF285-75D7-154A-ACF2-9393FB0B38D0}"/>
              </a:ext>
            </a:extLst>
          </p:cNvPr>
          <p:cNvSpPr>
            <a:spLocks noGrp="1"/>
          </p:cNvSpPr>
          <p:nvPr>
            <p:ph type="pic" sz="quarter" idx="20" hasCustomPrompt="1"/>
          </p:nvPr>
        </p:nvSpPr>
        <p:spPr>
          <a:xfrm>
            <a:off x="6177615" y="3076286"/>
            <a:ext cx="2772041" cy="3138969"/>
          </a:xfrm>
          <a:custGeom>
            <a:avLst/>
            <a:gdLst>
              <a:gd name="connsiteX0" fmla="*/ 0 w 10888662"/>
              <a:gd name="connsiteY0" fmla="*/ 579722 h 6442075"/>
              <a:gd name="connsiteX1" fmla="*/ 579722 w 10888662"/>
              <a:gd name="connsiteY1" fmla="*/ 0 h 6442075"/>
              <a:gd name="connsiteX2" fmla="*/ 10308940 w 10888662"/>
              <a:gd name="connsiteY2" fmla="*/ 0 h 6442075"/>
              <a:gd name="connsiteX3" fmla="*/ 10888662 w 10888662"/>
              <a:gd name="connsiteY3" fmla="*/ 579722 h 6442075"/>
              <a:gd name="connsiteX4" fmla="*/ 10888662 w 10888662"/>
              <a:gd name="connsiteY4" fmla="*/ 5862353 h 6442075"/>
              <a:gd name="connsiteX5" fmla="*/ 10308940 w 10888662"/>
              <a:gd name="connsiteY5" fmla="*/ 6442075 h 6442075"/>
              <a:gd name="connsiteX6" fmla="*/ 579722 w 10888662"/>
              <a:gd name="connsiteY6" fmla="*/ 6442075 h 6442075"/>
              <a:gd name="connsiteX7" fmla="*/ 0 w 10888662"/>
              <a:gd name="connsiteY7" fmla="*/ 5862353 h 6442075"/>
              <a:gd name="connsiteX8" fmla="*/ 0 w 10888662"/>
              <a:gd name="connsiteY8" fmla="*/ 579722 h 6442075"/>
              <a:gd name="connsiteX0" fmla="*/ 0 w 10888662"/>
              <a:gd name="connsiteY0" fmla="*/ 659657 h 6522010"/>
              <a:gd name="connsiteX1" fmla="*/ 10308940 w 10888662"/>
              <a:gd name="connsiteY1" fmla="*/ 79935 h 6522010"/>
              <a:gd name="connsiteX2" fmla="*/ 10888662 w 10888662"/>
              <a:gd name="connsiteY2" fmla="*/ 659657 h 6522010"/>
              <a:gd name="connsiteX3" fmla="*/ 10888662 w 10888662"/>
              <a:gd name="connsiteY3" fmla="*/ 5942288 h 6522010"/>
              <a:gd name="connsiteX4" fmla="*/ 10308940 w 10888662"/>
              <a:gd name="connsiteY4" fmla="*/ 6522010 h 6522010"/>
              <a:gd name="connsiteX5" fmla="*/ 579722 w 10888662"/>
              <a:gd name="connsiteY5" fmla="*/ 6522010 h 6522010"/>
              <a:gd name="connsiteX6" fmla="*/ 0 w 10888662"/>
              <a:gd name="connsiteY6" fmla="*/ 5942288 h 6522010"/>
              <a:gd name="connsiteX7" fmla="*/ 0 w 10888662"/>
              <a:gd name="connsiteY7" fmla="*/ 659657 h 6522010"/>
              <a:gd name="connsiteX0" fmla="*/ 0 w 10888662"/>
              <a:gd name="connsiteY0" fmla="*/ 579722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579722 h 6442075"/>
              <a:gd name="connsiteX0" fmla="*/ 0 w 10888662"/>
              <a:gd name="connsiteY0" fmla="*/ 129257 h 6569679"/>
              <a:gd name="connsiteX1" fmla="*/ 10308940 w 10888662"/>
              <a:gd name="connsiteY1" fmla="*/ 127604 h 6569679"/>
              <a:gd name="connsiteX2" fmla="*/ 10888662 w 10888662"/>
              <a:gd name="connsiteY2" fmla="*/ 707326 h 6569679"/>
              <a:gd name="connsiteX3" fmla="*/ 10888662 w 10888662"/>
              <a:gd name="connsiteY3" fmla="*/ 5989957 h 6569679"/>
              <a:gd name="connsiteX4" fmla="*/ 10308940 w 10888662"/>
              <a:gd name="connsiteY4" fmla="*/ 6569679 h 6569679"/>
              <a:gd name="connsiteX5" fmla="*/ 579722 w 10888662"/>
              <a:gd name="connsiteY5" fmla="*/ 6569679 h 6569679"/>
              <a:gd name="connsiteX6" fmla="*/ 0 w 10888662"/>
              <a:gd name="connsiteY6" fmla="*/ 5989957 h 6569679"/>
              <a:gd name="connsiteX7" fmla="*/ 0 w 10888662"/>
              <a:gd name="connsiteY7" fmla="*/ 129257 h 6569679"/>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9657299 w 10888662"/>
              <a:gd name="connsiteY4" fmla="*/ 55276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522010"/>
              <a:gd name="connsiteX1" fmla="*/ 10308940 w 10888662"/>
              <a:gd name="connsiteY1" fmla="*/ 0 h 6522010"/>
              <a:gd name="connsiteX2" fmla="*/ 10888662 w 10888662"/>
              <a:gd name="connsiteY2" fmla="*/ 579722 h 6522010"/>
              <a:gd name="connsiteX3" fmla="*/ 10888662 w 10888662"/>
              <a:gd name="connsiteY3" fmla="*/ 5862353 h 6522010"/>
              <a:gd name="connsiteX4" fmla="*/ 579722 w 10888662"/>
              <a:gd name="connsiteY4" fmla="*/ 6442075 h 6522010"/>
              <a:gd name="connsiteX5" fmla="*/ 0 w 10888662"/>
              <a:gd name="connsiteY5" fmla="*/ 5862353 h 6522010"/>
              <a:gd name="connsiteX6" fmla="*/ 0 w 10888662"/>
              <a:gd name="connsiteY6" fmla="*/ 1653 h 6522010"/>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579722 w 10888662"/>
              <a:gd name="connsiteY4" fmla="*/ 6442075 h 6442075"/>
              <a:gd name="connsiteX5" fmla="*/ 0 w 10888662"/>
              <a:gd name="connsiteY5" fmla="*/ 5862353 h 6442075"/>
              <a:gd name="connsiteX6" fmla="*/ 0 w 10888662"/>
              <a:gd name="connsiteY6" fmla="*/ 1653 h 6442075"/>
              <a:gd name="connsiteX0" fmla="*/ 0 w 10888662"/>
              <a:gd name="connsiteY0" fmla="*/ 1653 h 6585432"/>
              <a:gd name="connsiteX1" fmla="*/ 10308940 w 10888662"/>
              <a:gd name="connsiteY1" fmla="*/ 0 h 6585432"/>
              <a:gd name="connsiteX2" fmla="*/ 10888662 w 10888662"/>
              <a:gd name="connsiteY2" fmla="*/ 579722 h 6585432"/>
              <a:gd name="connsiteX3" fmla="*/ 10878151 w 10888662"/>
              <a:gd name="connsiteY3" fmla="*/ 6461442 h 6585432"/>
              <a:gd name="connsiteX4" fmla="*/ 579722 w 10888662"/>
              <a:gd name="connsiteY4" fmla="*/ 6442075 h 6585432"/>
              <a:gd name="connsiteX5" fmla="*/ 0 w 10888662"/>
              <a:gd name="connsiteY5" fmla="*/ 5862353 h 6585432"/>
              <a:gd name="connsiteX6" fmla="*/ 0 w 10888662"/>
              <a:gd name="connsiteY6" fmla="*/ 1653 h 6585432"/>
              <a:gd name="connsiteX0" fmla="*/ 0 w 10888662"/>
              <a:gd name="connsiteY0" fmla="*/ 1653 h 6577502"/>
              <a:gd name="connsiteX1" fmla="*/ 10308940 w 10888662"/>
              <a:gd name="connsiteY1" fmla="*/ 0 h 6577502"/>
              <a:gd name="connsiteX2" fmla="*/ 10888662 w 10888662"/>
              <a:gd name="connsiteY2" fmla="*/ 579722 h 6577502"/>
              <a:gd name="connsiteX3" fmla="*/ 10878151 w 10888662"/>
              <a:gd name="connsiteY3" fmla="*/ 6450932 h 6577502"/>
              <a:gd name="connsiteX4" fmla="*/ 579722 w 10888662"/>
              <a:gd name="connsiteY4" fmla="*/ 6442075 h 6577502"/>
              <a:gd name="connsiteX5" fmla="*/ 0 w 10888662"/>
              <a:gd name="connsiteY5" fmla="*/ 5862353 h 6577502"/>
              <a:gd name="connsiteX6" fmla="*/ 0 w 10888662"/>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0888662"/>
              <a:gd name="connsiteY0" fmla="*/ 1653 h 6450932"/>
              <a:gd name="connsiteX1" fmla="*/ 10308940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0999550"/>
              <a:gd name="connsiteY0" fmla="*/ 1653 h 6450932"/>
              <a:gd name="connsiteX1" fmla="*/ 10844968 w 10999550"/>
              <a:gd name="connsiteY1" fmla="*/ 0 h 6450932"/>
              <a:gd name="connsiteX2" fmla="*/ 10888662 w 10999550"/>
              <a:gd name="connsiteY2" fmla="*/ 579722 h 6450932"/>
              <a:gd name="connsiteX3" fmla="*/ 10878151 w 10999550"/>
              <a:gd name="connsiteY3" fmla="*/ 6450932 h 6450932"/>
              <a:gd name="connsiteX4" fmla="*/ 579722 w 10999550"/>
              <a:gd name="connsiteY4" fmla="*/ 6442075 h 6450932"/>
              <a:gd name="connsiteX5" fmla="*/ 0 w 10999550"/>
              <a:gd name="connsiteY5" fmla="*/ 5862353 h 6450932"/>
              <a:gd name="connsiteX6" fmla="*/ 0 w 10999550"/>
              <a:gd name="connsiteY6" fmla="*/ 1653 h 6450932"/>
              <a:gd name="connsiteX0" fmla="*/ 0 w 11022020"/>
              <a:gd name="connsiteY0" fmla="*/ 1653 h 6450932"/>
              <a:gd name="connsiteX1" fmla="*/ 10876499 w 11022020"/>
              <a:gd name="connsiteY1" fmla="*/ 0 h 6450932"/>
              <a:gd name="connsiteX2" fmla="*/ 10888662 w 11022020"/>
              <a:gd name="connsiteY2" fmla="*/ 579722 h 6450932"/>
              <a:gd name="connsiteX3" fmla="*/ 10878151 w 11022020"/>
              <a:gd name="connsiteY3" fmla="*/ 6450932 h 6450932"/>
              <a:gd name="connsiteX4" fmla="*/ 579722 w 11022020"/>
              <a:gd name="connsiteY4" fmla="*/ 6442075 h 6450932"/>
              <a:gd name="connsiteX5" fmla="*/ 0 w 11022020"/>
              <a:gd name="connsiteY5" fmla="*/ 5862353 h 6450932"/>
              <a:gd name="connsiteX6" fmla="*/ 0 w 11022020"/>
              <a:gd name="connsiteY6" fmla="*/ 1653 h 6450932"/>
              <a:gd name="connsiteX0" fmla="*/ 0 w 10888662"/>
              <a:gd name="connsiteY0" fmla="*/ 1653 h 6450932"/>
              <a:gd name="connsiteX1" fmla="*/ 10876499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2200990"/>
              <a:gd name="connsiteY0" fmla="*/ 1653 h 6450932"/>
              <a:gd name="connsiteX1" fmla="*/ 10876499 w 12200990"/>
              <a:gd name="connsiteY1" fmla="*/ 0 h 6450932"/>
              <a:gd name="connsiteX2" fmla="*/ 10878151 w 12200990"/>
              <a:gd name="connsiteY2" fmla="*/ 6450932 h 6450932"/>
              <a:gd name="connsiteX3" fmla="*/ 579722 w 12200990"/>
              <a:gd name="connsiteY3" fmla="*/ 6442075 h 6450932"/>
              <a:gd name="connsiteX4" fmla="*/ 0 w 12200990"/>
              <a:gd name="connsiteY4" fmla="*/ 5862353 h 6450932"/>
              <a:gd name="connsiteX5" fmla="*/ 0 w 12200990"/>
              <a:gd name="connsiteY5" fmla="*/ 1653 h 6450932"/>
              <a:gd name="connsiteX0" fmla="*/ 0 w 11640630"/>
              <a:gd name="connsiteY0" fmla="*/ 1653 h 6450932"/>
              <a:gd name="connsiteX1" fmla="*/ 10876499 w 11640630"/>
              <a:gd name="connsiteY1" fmla="*/ 0 h 6450932"/>
              <a:gd name="connsiteX2" fmla="*/ 10878151 w 11640630"/>
              <a:gd name="connsiteY2" fmla="*/ 6450932 h 6450932"/>
              <a:gd name="connsiteX3" fmla="*/ 579722 w 11640630"/>
              <a:gd name="connsiteY3" fmla="*/ 6442075 h 6450932"/>
              <a:gd name="connsiteX4" fmla="*/ 0 w 11640630"/>
              <a:gd name="connsiteY4" fmla="*/ 5862353 h 6450932"/>
              <a:gd name="connsiteX5" fmla="*/ 0 w 11640630"/>
              <a:gd name="connsiteY5" fmla="*/ 1653 h 6450932"/>
              <a:gd name="connsiteX0" fmla="*/ 0 w 10878151"/>
              <a:gd name="connsiteY0" fmla="*/ 1653 h 6450932"/>
              <a:gd name="connsiteX1" fmla="*/ 10876499 w 10878151"/>
              <a:gd name="connsiteY1" fmla="*/ 0 h 6450932"/>
              <a:gd name="connsiteX2" fmla="*/ 10878151 w 10878151"/>
              <a:gd name="connsiteY2" fmla="*/ 6450932 h 6450932"/>
              <a:gd name="connsiteX3" fmla="*/ 579722 w 10878151"/>
              <a:gd name="connsiteY3" fmla="*/ 6442075 h 6450932"/>
              <a:gd name="connsiteX4" fmla="*/ 0 w 10878151"/>
              <a:gd name="connsiteY4" fmla="*/ 5862353 h 6450932"/>
              <a:gd name="connsiteX5" fmla="*/ 0 w 10878151"/>
              <a:gd name="connsiteY5" fmla="*/ 1653 h 6450932"/>
              <a:gd name="connsiteX0" fmla="*/ 0 w 11843451"/>
              <a:gd name="connsiteY0" fmla="*/ 1653 h 6450932"/>
              <a:gd name="connsiteX1" fmla="*/ 11843451 w 11843451"/>
              <a:gd name="connsiteY1" fmla="*/ 0 h 6450932"/>
              <a:gd name="connsiteX2" fmla="*/ 10878151 w 11843451"/>
              <a:gd name="connsiteY2" fmla="*/ 6450932 h 6450932"/>
              <a:gd name="connsiteX3" fmla="*/ 579722 w 11843451"/>
              <a:gd name="connsiteY3" fmla="*/ 6442075 h 6450932"/>
              <a:gd name="connsiteX4" fmla="*/ 0 w 11843451"/>
              <a:gd name="connsiteY4" fmla="*/ 5862353 h 6450932"/>
              <a:gd name="connsiteX5" fmla="*/ 0 w 11843451"/>
              <a:gd name="connsiteY5" fmla="*/ 1653 h 6450932"/>
              <a:gd name="connsiteX0" fmla="*/ 0 w 11855613"/>
              <a:gd name="connsiteY0" fmla="*/ 1653 h 6450932"/>
              <a:gd name="connsiteX1" fmla="*/ 11843451 w 11855613"/>
              <a:gd name="connsiteY1" fmla="*/ 0 h 6450932"/>
              <a:gd name="connsiteX2" fmla="*/ 11855613 w 11855613"/>
              <a:gd name="connsiteY2" fmla="*/ 6450932 h 6450932"/>
              <a:gd name="connsiteX3" fmla="*/ 579722 w 11855613"/>
              <a:gd name="connsiteY3" fmla="*/ 6442075 h 6450932"/>
              <a:gd name="connsiteX4" fmla="*/ 0 w 11855613"/>
              <a:gd name="connsiteY4" fmla="*/ 5862353 h 6450932"/>
              <a:gd name="connsiteX5" fmla="*/ 0 w 11855613"/>
              <a:gd name="connsiteY5" fmla="*/ 1653 h 6450932"/>
              <a:gd name="connsiteX0" fmla="*/ 0 w 11864472"/>
              <a:gd name="connsiteY0" fmla="*/ 1653 h 6450932"/>
              <a:gd name="connsiteX1" fmla="*/ 11864472 w 11864472"/>
              <a:gd name="connsiteY1" fmla="*/ 0 h 6450932"/>
              <a:gd name="connsiteX2" fmla="*/ 11855613 w 11864472"/>
              <a:gd name="connsiteY2" fmla="*/ 6450932 h 6450932"/>
              <a:gd name="connsiteX3" fmla="*/ 579722 w 11864472"/>
              <a:gd name="connsiteY3" fmla="*/ 6442075 h 6450932"/>
              <a:gd name="connsiteX4" fmla="*/ 0 w 11864472"/>
              <a:gd name="connsiteY4" fmla="*/ 5862353 h 6450932"/>
              <a:gd name="connsiteX5" fmla="*/ 0 w 11864472"/>
              <a:gd name="connsiteY5" fmla="*/ 1653 h 6450932"/>
              <a:gd name="connsiteX0" fmla="*/ 0 w 11864472"/>
              <a:gd name="connsiteY0" fmla="*/ 1653 h 6442075"/>
              <a:gd name="connsiteX1" fmla="*/ 11864472 w 11864472"/>
              <a:gd name="connsiteY1" fmla="*/ 0 h 6442075"/>
              <a:gd name="connsiteX2" fmla="*/ 11855613 w 11864472"/>
              <a:gd name="connsiteY2" fmla="*/ 6440421 h 6442075"/>
              <a:gd name="connsiteX3" fmla="*/ 579722 w 11864472"/>
              <a:gd name="connsiteY3" fmla="*/ 6442075 h 6442075"/>
              <a:gd name="connsiteX4" fmla="*/ 0 w 11864472"/>
              <a:gd name="connsiteY4" fmla="*/ 5862353 h 6442075"/>
              <a:gd name="connsiteX5" fmla="*/ 0 w 11864472"/>
              <a:gd name="connsiteY5" fmla="*/ 1653 h 6442075"/>
              <a:gd name="connsiteX0" fmla="*/ 0 w 11855613"/>
              <a:gd name="connsiteY0" fmla="*/ 1653 h 6442075"/>
              <a:gd name="connsiteX1" fmla="*/ 8912928 w 11855613"/>
              <a:gd name="connsiteY1" fmla="*/ 0 h 6442075"/>
              <a:gd name="connsiteX2" fmla="*/ 11855613 w 11855613"/>
              <a:gd name="connsiteY2" fmla="*/ 6440421 h 6442075"/>
              <a:gd name="connsiteX3" fmla="*/ 579722 w 11855613"/>
              <a:gd name="connsiteY3" fmla="*/ 6442075 h 6442075"/>
              <a:gd name="connsiteX4" fmla="*/ 0 w 11855613"/>
              <a:gd name="connsiteY4" fmla="*/ 5862353 h 6442075"/>
              <a:gd name="connsiteX5" fmla="*/ 0 w 11855613"/>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74032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36077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1615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15642"/>
              <a:gd name="connsiteY0" fmla="*/ 1653 h 6442075"/>
              <a:gd name="connsiteX1" fmla="*/ 8912928 w 8915642"/>
              <a:gd name="connsiteY1" fmla="*/ 0 h 6442075"/>
              <a:gd name="connsiteX2" fmla="*/ 8915642 w 8915642"/>
              <a:gd name="connsiteY2" fmla="*/ 6440421 h 6442075"/>
              <a:gd name="connsiteX3" fmla="*/ 579722 w 8915642"/>
              <a:gd name="connsiteY3" fmla="*/ 6442075 h 6442075"/>
              <a:gd name="connsiteX4" fmla="*/ 0 w 8915642"/>
              <a:gd name="connsiteY4" fmla="*/ 5862353 h 6442075"/>
              <a:gd name="connsiteX5" fmla="*/ 0 w 8915642"/>
              <a:gd name="connsiteY5" fmla="*/ 1653 h 6442075"/>
              <a:gd name="connsiteX0" fmla="*/ 0 w 8915642"/>
              <a:gd name="connsiteY0" fmla="*/ 1 h 6618553"/>
              <a:gd name="connsiteX1" fmla="*/ 8912928 w 8915642"/>
              <a:gd name="connsiteY1" fmla="*/ 176478 h 6618553"/>
              <a:gd name="connsiteX2" fmla="*/ 8915642 w 8915642"/>
              <a:gd name="connsiteY2" fmla="*/ 6616899 h 6618553"/>
              <a:gd name="connsiteX3" fmla="*/ 579722 w 8915642"/>
              <a:gd name="connsiteY3" fmla="*/ 6618553 h 6618553"/>
              <a:gd name="connsiteX4" fmla="*/ 0 w 8915642"/>
              <a:gd name="connsiteY4" fmla="*/ 6038831 h 6618553"/>
              <a:gd name="connsiteX5" fmla="*/ 0 w 8915642"/>
              <a:gd name="connsiteY5" fmla="*/ 1 h 6618553"/>
              <a:gd name="connsiteX0" fmla="*/ 0 w 8915642"/>
              <a:gd name="connsiteY0" fmla="*/ 25404 h 6643956"/>
              <a:gd name="connsiteX1" fmla="*/ 6015348 w 8915642"/>
              <a:gd name="connsiteY1" fmla="*/ 0 h 6643956"/>
              <a:gd name="connsiteX2" fmla="*/ 8915642 w 8915642"/>
              <a:gd name="connsiteY2" fmla="*/ 6642302 h 6643956"/>
              <a:gd name="connsiteX3" fmla="*/ 579722 w 8915642"/>
              <a:gd name="connsiteY3" fmla="*/ 6643956 h 6643956"/>
              <a:gd name="connsiteX4" fmla="*/ 0 w 8915642"/>
              <a:gd name="connsiteY4" fmla="*/ 6064234 h 6643956"/>
              <a:gd name="connsiteX5" fmla="*/ 0 w 8915642"/>
              <a:gd name="connsiteY5" fmla="*/ 25404 h 6643956"/>
              <a:gd name="connsiteX0" fmla="*/ 0 w 8915642"/>
              <a:gd name="connsiteY0" fmla="*/ 1653 h 6620205"/>
              <a:gd name="connsiteX1" fmla="*/ 6003473 w 8915642"/>
              <a:gd name="connsiteY1" fmla="*/ 0 h 6620205"/>
              <a:gd name="connsiteX2" fmla="*/ 8915642 w 8915642"/>
              <a:gd name="connsiteY2" fmla="*/ 6618551 h 6620205"/>
              <a:gd name="connsiteX3" fmla="*/ 579722 w 8915642"/>
              <a:gd name="connsiteY3" fmla="*/ 6620205 h 6620205"/>
              <a:gd name="connsiteX4" fmla="*/ 0 w 8915642"/>
              <a:gd name="connsiteY4" fmla="*/ 6040483 h 6620205"/>
              <a:gd name="connsiteX5" fmla="*/ 0 w 8915642"/>
              <a:gd name="connsiteY5" fmla="*/ 1653 h 6620205"/>
              <a:gd name="connsiteX0" fmla="*/ 0 w 8915642"/>
              <a:gd name="connsiteY0" fmla="*/ 96656 h 6620205"/>
              <a:gd name="connsiteX1" fmla="*/ 6003473 w 8915642"/>
              <a:gd name="connsiteY1" fmla="*/ 0 h 6620205"/>
              <a:gd name="connsiteX2" fmla="*/ 8915642 w 8915642"/>
              <a:gd name="connsiteY2" fmla="*/ 6618551 h 6620205"/>
              <a:gd name="connsiteX3" fmla="*/ 579722 w 8915642"/>
              <a:gd name="connsiteY3" fmla="*/ 6620205 h 6620205"/>
              <a:gd name="connsiteX4" fmla="*/ 0 w 8915642"/>
              <a:gd name="connsiteY4" fmla="*/ 6040483 h 6620205"/>
              <a:gd name="connsiteX5" fmla="*/ 0 w 8915642"/>
              <a:gd name="connsiteY5" fmla="*/ 96656 h 6620205"/>
              <a:gd name="connsiteX0" fmla="*/ 0 w 8915642"/>
              <a:gd name="connsiteY0" fmla="*/ 0 h 6642302"/>
              <a:gd name="connsiteX1" fmla="*/ 6003473 w 8915642"/>
              <a:gd name="connsiteY1" fmla="*/ 22097 h 6642302"/>
              <a:gd name="connsiteX2" fmla="*/ 8915642 w 8915642"/>
              <a:gd name="connsiteY2" fmla="*/ 6640648 h 6642302"/>
              <a:gd name="connsiteX3" fmla="*/ 579722 w 8915642"/>
              <a:gd name="connsiteY3" fmla="*/ 6642302 h 6642302"/>
              <a:gd name="connsiteX4" fmla="*/ 0 w 8915642"/>
              <a:gd name="connsiteY4" fmla="*/ 6062580 h 6642302"/>
              <a:gd name="connsiteX5" fmla="*/ 0 w 8915642"/>
              <a:gd name="connsiteY5" fmla="*/ 0 h 6642302"/>
              <a:gd name="connsiteX0" fmla="*/ 0 w 8915642"/>
              <a:gd name="connsiteY0" fmla="*/ 0 h 6642302"/>
              <a:gd name="connsiteX1" fmla="*/ 5932221 w 8915642"/>
              <a:gd name="connsiteY1" fmla="*/ 152725 h 6642302"/>
              <a:gd name="connsiteX2" fmla="*/ 8915642 w 8915642"/>
              <a:gd name="connsiteY2" fmla="*/ 6640648 h 6642302"/>
              <a:gd name="connsiteX3" fmla="*/ 579722 w 8915642"/>
              <a:gd name="connsiteY3" fmla="*/ 6642302 h 6642302"/>
              <a:gd name="connsiteX4" fmla="*/ 0 w 8915642"/>
              <a:gd name="connsiteY4" fmla="*/ 6062580 h 6642302"/>
              <a:gd name="connsiteX5" fmla="*/ 0 w 8915642"/>
              <a:gd name="connsiteY5" fmla="*/ 0 h 6642302"/>
              <a:gd name="connsiteX0" fmla="*/ 0 w 8915642"/>
              <a:gd name="connsiteY0" fmla="*/ 1654 h 6643956"/>
              <a:gd name="connsiteX1" fmla="*/ 6003473 w 8915642"/>
              <a:gd name="connsiteY1" fmla="*/ 0 h 6643956"/>
              <a:gd name="connsiteX2" fmla="*/ 8915642 w 8915642"/>
              <a:gd name="connsiteY2" fmla="*/ 6642302 h 6643956"/>
              <a:gd name="connsiteX3" fmla="*/ 579722 w 8915642"/>
              <a:gd name="connsiteY3" fmla="*/ 6643956 h 6643956"/>
              <a:gd name="connsiteX4" fmla="*/ 0 w 8915642"/>
              <a:gd name="connsiteY4" fmla="*/ 6064234 h 6643956"/>
              <a:gd name="connsiteX5" fmla="*/ 0 w 8915642"/>
              <a:gd name="connsiteY5" fmla="*/ 1654 h 6643956"/>
              <a:gd name="connsiteX0" fmla="*/ 0 w 6018062"/>
              <a:gd name="connsiteY0" fmla="*/ 1654 h 6654178"/>
              <a:gd name="connsiteX1" fmla="*/ 6003473 w 6018062"/>
              <a:gd name="connsiteY1" fmla="*/ 0 h 6654178"/>
              <a:gd name="connsiteX2" fmla="*/ 6018062 w 6018062"/>
              <a:gd name="connsiteY2" fmla="*/ 6654178 h 6654178"/>
              <a:gd name="connsiteX3" fmla="*/ 579722 w 6018062"/>
              <a:gd name="connsiteY3" fmla="*/ 6643956 h 6654178"/>
              <a:gd name="connsiteX4" fmla="*/ 0 w 6018062"/>
              <a:gd name="connsiteY4" fmla="*/ 6064234 h 6654178"/>
              <a:gd name="connsiteX5" fmla="*/ 0 w 6018062"/>
              <a:gd name="connsiteY5" fmla="*/ 1654 h 6654178"/>
              <a:gd name="connsiteX0" fmla="*/ 0 w 6018062"/>
              <a:gd name="connsiteY0" fmla="*/ 203535 h 6654178"/>
              <a:gd name="connsiteX1" fmla="*/ 6003473 w 6018062"/>
              <a:gd name="connsiteY1" fmla="*/ 0 h 6654178"/>
              <a:gd name="connsiteX2" fmla="*/ 6018062 w 6018062"/>
              <a:gd name="connsiteY2" fmla="*/ 6654178 h 6654178"/>
              <a:gd name="connsiteX3" fmla="*/ 579722 w 6018062"/>
              <a:gd name="connsiteY3" fmla="*/ 6643956 h 6654178"/>
              <a:gd name="connsiteX4" fmla="*/ 0 w 6018062"/>
              <a:gd name="connsiteY4" fmla="*/ 6064234 h 6654178"/>
              <a:gd name="connsiteX5" fmla="*/ 0 w 6018062"/>
              <a:gd name="connsiteY5" fmla="*/ 203535 h 6654178"/>
              <a:gd name="connsiteX0" fmla="*/ 0 w 6018062"/>
              <a:gd name="connsiteY0" fmla="*/ 1655 h 6452298"/>
              <a:gd name="connsiteX1" fmla="*/ 4055920 w 6018062"/>
              <a:gd name="connsiteY1" fmla="*/ 0 h 6452298"/>
              <a:gd name="connsiteX2" fmla="*/ 6018062 w 6018062"/>
              <a:gd name="connsiteY2" fmla="*/ 6452298 h 6452298"/>
              <a:gd name="connsiteX3" fmla="*/ 579722 w 6018062"/>
              <a:gd name="connsiteY3" fmla="*/ 6442076 h 6452298"/>
              <a:gd name="connsiteX4" fmla="*/ 0 w 6018062"/>
              <a:gd name="connsiteY4" fmla="*/ 5862354 h 6452298"/>
              <a:gd name="connsiteX5" fmla="*/ 0 w 6018062"/>
              <a:gd name="connsiteY5" fmla="*/ 1655 h 6452298"/>
              <a:gd name="connsiteX0" fmla="*/ 0 w 4055973"/>
              <a:gd name="connsiteY0" fmla="*/ 1655 h 6452298"/>
              <a:gd name="connsiteX1" fmla="*/ 4055920 w 4055973"/>
              <a:gd name="connsiteY1" fmla="*/ 0 h 6452298"/>
              <a:gd name="connsiteX2" fmla="*/ 4046758 w 4055973"/>
              <a:gd name="connsiteY2" fmla="*/ 6452298 h 6452298"/>
              <a:gd name="connsiteX3" fmla="*/ 579722 w 4055973"/>
              <a:gd name="connsiteY3" fmla="*/ 6442076 h 6452298"/>
              <a:gd name="connsiteX4" fmla="*/ 0 w 4055973"/>
              <a:gd name="connsiteY4" fmla="*/ 5862354 h 6452298"/>
              <a:gd name="connsiteX5" fmla="*/ 0 w 4055973"/>
              <a:gd name="connsiteY5" fmla="*/ 1655 h 6452298"/>
              <a:gd name="connsiteX0" fmla="*/ 0 w 4055973"/>
              <a:gd name="connsiteY0" fmla="*/ 0 h 6652523"/>
              <a:gd name="connsiteX1" fmla="*/ 4055920 w 4055973"/>
              <a:gd name="connsiteY1" fmla="*/ 200225 h 6652523"/>
              <a:gd name="connsiteX2" fmla="*/ 4046758 w 4055973"/>
              <a:gd name="connsiteY2" fmla="*/ 6652523 h 6652523"/>
              <a:gd name="connsiteX3" fmla="*/ 579722 w 4055973"/>
              <a:gd name="connsiteY3" fmla="*/ 6642301 h 6652523"/>
              <a:gd name="connsiteX4" fmla="*/ 0 w 4055973"/>
              <a:gd name="connsiteY4" fmla="*/ 6062579 h 6652523"/>
              <a:gd name="connsiteX5" fmla="*/ 0 w 4055973"/>
              <a:gd name="connsiteY5" fmla="*/ 0 h 6652523"/>
              <a:gd name="connsiteX0" fmla="*/ 0 w 4046758"/>
              <a:gd name="connsiteY0" fmla="*/ 0 h 6652523"/>
              <a:gd name="connsiteX1" fmla="*/ 4044045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1655 h 6654178"/>
              <a:gd name="connsiteX1" fmla="*/ 3082144 w 4046758"/>
              <a:gd name="connsiteY1" fmla="*/ 0 h 6654178"/>
              <a:gd name="connsiteX2" fmla="*/ 4046758 w 4046758"/>
              <a:gd name="connsiteY2" fmla="*/ 6654178 h 6654178"/>
              <a:gd name="connsiteX3" fmla="*/ 579722 w 4046758"/>
              <a:gd name="connsiteY3" fmla="*/ 6643956 h 6654178"/>
              <a:gd name="connsiteX4" fmla="*/ 0 w 4046758"/>
              <a:gd name="connsiteY4" fmla="*/ 6064234 h 6654178"/>
              <a:gd name="connsiteX5" fmla="*/ 0 w 4046758"/>
              <a:gd name="connsiteY5" fmla="*/ 1655 h 6654178"/>
              <a:gd name="connsiteX0" fmla="*/ 0 w 4046758"/>
              <a:gd name="connsiteY0" fmla="*/ 0 h 6652523"/>
              <a:gd name="connsiteX1" fmla="*/ 2975266 w 4046758"/>
              <a:gd name="connsiteY1" fmla="*/ 93348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0 h 6652523"/>
              <a:gd name="connsiteX1" fmla="*/ 3070268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0 h 6652523"/>
              <a:gd name="connsiteX1" fmla="*/ 3082144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3082197"/>
              <a:gd name="connsiteY0" fmla="*/ 0 h 6652523"/>
              <a:gd name="connsiteX1" fmla="*/ 3082144 w 3082197"/>
              <a:gd name="connsiteY1" fmla="*/ 10220 h 6652523"/>
              <a:gd name="connsiteX2" fmla="*/ 3072982 w 3082197"/>
              <a:gd name="connsiteY2" fmla="*/ 6652523 h 6652523"/>
              <a:gd name="connsiteX3" fmla="*/ 579722 w 3082197"/>
              <a:gd name="connsiteY3" fmla="*/ 6642301 h 6652523"/>
              <a:gd name="connsiteX4" fmla="*/ 0 w 3082197"/>
              <a:gd name="connsiteY4" fmla="*/ 6062579 h 6652523"/>
              <a:gd name="connsiteX5" fmla="*/ 0 w 3082197"/>
              <a:gd name="connsiteY5" fmla="*/ 0 h 6652523"/>
              <a:gd name="connsiteX0" fmla="*/ 0 w 3072982"/>
              <a:gd name="connsiteY0" fmla="*/ 0 h 6652523"/>
              <a:gd name="connsiteX1" fmla="*/ 3010892 w 3072982"/>
              <a:gd name="connsiteY1" fmla="*/ 164599 h 6652523"/>
              <a:gd name="connsiteX2" fmla="*/ 3072982 w 3072982"/>
              <a:gd name="connsiteY2" fmla="*/ 6652523 h 6652523"/>
              <a:gd name="connsiteX3" fmla="*/ 579722 w 3072982"/>
              <a:gd name="connsiteY3" fmla="*/ 6642301 h 6652523"/>
              <a:gd name="connsiteX4" fmla="*/ 0 w 3072982"/>
              <a:gd name="connsiteY4" fmla="*/ 6062579 h 6652523"/>
              <a:gd name="connsiteX5" fmla="*/ 0 w 3072982"/>
              <a:gd name="connsiteY5" fmla="*/ 0 h 6652523"/>
              <a:gd name="connsiteX0" fmla="*/ 0 w 3082197"/>
              <a:gd name="connsiteY0" fmla="*/ 1656 h 6654179"/>
              <a:gd name="connsiteX1" fmla="*/ 3082144 w 3082197"/>
              <a:gd name="connsiteY1" fmla="*/ 0 h 6654179"/>
              <a:gd name="connsiteX2" fmla="*/ 3072982 w 3082197"/>
              <a:gd name="connsiteY2" fmla="*/ 6654179 h 6654179"/>
              <a:gd name="connsiteX3" fmla="*/ 579722 w 3082197"/>
              <a:gd name="connsiteY3" fmla="*/ 6643957 h 6654179"/>
              <a:gd name="connsiteX4" fmla="*/ 0 w 3082197"/>
              <a:gd name="connsiteY4" fmla="*/ 6064235 h 6654179"/>
              <a:gd name="connsiteX5" fmla="*/ 0 w 3082197"/>
              <a:gd name="connsiteY5" fmla="*/ 1656 h 6654179"/>
              <a:gd name="connsiteX0" fmla="*/ 0 w 3082197"/>
              <a:gd name="connsiteY0" fmla="*/ 1316107 h 6654179"/>
              <a:gd name="connsiteX1" fmla="*/ 3082144 w 3082197"/>
              <a:gd name="connsiteY1" fmla="*/ 0 h 6654179"/>
              <a:gd name="connsiteX2" fmla="*/ 3072982 w 3082197"/>
              <a:gd name="connsiteY2" fmla="*/ 6654179 h 6654179"/>
              <a:gd name="connsiteX3" fmla="*/ 579722 w 3082197"/>
              <a:gd name="connsiteY3" fmla="*/ 6643957 h 6654179"/>
              <a:gd name="connsiteX4" fmla="*/ 0 w 3082197"/>
              <a:gd name="connsiteY4" fmla="*/ 6064235 h 6654179"/>
              <a:gd name="connsiteX5" fmla="*/ 0 w 3082197"/>
              <a:gd name="connsiteY5" fmla="*/ 1316107 h 6654179"/>
              <a:gd name="connsiteX0" fmla="*/ 0 w 3082197"/>
              <a:gd name="connsiteY0" fmla="*/ 1657 h 5339729"/>
              <a:gd name="connsiteX1" fmla="*/ 3082144 w 3082197"/>
              <a:gd name="connsiteY1" fmla="*/ 0 h 5339729"/>
              <a:gd name="connsiteX2" fmla="*/ 3072982 w 3082197"/>
              <a:gd name="connsiteY2" fmla="*/ 5339729 h 5339729"/>
              <a:gd name="connsiteX3" fmla="*/ 579722 w 3082197"/>
              <a:gd name="connsiteY3" fmla="*/ 5329507 h 5339729"/>
              <a:gd name="connsiteX4" fmla="*/ 0 w 3082197"/>
              <a:gd name="connsiteY4" fmla="*/ 4749785 h 5339729"/>
              <a:gd name="connsiteX5" fmla="*/ 0 w 3082197"/>
              <a:gd name="connsiteY5" fmla="*/ 1657 h 5339729"/>
              <a:gd name="connsiteX0" fmla="*/ 0 w 3082197"/>
              <a:gd name="connsiteY0" fmla="*/ 2202416 h 5339729"/>
              <a:gd name="connsiteX1" fmla="*/ 3082144 w 3082197"/>
              <a:gd name="connsiteY1" fmla="*/ 0 h 5339729"/>
              <a:gd name="connsiteX2" fmla="*/ 3072982 w 3082197"/>
              <a:gd name="connsiteY2" fmla="*/ 5339729 h 5339729"/>
              <a:gd name="connsiteX3" fmla="*/ 579722 w 3082197"/>
              <a:gd name="connsiteY3" fmla="*/ 5329507 h 5339729"/>
              <a:gd name="connsiteX4" fmla="*/ 0 w 3082197"/>
              <a:gd name="connsiteY4" fmla="*/ 4749785 h 5339729"/>
              <a:gd name="connsiteX5" fmla="*/ 0 w 3082197"/>
              <a:gd name="connsiteY5" fmla="*/ 2202416 h 5339729"/>
              <a:gd name="connsiteX0" fmla="*/ 0 w 3082197"/>
              <a:gd name="connsiteY0" fmla="*/ 1656 h 3138969"/>
              <a:gd name="connsiteX1" fmla="*/ 3082144 w 3082197"/>
              <a:gd name="connsiteY1" fmla="*/ 0 h 3138969"/>
              <a:gd name="connsiteX2" fmla="*/ 3072982 w 3082197"/>
              <a:gd name="connsiteY2" fmla="*/ 3138969 h 3138969"/>
              <a:gd name="connsiteX3" fmla="*/ 579722 w 3082197"/>
              <a:gd name="connsiteY3" fmla="*/ 3128747 h 3138969"/>
              <a:gd name="connsiteX4" fmla="*/ 0 w 3082197"/>
              <a:gd name="connsiteY4" fmla="*/ 2549025 h 3138969"/>
              <a:gd name="connsiteX5" fmla="*/ 0 w 3082197"/>
              <a:gd name="connsiteY5" fmla="*/ 1656 h 3138969"/>
              <a:gd name="connsiteX0" fmla="*/ 0 w 3082145"/>
              <a:gd name="connsiteY0" fmla="*/ 1656 h 3150544"/>
              <a:gd name="connsiteX1" fmla="*/ 3082144 w 3082145"/>
              <a:gd name="connsiteY1" fmla="*/ 0 h 3150544"/>
              <a:gd name="connsiteX2" fmla="*/ 2772041 w 3082145"/>
              <a:gd name="connsiteY2" fmla="*/ 3150544 h 3150544"/>
              <a:gd name="connsiteX3" fmla="*/ 579722 w 3082145"/>
              <a:gd name="connsiteY3" fmla="*/ 3128747 h 3150544"/>
              <a:gd name="connsiteX4" fmla="*/ 0 w 3082145"/>
              <a:gd name="connsiteY4" fmla="*/ 2549025 h 3150544"/>
              <a:gd name="connsiteX5" fmla="*/ 0 w 3082145"/>
              <a:gd name="connsiteY5" fmla="*/ 1656 h 3150544"/>
              <a:gd name="connsiteX0" fmla="*/ 0 w 2772041"/>
              <a:gd name="connsiteY0" fmla="*/ 1656 h 3150544"/>
              <a:gd name="connsiteX1" fmla="*/ 2769627 w 2772041"/>
              <a:gd name="connsiteY1" fmla="*/ 0 h 3150544"/>
              <a:gd name="connsiteX2" fmla="*/ 2772041 w 2772041"/>
              <a:gd name="connsiteY2" fmla="*/ 3150544 h 3150544"/>
              <a:gd name="connsiteX3" fmla="*/ 579722 w 2772041"/>
              <a:gd name="connsiteY3" fmla="*/ 3128747 h 3150544"/>
              <a:gd name="connsiteX4" fmla="*/ 0 w 2772041"/>
              <a:gd name="connsiteY4" fmla="*/ 2549025 h 3150544"/>
              <a:gd name="connsiteX5" fmla="*/ 0 w 2772041"/>
              <a:gd name="connsiteY5" fmla="*/ 1656 h 3150544"/>
              <a:gd name="connsiteX0" fmla="*/ 0 w 2772041"/>
              <a:gd name="connsiteY0" fmla="*/ 1656 h 3138969"/>
              <a:gd name="connsiteX1" fmla="*/ 2769627 w 2772041"/>
              <a:gd name="connsiteY1" fmla="*/ 0 h 3138969"/>
              <a:gd name="connsiteX2" fmla="*/ 2772041 w 2772041"/>
              <a:gd name="connsiteY2" fmla="*/ 3138969 h 3138969"/>
              <a:gd name="connsiteX3" fmla="*/ 579722 w 2772041"/>
              <a:gd name="connsiteY3" fmla="*/ 3128747 h 3138969"/>
              <a:gd name="connsiteX4" fmla="*/ 0 w 2772041"/>
              <a:gd name="connsiteY4" fmla="*/ 2549025 h 3138969"/>
              <a:gd name="connsiteX5" fmla="*/ 0 w 2772041"/>
              <a:gd name="connsiteY5" fmla="*/ 1656 h 3138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2041" h="3138969">
                <a:moveTo>
                  <a:pt x="0" y="1656"/>
                </a:moveTo>
                <a:lnTo>
                  <a:pt x="2769627" y="0"/>
                </a:lnTo>
                <a:cubicBezTo>
                  <a:pt x="2770532" y="2146807"/>
                  <a:pt x="2771136" y="992162"/>
                  <a:pt x="2772041" y="3138969"/>
                </a:cubicBezTo>
                <a:lnTo>
                  <a:pt x="579722" y="3128747"/>
                </a:lnTo>
                <a:cubicBezTo>
                  <a:pt x="259550" y="3128747"/>
                  <a:pt x="0" y="2869197"/>
                  <a:pt x="0" y="2549025"/>
                </a:cubicBezTo>
                <a:lnTo>
                  <a:pt x="0" y="1656"/>
                </a:lnTo>
                <a:close/>
              </a:path>
            </a:pathLst>
          </a:custGeom>
          <a:noFill/>
        </p:spPr>
        <p:txBody>
          <a:bodyPr>
            <a:normAutofit/>
          </a:bodyPr>
          <a:lstStyle>
            <a:lvl1pPr marL="0" indent="0">
              <a:buNone/>
              <a:defRPr sz="1400">
                <a:solidFill>
                  <a:schemeClr val="tx1"/>
                </a:solidFill>
              </a:defRPr>
            </a:lvl1pPr>
          </a:lstStyle>
          <a:p>
            <a:r>
              <a:rPr lang="en-US"/>
              <a:t>Insert Picture/Text Block</a:t>
            </a:r>
          </a:p>
          <a:p>
            <a:endParaRPr lang="en-US"/>
          </a:p>
          <a:p>
            <a:endParaRPr lang="en-JP"/>
          </a:p>
        </p:txBody>
      </p:sp>
      <p:pic>
        <p:nvPicPr>
          <p:cNvPr id="14" name="Picture 13" descr="Takeda">
            <a:extLst>
              <a:ext uri="{FF2B5EF4-FFF2-40B4-BE49-F238E27FC236}">
                <a16:creationId xmlns:a16="http://schemas.microsoft.com/office/drawing/2014/main" id="{47FD433F-488A-9D46-BDF0-87D0F082AE4B}"/>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46331" y="-1615"/>
            <a:ext cx="1696232" cy="940780"/>
          </a:xfrm>
          <a:prstGeom prst="rect">
            <a:avLst/>
          </a:prstGeom>
        </p:spPr>
      </p:pic>
      <p:sp>
        <p:nvSpPr>
          <p:cNvPr id="18" name="タイトル プレースホルダ 1">
            <a:extLst>
              <a:ext uri="{FF2B5EF4-FFF2-40B4-BE49-F238E27FC236}">
                <a16:creationId xmlns:a16="http://schemas.microsoft.com/office/drawing/2014/main" id="{4FBB8310-69E6-7C4E-A4B1-C022B6FEE2CE}"/>
              </a:ext>
            </a:extLst>
          </p:cNvPr>
          <p:cNvSpPr>
            <a:spLocks noGrp="1"/>
          </p:cNvSpPr>
          <p:nvPr>
            <p:ph type="title" hasCustomPrompt="1"/>
          </p:nvPr>
        </p:nvSpPr>
        <p:spPr>
          <a:xfrm>
            <a:off x="606078" y="161605"/>
            <a:ext cx="9940253" cy="685801"/>
          </a:xfrm>
          <a:prstGeom prst="rect">
            <a:avLst/>
          </a:prstGeom>
        </p:spPr>
        <p:txBody>
          <a:bodyPr vert="horz" lIns="0" tIns="0" rIns="0" bIns="0" rtlCol="0" anchor="ctr">
            <a:normAutofit/>
          </a:bodyPr>
          <a:lstStyle/>
          <a:p>
            <a:r>
              <a:rPr kumimoji="1" lang="en-US" altLang="ja-JP"/>
              <a:t>Click to add title</a:t>
            </a:r>
            <a:endParaRPr kumimoji="1" lang="ja-JP" altLang="en-US"/>
          </a:p>
        </p:txBody>
      </p:sp>
      <p:sp>
        <p:nvSpPr>
          <p:cNvPr id="17" name="Footer Placeholder 8">
            <a:extLst>
              <a:ext uri="{FF2B5EF4-FFF2-40B4-BE49-F238E27FC236}">
                <a16:creationId xmlns:a16="http://schemas.microsoft.com/office/drawing/2014/main" id="{4EF39473-C435-3C4E-9C7B-048D52C3CC92}"/>
              </a:ext>
            </a:extLst>
          </p:cNvPr>
          <p:cNvSpPr>
            <a:spLocks noGrp="1"/>
          </p:cNvSpPr>
          <p:nvPr>
            <p:ph type="ftr" sz="quarter" idx="3"/>
          </p:nvPr>
        </p:nvSpPr>
        <p:spPr>
          <a:xfrm>
            <a:off x="7766050" y="6523001"/>
            <a:ext cx="4114800" cy="196131"/>
          </a:xfrm>
          <a:prstGeom prst="rect">
            <a:avLst/>
          </a:prstGeom>
        </p:spPr>
        <p:txBody>
          <a:bodyPr vert="horz" lIns="91440" tIns="45720" rIns="0" bIns="45720" rtlCol="0" anchor="ctr"/>
          <a:lstStyle>
            <a:lvl1pPr algn="r">
              <a:defRPr sz="800" b="1" spc="100" baseline="0">
                <a:solidFill>
                  <a:schemeClr val="tx1"/>
                </a:solidFill>
              </a:defRPr>
            </a:lvl1pPr>
          </a:lstStyle>
          <a:p>
            <a:r>
              <a:rPr lang="en-US"/>
              <a:t> </a:t>
            </a:r>
            <a:endParaRPr lang="en-JP"/>
          </a:p>
        </p:txBody>
      </p:sp>
      <p:sp>
        <p:nvSpPr>
          <p:cNvPr id="21" name="Rectangle 20">
            <a:extLst>
              <a:ext uri="{FF2B5EF4-FFF2-40B4-BE49-F238E27FC236}">
                <a16:creationId xmlns:a16="http://schemas.microsoft.com/office/drawing/2014/main" id="{0FEF9AE6-D84E-9F43-9506-6676EC51B210}"/>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a:solidFill>
                <a:schemeClr val="accent1"/>
              </a:solidFill>
            </a:endParaRPr>
          </a:p>
        </p:txBody>
      </p:sp>
      <p:sp>
        <p:nvSpPr>
          <p:cNvPr id="28" name="スライド番号プレースホルダ 5">
            <a:extLst>
              <a:ext uri="{FF2B5EF4-FFF2-40B4-BE49-F238E27FC236}">
                <a16:creationId xmlns:a16="http://schemas.microsoft.com/office/drawing/2014/main" id="{F964ADE6-9B0D-EC45-959C-FEEA5CDDFBA9}"/>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9" name="Text Placeholder 6">
            <a:extLst>
              <a:ext uri="{FF2B5EF4-FFF2-40B4-BE49-F238E27FC236}">
                <a16:creationId xmlns:a16="http://schemas.microsoft.com/office/drawing/2014/main" id="{870D8562-3CE7-7044-9BB0-2068A81BF5CB}"/>
              </a:ext>
            </a:extLst>
          </p:cNvPr>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Private and confidential. For internal use only.</a:t>
            </a:r>
          </a:p>
        </p:txBody>
      </p:sp>
      <p:sp>
        <p:nvSpPr>
          <p:cNvPr id="19" name="Text Placeholder 2">
            <a:extLst>
              <a:ext uri="{FF2B5EF4-FFF2-40B4-BE49-F238E27FC236}">
                <a16:creationId xmlns:a16="http://schemas.microsoft.com/office/drawing/2014/main" id="{099C450B-0755-7D4A-9672-E700D6F2E50A}"/>
              </a:ext>
            </a:extLst>
          </p:cNvPr>
          <p:cNvSpPr>
            <a:spLocks noGrp="1"/>
          </p:cNvSpPr>
          <p:nvPr>
            <p:ph type="body" sz="quarter" idx="21" hasCustomPrompt="1"/>
          </p:nvPr>
        </p:nvSpPr>
        <p:spPr>
          <a:xfrm>
            <a:off x="311150" y="1491373"/>
            <a:ext cx="11569699" cy="1464957"/>
          </a:xfrm>
        </p:spPr>
        <p:txBody>
          <a:bodyPr tIns="0" rIns="0" bIns="0" numCol="1" spcCol="126000">
            <a:noAutofit/>
          </a:bodyPr>
          <a:lstStyle>
            <a:lvl1pPr marL="0" indent="0">
              <a:lnSpc>
                <a:spcPct val="100000"/>
              </a:lnSpc>
              <a:spcBef>
                <a:spcPts val="0"/>
              </a:spcBef>
              <a:buNone/>
              <a:defRPr sz="1600" b="1"/>
            </a:lvl1pPr>
            <a:lvl2pPr marL="457068" indent="0">
              <a:buNone/>
              <a:defRPr sz="1800" b="1"/>
            </a:lvl2pPr>
            <a:lvl3pPr marL="914149" indent="0">
              <a:buNone/>
              <a:defRPr sz="1800" b="1"/>
            </a:lvl3pPr>
            <a:lvl4pPr marL="1371219" indent="0">
              <a:buNone/>
              <a:defRPr sz="1800" b="1"/>
            </a:lvl4pPr>
            <a:lvl5pPr marL="1828290" indent="0">
              <a:buNone/>
              <a:defRPr sz="1800" b="1"/>
            </a:lvl5pPr>
          </a:lstStyle>
          <a:p>
            <a:pPr lvl="0"/>
            <a:r>
              <a:rPr lang="en-US"/>
              <a:t>This is your Primary Text.</a:t>
            </a:r>
            <a:endParaRPr lang="en-JP"/>
          </a:p>
        </p:txBody>
      </p:sp>
      <p:sp>
        <p:nvSpPr>
          <p:cNvPr id="20" name="Text Placeholder 6">
            <a:extLst>
              <a:ext uri="{FF2B5EF4-FFF2-40B4-BE49-F238E27FC236}">
                <a16:creationId xmlns:a16="http://schemas.microsoft.com/office/drawing/2014/main" id="{705B1BEB-AC9F-9643-A446-ABE1DDB96144}"/>
              </a:ext>
            </a:extLst>
          </p:cNvPr>
          <p:cNvSpPr>
            <a:spLocks noGrp="1"/>
          </p:cNvSpPr>
          <p:nvPr>
            <p:ph type="body" sz="quarter" idx="22" hasCustomPrompt="1"/>
          </p:nvPr>
        </p:nvSpPr>
        <p:spPr>
          <a:xfrm>
            <a:off x="311149" y="1093767"/>
            <a:ext cx="11569699" cy="272786"/>
          </a:xfrm>
        </p:spPr>
        <p:txBody>
          <a:bodyPr tIns="0" rIns="0" bIns="0" numCol="1">
            <a:noAutofit/>
          </a:bodyPr>
          <a:lstStyle>
            <a:lvl1pPr marL="0" indent="0">
              <a:lnSpc>
                <a:spcPct val="100000"/>
              </a:lnSpc>
              <a:spcBef>
                <a:spcPts val="0"/>
              </a:spcBef>
              <a:spcAft>
                <a:spcPts val="600"/>
              </a:spcAft>
              <a:buNone/>
              <a:defRPr sz="20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Primary Title</a:t>
            </a:r>
          </a:p>
        </p:txBody>
      </p:sp>
    </p:spTree>
    <p:extLst>
      <p:ext uri="{BB962C8B-B14F-4D97-AF65-F5344CB8AC3E}">
        <p14:creationId xmlns:p14="http://schemas.microsoft.com/office/powerpoint/2010/main" val="2614201370"/>
      </p:ext>
    </p:extLst>
  </p:cSld>
  <p:clrMapOvr>
    <a:masterClrMapping/>
  </p:clrMapOvr>
  <p:transition spd="slow">
    <p:push dir="u"/>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Advanced Chart Full Width">
    <p:spTree>
      <p:nvGrpSpPr>
        <p:cNvPr id="1" name=""/>
        <p:cNvGrpSpPr/>
        <p:nvPr/>
      </p:nvGrpSpPr>
      <p:grpSpPr>
        <a:xfrm>
          <a:off x="0" y="0"/>
          <a:ext cx="0" cy="0"/>
          <a:chOff x="0" y="0"/>
          <a:chExt cx="0" cy="0"/>
        </a:xfrm>
      </p:grpSpPr>
      <p:sp>
        <p:nvSpPr>
          <p:cNvPr id="8" name="Chart Placeholder 7">
            <a:extLst>
              <a:ext uri="{FF2B5EF4-FFF2-40B4-BE49-F238E27FC236}">
                <a16:creationId xmlns:a16="http://schemas.microsoft.com/office/drawing/2014/main" id="{A6D4E593-FDCC-D14E-9C5E-5F309E415C26}"/>
              </a:ext>
            </a:extLst>
          </p:cNvPr>
          <p:cNvSpPr>
            <a:spLocks noGrp="1"/>
          </p:cNvSpPr>
          <p:nvPr>
            <p:ph type="chart" sz="quarter" idx="21" hasCustomPrompt="1"/>
          </p:nvPr>
        </p:nvSpPr>
        <p:spPr>
          <a:xfrm>
            <a:off x="309223" y="3076286"/>
            <a:ext cx="11571628" cy="3340389"/>
          </a:xfrm>
          <a:prstGeom prst="rect">
            <a:avLst/>
          </a:prstGeom>
        </p:spPr>
        <p:txBody>
          <a:bodyPr>
            <a:normAutofit/>
          </a:bodyPr>
          <a:lstStyle>
            <a:lvl1pPr marL="0" indent="0">
              <a:buNone/>
              <a:defRPr sz="1400"/>
            </a:lvl1pPr>
          </a:lstStyle>
          <a:p>
            <a:r>
              <a:rPr lang="en-JP"/>
              <a:t>Insert Chart</a:t>
            </a:r>
          </a:p>
        </p:txBody>
      </p:sp>
      <p:pic>
        <p:nvPicPr>
          <p:cNvPr id="11" name="Picture 10" descr="Takeda">
            <a:extLst>
              <a:ext uri="{FF2B5EF4-FFF2-40B4-BE49-F238E27FC236}">
                <a16:creationId xmlns:a16="http://schemas.microsoft.com/office/drawing/2014/main" id="{7EBA21A8-EE4B-6E4B-A794-3FEA5B15990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46331" y="-1615"/>
            <a:ext cx="1696232" cy="940780"/>
          </a:xfrm>
          <a:prstGeom prst="rect">
            <a:avLst/>
          </a:prstGeom>
        </p:spPr>
      </p:pic>
      <p:sp>
        <p:nvSpPr>
          <p:cNvPr id="12" name="タイトル プレースホルダ 1">
            <a:extLst>
              <a:ext uri="{FF2B5EF4-FFF2-40B4-BE49-F238E27FC236}">
                <a16:creationId xmlns:a16="http://schemas.microsoft.com/office/drawing/2014/main" id="{75E45CD2-2EBD-AE47-837E-9F752C565F73}"/>
              </a:ext>
            </a:extLst>
          </p:cNvPr>
          <p:cNvSpPr>
            <a:spLocks noGrp="1"/>
          </p:cNvSpPr>
          <p:nvPr>
            <p:ph type="title" hasCustomPrompt="1"/>
          </p:nvPr>
        </p:nvSpPr>
        <p:spPr>
          <a:xfrm>
            <a:off x="606078" y="161605"/>
            <a:ext cx="9940253" cy="685801"/>
          </a:xfrm>
          <a:prstGeom prst="rect">
            <a:avLst/>
          </a:prstGeom>
        </p:spPr>
        <p:txBody>
          <a:bodyPr vert="horz" lIns="0" tIns="0" rIns="0" bIns="0" rtlCol="0" anchor="ctr">
            <a:normAutofit/>
          </a:bodyPr>
          <a:lstStyle/>
          <a:p>
            <a:r>
              <a:rPr kumimoji="1" lang="en-US" altLang="ja-JP"/>
              <a:t>Click to add title</a:t>
            </a:r>
            <a:endParaRPr kumimoji="1" lang="ja-JP" altLang="en-US"/>
          </a:p>
        </p:txBody>
      </p:sp>
      <p:sp>
        <p:nvSpPr>
          <p:cNvPr id="17" name="Footer Placeholder 8">
            <a:extLst>
              <a:ext uri="{FF2B5EF4-FFF2-40B4-BE49-F238E27FC236}">
                <a16:creationId xmlns:a16="http://schemas.microsoft.com/office/drawing/2014/main" id="{2DC26CE8-1DEF-EE42-861C-B0406E8DC23D}"/>
              </a:ext>
            </a:extLst>
          </p:cNvPr>
          <p:cNvSpPr>
            <a:spLocks noGrp="1"/>
          </p:cNvSpPr>
          <p:nvPr>
            <p:ph type="ftr" sz="quarter" idx="3"/>
          </p:nvPr>
        </p:nvSpPr>
        <p:spPr>
          <a:xfrm>
            <a:off x="7766050" y="6523001"/>
            <a:ext cx="4114800" cy="196131"/>
          </a:xfrm>
          <a:prstGeom prst="rect">
            <a:avLst/>
          </a:prstGeom>
        </p:spPr>
        <p:txBody>
          <a:bodyPr vert="horz" lIns="91440" tIns="45720" rIns="0" bIns="45720" rtlCol="0" anchor="ctr"/>
          <a:lstStyle>
            <a:lvl1pPr algn="r">
              <a:defRPr sz="800" b="1" spc="100" baseline="0">
                <a:solidFill>
                  <a:schemeClr val="tx1"/>
                </a:solidFill>
              </a:defRPr>
            </a:lvl1pPr>
          </a:lstStyle>
          <a:p>
            <a:r>
              <a:rPr lang="en-JP"/>
              <a:t> </a:t>
            </a:r>
          </a:p>
        </p:txBody>
      </p:sp>
      <p:sp>
        <p:nvSpPr>
          <p:cNvPr id="20" name="Rectangle 19">
            <a:extLst>
              <a:ext uri="{FF2B5EF4-FFF2-40B4-BE49-F238E27FC236}">
                <a16:creationId xmlns:a16="http://schemas.microsoft.com/office/drawing/2014/main" id="{4436966D-3DF0-4D41-9D26-4860D147F807}"/>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a:solidFill>
                <a:schemeClr val="accent1"/>
              </a:solidFill>
            </a:endParaRPr>
          </a:p>
        </p:txBody>
      </p:sp>
      <p:sp>
        <p:nvSpPr>
          <p:cNvPr id="23" name="スライド番号プレースホルダ 5">
            <a:extLst>
              <a:ext uri="{FF2B5EF4-FFF2-40B4-BE49-F238E27FC236}">
                <a16:creationId xmlns:a16="http://schemas.microsoft.com/office/drawing/2014/main" id="{600920FB-2D44-F645-865D-89FFECB09573}"/>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4" name="Text Placeholder 6">
            <a:extLst>
              <a:ext uri="{FF2B5EF4-FFF2-40B4-BE49-F238E27FC236}">
                <a16:creationId xmlns:a16="http://schemas.microsoft.com/office/drawing/2014/main" id="{07DE8F7E-1418-1C4C-A62B-2385714992F7}"/>
              </a:ext>
            </a:extLst>
          </p:cNvPr>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Private and confidential. For internal use only.</a:t>
            </a:r>
          </a:p>
        </p:txBody>
      </p:sp>
      <p:sp>
        <p:nvSpPr>
          <p:cNvPr id="14" name="Text Placeholder 2">
            <a:extLst>
              <a:ext uri="{FF2B5EF4-FFF2-40B4-BE49-F238E27FC236}">
                <a16:creationId xmlns:a16="http://schemas.microsoft.com/office/drawing/2014/main" id="{628A960D-6A45-6744-9BDB-7070B443CC64}"/>
              </a:ext>
            </a:extLst>
          </p:cNvPr>
          <p:cNvSpPr>
            <a:spLocks noGrp="1"/>
          </p:cNvSpPr>
          <p:nvPr>
            <p:ph type="body" sz="quarter" idx="20" hasCustomPrompt="1"/>
          </p:nvPr>
        </p:nvSpPr>
        <p:spPr>
          <a:xfrm>
            <a:off x="311150" y="1491373"/>
            <a:ext cx="11569699" cy="1464957"/>
          </a:xfrm>
        </p:spPr>
        <p:txBody>
          <a:bodyPr tIns="0" rIns="0" bIns="0" numCol="1" spcCol="126000">
            <a:noAutofit/>
          </a:bodyPr>
          <a:lstStyle>
            <a:lvl1pPr marL="0" indent="0">
              <a:lnSpc>
                <a:spcPct val="100000"/>
              </a:lnSpc>
              <a:spcBef>
                <a:spcPts val="0"/>
              </a:spcBef>
              <a:buNone/>
              <a:defRPr sz="1600" b="1"/>
            </a:lvl1pPr>
            <a:lvl2pPr marL="457068" indent="0">
              <a:buNone/>
              <a:defRPr sz="1800" b="1"/>
            </a:lvl2pPr>
            <a:lvl3pPr marL="914149" indent="0">
              <a:buNone/>
              <a:defRPr sz="1800" b="1"/>
            </a:lvl3pPr>
            <a:lvl4pPr marL="1371219" indent="0">
              <a:buNone/>
              <a:defRPr sz="1800" b="1"/>
            </a:lvl4pPr>
            <a:lvl5pPr marL="1828290" indent="0">
              <a:buNone/>
              <a:defRPr sz="1800" b="1"/>
            </a:lvl5pPr>
          </a:lstStyle>
          <a:p>
            <a:pPr lvl="0"/>
            <a:r>
              <a:rPr lang="en-US"/>
              <a:t>This is your Primary Text.</a:t>
            </a:r>
            <a:endParaRPr lang="en-JP"/>
          </a:p>
        </p:txBody>
      </p:sp>
      <p:sp>
        <p:nvSpPr>
          <p:cNvPr id="15" name="Text Placeholder 6">
            <a:extLst>
              <a:ext uri="{FF2B5EF4-FFF2-40B4-BE49-F238E27FC236}">
                <a16:creationId xmlns:a16="http://schemas.microsoft.com/office/drawing/2014/main" id="{21493179-5EA4-604B-A9DF-BDA818F0166A}"/>
              </a:ext>
            </a:extLst>
          </p:cNvPr>
          <p:cNvSpPr>
            <a:spLocks noGrp="1"/>
          </p:cNvSpPr>
          <p:nvPr>
            <p:ph type="body" sz="quarter" idx="22" hasCustomPrompt="1"/>
          </p:nvPr>
        </p:nvSpPr>
        <p:spPr>
          <a:xfrm>
            <a:off x="311149" y="1093767"/>
            <a:ext cx="11569699" cy="272786"/>
          </a:xfrm>
        </p:spPr>
        <p:txBody>
          <a:bodyPr tIns="0" rIns="0" bIns="0" numCol="1">
            <a:noAutofit/>
          </a:bodyPr>
          <a:lstStyle>
            <a:lvl1pPr marL="0" indent="0">
              <a:lnSpc>
                <a:spcPct val="100000"/>
              </a:lnSpc>
              <a:spcBef>
                <a:spcPts val="0"/>
              </a:spcBef>
              <a:spcAft>
                <a:spcPts val="600"/>
              </a:spcAft>
              <a:buNone/>
              <a:defRPr sz="20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Primary Title</a:t>
            </a:r>
          </a:p>
        </p:txBody>
      </p:sp>
    </p:spTree>
    <p:extLst>
      <p:ext uri="{BB962C8B-B14F-4D97-AF65-F5344CB8AC3E}">
        <p14:creationId xmlns:p14="http://schemas.microsoft.com/office/powerpoint/2010/main" val="1975889838"/>
      </p:ext>
    </p:extLst>
  </p:cSld>
  <p:clrMapOvr>
    <a:masterClrMapping/>
  </p:clrMapOvr>
  <p:transition spd="slow">
    <p:push dir="u"/>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Advanced Chart 2/3">
    <p:spTree>
      <p:nvGrpSpPr>
        <p:cNvPr id="1" name=""/>
        <p:cNvGrpSpPr/>
        <p:nvPr/>
      </p:nvGrpSpPr>
      <p:grpSpPr>
        <a:xfrm>
          <a:off x="0" y="0"/>
          <a:ext cx="0" cy="0"/>
          <a:chOff x="0" y="0"/>
          <a:chExt cx="0" cy="0"/>
        </a:xfrm>
      </p:grpSpPr>
      <p:sp>
        <p:nvSpPr>
          <p:cNvPr id="8" name="Chart Placeholder 7">
            <a:extLst>
              <a:ext uri="{FF2B5EF4-FFF2-40B4-BE49-F238E27FC236}">
                <a16:creationId xmlns:a16="http://schemas.microsoft.com/office/drawing/2014/main" id="{A6D4E593-FDCC-D14E-9C5E-5F309E415C26}"/>
              </a:ext>
            </a:extLst>
          </p:cNvPr>
          <p:cNvSpPr>
            <a:spLocks noGrp="1"/>
          </p:cNvSpPr>
          <p:nvPr>
            <p:ph type="chart" sz="quarter" idx="21" hasCustomPrompt="1"/>
          </p:nvPr>
        </p:nvSpPr>
        <p:spPr>
          <a:xfrm>
            <a:off x="4227225" y="1093767"/>
            <a:ext cx="7653625" cy="5322908"/>
          </a:xfrm>
          <a:prstGeom prst="rect">
            <a:avLst/>
          </a:prstGeom>
        </p:spPr>
        <p:txBody>
          <a:bodyPr>
            <a:normAutofit/>
          </a:bodyPr>
          <a:lstStyle>
            <a:lvl1pPr marL="0" indent="0">
              <a:buNone/>
              <a:defRPr sz="1400"/>
            </a:lvl1pPr>
          </a:lstStyle>
          <a:p>
            <a:r>
              <a:rPr lang="en-JP"/>
              <a:t>Insert Chart</a:t>
            </a:r>
          </a:p>
        </p:txBody>
      </p:sp>
      <p:sp>
        <p:nvSpPr>
          <p:cNvPr id="9" name="Text Placeholder 6">
            <a:extLst>
              <a:ext uri="{FF2B5EF4-FFF2-40B4-BE49-F238E27FC236}">
                <a16:creationId xmlns:a16="http://schemas.microsoft.com/office/drawing/2014/main" id="{EF65D74B-37DA-0D46-8B56-9B362C84E6B9}"/>
              </a:ext>
            </a:extLst>
          </p:cNvPr>
          <p:cNvSpPr>
            <a:spLocks noGrp="1"/>
          </p:cNvSpPr>
          <p:nvPr>
            <p:ph type="body" sz="quarter" idx="14" hasCustomPrompt="1"/>
          </p:nvPr>
        </p:nvSpPr>
        <p:spPr>
          <a:xfrm>
            <a:off x="311150" y="3178298"/>
            <a:ext cx="3751966" cy="272786"/>
          </a:xfrm>
          <a:prstGeom prst="rect">
            <a:avLst/>
          </a:prstGeom>
        </p:spPr>
        <p:txBody>
          <a:bodyPr tIns="0" rIns="0" bIns="0" numCol="1">
            <a:noAutofit/>
          </a:bodyPr>
          <a:lstStyle>
            <a:lvl1pPr marL="0" indent="0">
              <a:lnSpc>
                <a:spcPct val="100000"/>
              </a:lnSpc>
              <a:spcBef>
                <a:spcPts val="0"/>
              </a:spcBef>
              <a:spcAft>
                <a:spcPts val="600"/>
              </a:spcAft>
              <a:buNone/>
              <a:defRPr sz="18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Secondary Title</a:t>
            </a:r>
          </a:p>
        </p:txBody>
      </p:sp>
      <p:sp>
        <p:nvSpPr>
          <p:cNvPr id="10" name="Text Placeholder 6">
            <a:extLst>
              <a:ext uri="{FF2B5EF4-FFF2-40B4-BE49-F238E27FC236}">
                <a16:creationId xmlns:a16="http://schemas.microsoft.com/office/drawing/2014/main" id="{BF5F6A26-5AAA-884F-A319-DE9881530AA7}"/>
              </a:ext>
            </a:extLst>
          </p:cNvPr>
          <p:cNvSpPr>
            <a:spLocks noGrp="1"/>
          </p:cNvSpPr>
          <p:nvPr>
            <p:ph type="body" sz="quarter" idx="15" hasCustomPrompt="1"/>
          </p:nvPr>
        </p:nvSpPr>
        <p:spPr>
          <a:xfrm>
            <a:off x="311150" y="3575904"/>
            <a:ext cx="3751966" cy="2840771"/>
          </a:xfrm>
          <a:prstGeom prst="rect">
            <a:avLst/>
          </a:prstGeom>
        </p:spPr>
        <p:txBody>
          <a:bodyPr tIns="0" rIns="0" bIns="0" numCol="1">
            <a:noAutofit/>
          </a:bodyPr>
          <a:lstStyle>
            <a:lvl1pPr marL="171450" indent="-171450">
              <a:lnSpc>
                <a:spcPct val="100000"/>
              </a:lnSpc>
              <a:spcBef>
                <a:spcPts val="0"/>
              </a:spcBef>
              <a:spcAft>
                <a:spcPts val="600"/>
              </a:spcAft>
              <a:buFont typeface="Arial" panose="020B0604020202020204" pitchFamily="34" charset="0"/>
              <a:buChar char="•"/>
              <a:defRPr sz="1400" b="0">
                <a:solidFill>
                  <a:schemeClr val="tx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Secondary text.</a:t>
            </a:r>
          </a:p>
        </p:txBody>
      </p:sp>
      <p:pic>
        <p:nvPicPr>
          <p:cNvPr id="12" name="Picture 11" descr="Takeda">
            <a:extLst>
              <a:ext uri="{FF2B5EF4-FFF2-40B4-BE49-F238E27FC236}">
                <a16:creationId xmlns:a16="http://schemas.microsoft.com/office/drawing/2014/main" id="{5D7AA9CA-E651-9E48-B0F3-BDDA45B353E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46331" y="-1615"/>
            <a:ext cx="1696232" cy="940780"/>
          </a:xfrm>
          <a:prstGeom prst="rect">
            <a:avLst/>
          </a:prstGeom>
        </p:spPr>
      </p:pic>
      <p:sp>
        <p:nvSpPr>
          <p:cNvPr id="13" name="タイトル プレースホルダ 1">
            <a:extLst>
              <a:ext uri="{FF2B5EF4-FFF2-40B4-BE49-F238E27FC236}">
                <a16:creationId xmlns:a16="http://schemas.microsoft.com/office/drawing/2014/main" id="{2256F400-EDA8-7F44-BF13-278518497C9E}"/>
              </a:ext>
            </a:extLst>
          </p:cNvPr>
          <p:cNvSpPr>
            <a:spLocks noGrp="1"/>
          </p:cNvSpPr>
          <p:nvPr>
            <p:ph type="title" hasCustomPrompt="1"/>
          </p:nvPr>
        </p:nvSpPr>
        <p:spPr>
          <a:xfrm>
            <a:off x="606078" y="161605"/>
            <a:ext cx="9940253" cy="685801"/>
          </a:xfrm>
          <a:prstGeom prst="rect">
            <a:avLst/>
          </a:prstGeom>
        </p:spPr>
        <p:txBody>
          <a:bodyPr vert="horz" lIns="0" tIns="0" rIns="0" bIns="0" rtlCol="0" anchor="ctr">
            <a:normAutofit/>
          </a:bodyPr>
          <a:lstStyle/>
          <a:p>
            <a:r>
              <a:rPr kumimoji="1" lang="en-US" altLang="ja-JP"/>
              <a:t>Click to add title</a:t>
            </a:r>
            <a:endParaRPr kumimoji="1" lang="ja-JP" altLang="en-US"/>
          </a:p>
        </p:txBody>
      </p:sp>
      <p:sp>
        <p:nvSpPr>
          <p:cNvPr id="15" name="Footer Placeholder 8">
            <a:extLst>
              <a:ext uri="{FF2B5EF4-FFF2-40B4-BE49-F238E27FC236}">
                <a16:creationId xmlns:a16="http://schemas.microsoft.com/office/drawing/2014/main" id="{7136781B-A49B-0A42-B748-01C379A12FF6}"/>
              </a:ext>
            </a:extLst>
          </p:cNvPr>
          <p:cNvSpPr>
            <a:spLocks noGrp="1"/>
          </p:cNvSpPr>
          <p:nvPr>
            <p:ph type="ftr" sz="quarter" idx="3"/>
          </p:nvPr>
        </p:nvSpPr>
        <p:spPr>
          <a:xfrm>
            <a:off x="7766050" y="6523001"/>
            <a:ext cx="4114800" cy="196131"/>
          </a:xfrm>
          <a:prstGeom prst="rect">
            <a:avLst/>
          </a:prstGeom>
        </p:spPr>
        <p:txBody>
          <a:bodyPr vert="horz" lIns="91440" tIns="45720" rIns="0" bIns="45720" rtlCol="0" anchor="ctr"/>
          <a:lstStyle>
            <a:lvl1pPr algn="r">
              <a:defRPr sz="800" b="1" spc="100" baseline="0">
                <a:solidFill>
                  <a:schemeClr val="tx1"/>
                </a:solidFill>
              </a:defRPr>
            </a:lvl1pPr>
          </a:lstStyle>
          <a:p>
            <a:r>
              <a:rPr lang="en-JP"/>
              <a:t> </a:t>
            </a:r>
          </a:p>
        </p:txBody>
      </p:sp>
      <p:sp>
        <p:nvSpPr>
          <p:cNvPr id="21" name="Rectangle 20">
            <a:extLst>
              <a:ext uri="{FF2B5EF4-FFF2-40B4-BE49-F238E27FC236}">
                <a16:creationId xmlns:a16="http://schemas.microsoft.com/office/drawing/2014/main" id="{EAC2B0AC-7801-6C42-BA03-0669DC118159}"/>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a:solidFill>
                <a:schemeClr val="accent1"/>
              </a:solidFill>
            </a:endParaRPr>
          </a:p>
        </p:txBody>
      </p:sp>
      <p:sp>
        <p:nvSpPr>
          <p:cNvPr id="24" name="スライド番号プレースホルダ 5">
            <a:extLst>
              <a:ext uri="{FF2B5EF4-FFF2-40B4-BE49-F238E27FC236}">
                <a16:creationId xmlns:a16="http://schemas.microsoft.com/office/drawing/2014/main" id="{71FCF96E-3BB8-0745-B029-6B6BE4291274}"/>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5" name="Text Placeholder 6">
            <a:extLst>
              <a:ext uri="{FF2B5EF4-FFF2-40B4-BE49-F238E27FC236}">
                <a16:creationId xmlns:a16="http://schemas.microsoft.com/office/drawing/2014/main" id="{875659DC-941F-AA40-8336-C3B1BF32BAD6}"/>
              </a:ext>
            </a:extLst>
          </p:cNvPr>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Private and confidential. For internal use only.</a:t>
            </a:r>
          </a:p>
        </p:txBody>
      </p:sp>
      <p:sp>
        <p:nvSpPr>
          <p:cNvPr id="17" name="Text Placeholder 2">
            <a:extLst>
              <a:ext uri="{FF2B5EF4-FFF2-40B4-BE49-F238E27FC236}">
                <a16:creationId xmlns:a16="http://schemas.microsoft.com/office/drawing/2014/main" id="{45375A5A-6A84-7145-B49C-982F84619406}"/>
              </a:ext>
            </a:extLst>
          </p:cNvPr>
          <p:cNvSpPr>
            <a:spLocks noGrp="1"/>
          </p:cNvSpPr>
          <p:nvPr>
            <p:ph type="body" sz="quarter" idx="20" hasCustomPrompt="1"/>
          </p:nvPr>
        </p:nvSpPr>
        <p:spPr>
          <a:xfrm>
            <a:off x="311151" y="1491373"/>
            <a:ext cx="3751965" cy="1464957"/>
          </a:xfrm>
        </p:spPr>
        <p:txBody>
          <a:bodyPr tIns="0" rIns="0" bIns="0" numCol="1" spcCol="126000">
            <a:noAutofit/>
          </a:bodyPr>
          <a:lstStyle>
            <a:lvl1pPr marL="0" indent="0">
              <a:lnSpc>
                <a:spcPct val="100000"/>
              </a:lnSpc>
              <a:spcBef>
                <a:spcPts val="0"/>
              </a:spcBef>
              <a:buNone/>
              <a:defRPr sz="1600" b="1"/>
            </a:lvl1pPr>
            <a:lvl2pPr marL="457068" indent="0">
              <a:buNone/>
              <a:defRPr sz="1800" b="1"/>
            </a:lvl2pPr>
            <a:lvl3pPr marL="914149" indent="0">
              <a:buNone/>
              <a:defRPr sz="1800" b="1"/>
            </a:lvl3pPr>
            <a:lvl4pPr marL="1371219" indent="0">
              <a:buNone/>
              <a:defRPr sz="1800" b="1"/>
            </a:lvl4pPr>
            <a:lvl5pPr marL="1828290" indent="0">
              <a:buNone/>
              <a:defRPr sz="1800" b="1"/>
            </a:lvl5pPr>
          </a:lstStyle>
          <a:p>
            <a:pPr lvl="0"/>
            <a:r>
              <a:rPr lang="en-US"/>
              <a:t>This is your Primary Text.</a:t>
            </a:r>
            <a:endParaRPr lang="en-JP"/>
          </a:p>
        </p:txBody>
      </p:sp>
      <p:sp>
        <p:nvSpPr>
          <p:cNvPr id="18" name="Text Placeholder 6">
            <a:extLst>
              <a:ext uri="{FF2B5EF4-FFF2-40B4-BE49-F238E27FC236}">
                <a16:creationId xmlns:a16="http://schemas.microsoft.com/office/drawing/2014/main" id="{5F7E9041-544E-3547-AC30-65F55E91E1ED}"/>
              </a:ext>
            </a:extLst>
          </p:cNvPr>
          <p:cNvSpPr>
            <a:spLocks noGrp="1"/>
          </p:cNvSpPr>
          <p:nvPr>
            <p:ph type="body" sz="quarter" idx="22" hasCustomPrompt="1"/>
          </p:nvPr>
        </p:nvSpPr>
        <p:spPr>
          <a:xfrm>
            <a:off x="311150" y="1093767"/>
            <a:ext cx="3751965" cy="272786"/>
          </a:xfrm>
        </p:spPr>
        <p:txBody>
          <a:bodyPr tIns="0" rIns="0" bIns="0" numCol="1">
            <a:noAutofit/>
          </a:bodyPr>
          <a:lstStyle>
            <a:lvl1pPr marL="0" indent="0">
              <a:lnSpc>
                <a:spcPct val="100000"/>
              </a:lnSpc>
              <a:spcBef>
                <a:spcPts val="0"/>
              </a:spcBef>
              <a:spcAft>
                <a:spcPts val="600"/>
              </a:spcAft>
              <a:buNone/>
              <a:defRPr sz="20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Primary Title</a:t>
            </a:r>
          </a:p>
        </p:txBody>
      </p:sp>
    </p:spTree>
    <p:extLst>
      <p:ext uri="{BB962C8B-B14F-4D97-AF65-F5344CB8AC3E}">
        <p14:creationId xmlns:p14="http://schemas.microsoft.com/office/powerpoint/2010/main" val="1048509091"/>
      </p:ext>
    </p:extLst>
  </p:cSld>
  <p:clrMapOvr>
    <a:masterClrMapping/>
  </p:clrMapOvr>
  <p:transition spd="slow">
    <p:push dir="u"/>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Advanced Chart 2 Column">
    <p:spTree>
      <p:nvGrpSpPr>
        <p:cNvPr id="1" name=""/>
        <p:cNvGrpSpPr/>
        <p:nvPr/>
      </p:nvGrpSpPr>
      <p:grpSpPr>
        <a:xfrm>
          <a:off x="0" y="0"/>
          <a:ext cx="0" cy="0"/>
          <a:chOff x="0" y="0"/>
          <a:chExt cx="0" cy="0"/>
        </a:xfrm>
      </p:grpSpPr>
      <p:sp>
        <p:nvSpPr>
          <p:cNvPr id="8" name="Chart Placeholder 7">
            <a:extLst>
              <a:ext uri="{FF2B5EF4-FFF2-40B4-BE49-F238E27FC236}">
                <a16:creationId xmlns:a16="http://schemas.microsoft.com/office/drawing/2014/main" id="{A6D4E593-FDCC-D14E-9C5E-5F309E415C26}"/>
              </a:ext>
            </a:extLst>
          </p:cNvPr>
          <p:cNvSpPr>
            <a:spLocks noGrp="1"/>
          </p:cNvSpPr>
          <p:nvPr>
            <p:ph type="chart" sz="quarter" idx="21" hasCustomPrompt="1"/>
          </p:nvPr>
        </p:nvSpPr>
        <p:spPr>
          <a:xfrm>
            <a:off x="309223" y="3076286"/>
            <a:ext cx="5708650" cy="3340389"/>
          </a:xfrm>
          <a:prstGeom prst="rect">
            <a:avLst/>
          </a:prstGeom>
        </p:spPr>
        <p:txBody>
          <a:bodyPr>
            <a:normAutofit/>
          </a:bodyPr>
          <a:lstStyle>
            <a:lvl1pPr marL="0" indent="0">
              <a:buNone/>
              <a:defRPr sz="1400"/>
            </a:lvl1pPr>
          </a:lstStyle>
          <a:p>
            <a:r>
              <a:rPr lang="en-JP"/>
              <a:t>Insert Chart</a:t>
            </a:r>
          </a:p>
        </p:txBody>
      </p:sp>
      <p:sp>
        <p:nvSpPr>
          <p:cNvPr id="9" name="Chart Placeholder 7">
            <a:extLst>
              <a:ext uri="{FF2B5EF4-FFF2-40B4-BE49-F238E27FC236}">
                <a16:creationId xmlns:a16="http://schemas.microsoft.com/office/drawing/2014/main" id="{F1FC7466-185A-8B44-ABF0-5410C1127700}"/>
              </a:ext>
            </a:extLst>
          </p:cNvPr>
          <p:cNvSpPr>
            <a:spLocks noGrp="1"/>
          </p:cNvSpPr>
          <p:nvPr>
            <p:ph type="chart" sz="quarter" idx="22" hasCustomPrompt="1"/>
          </p:nvPr>
        </p:nvSpPr>
        <p:spPr>
          <a:xfrm>
            <a:off x="6206170" y="3076286"/>
            <a:ext cx="5708650" cy="3340389"/>
          </a:xfrm>
          <a:prstGeom prst="rect">
            <a:avLst/>
          </a:prstGeom>
        </p:spPr>
        <p:txBody>
          <a:bodyPr>
            <a:normAutofit/>
          </a:bodyPr>
          <a:lstStyle>
            <a:lvl1pPr marL="0" indent="0">
              <a:buNone/>
              <a:defRPr sz="1400"/>
            </a:lvl1pPr>
          </a:lstStyle>
          <a:p>
            <a:r>
              <a:rPr lang="en-JP"/>
              <a:t>Insert Chart</a:t>
            </a:r>
          </a:p>
        </p:txBody>
      </p:sp>
      <p:pic>
        <p:nvPicPr>
          <p:cNvPr id="10" name="Picture 9" descr="Takeda">
            <a:extLst>
              <a:ext uri="{FF2B5EF4-FFF2-40B4-BE49-F238E27FC236}">
                <a16:creationId xmlns:a16="http://schemas.microsoft.com/office/drawing/2014/main" id="{F183604A-2112-D443-8B35-2DFEE7121A6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46331" y="-1615"/>
            <a:ext cx="1696232" cy="940780"/>
          </a:xfrm>
          <a:prstGeom prst="rect">
            <a:avLst/>
          </a:prstGeom>
        </p:spPr>
      </p:pic>
      <p:sp>
        <p:nvSpPr>
          <p:cNvPr id="12" name="タイトル プレースホルダ 1">
            <a:extLst>
              <a:ext uri="{FF2B5EF4-FFF2-40B4-BE49-F238E27FC236}">
                <a16:creationId xmlns:a16="http://schemas.microsoft.com/office/drawing/2014/main" id="{906CE02B-33D8-B048-A73D-781A3402C2B1}"/>
              </a:ext>
            </a:extLst>
          </p:cNvPr>
          <p:cNvSpPr>
            <a:spLocks noGrp="1"/>
          </p:cNvSpPr>
          <p:nvPr>
            <p:ph type="title" hasCustomPrompt="1"/>
          </p:nvPr>
        </p:nvSpPr>
        <p:spPr>
          <a:xfrm>
            <a:off x="606078" y="161605"/>
            <a:ext cx="9940253" cy="685801"/>
          </a:xfrm>
          <a:prstGeom prst="rect">
            <a:avLst/>
          </a:prstGeom>
        </p:spPr>
        <p:txBody>
          <a:bodyPr vert="horz" lIns="0" tIns="0" rIns="0" bIns="0" rtlCol="0" anchor="ctr">
            <a:normAutofit/>
          </a:bodyPr>
          <a:lstStyle/>
          <a:p>
            <a:r>
              <a:rPr kumimoji="1" lang="en-US" altLang="ja-JP"/>
              <a:t>Click to add title</a:t>
            </a:r>
            <a:endParaRPr kumimoji="1" lang="ja-JP" altLang="en-US"/>
          </a:p>
        </p:txBody>
      </p:sp>
      <p:sp>
        <p:nvSpPr>
          <p:cNvPr id="14" name="Footer Placeholder 8">
            <a:extLst>
              <a:ext uri="{FF2B5EF4-FFF2-40B4-BE49-F238E27FC236}">
                <a16:creationId xmlns:a16="http://schemas.microsoft.com/office/drawing/2014/main" id="{C2587943-8F51-3542-B7BE-5781719445F9}"/>
              </a:ext>
            </a:extLst>
          </p:cNvPr>
          <p:cNvSpPr>
            <a:spLocks noGrp="1"/>
          </p:cNvSpPr>
          <p:nvPr>
            <p:ph type="ftr" sz="quarter" idx="3"/>
          </p:nvPr>
        </p:nvSpPr>
        <p:spPr>
          <a:xfrm>
            <a:off x="7766050" y="6523001"/>
            <a:ext cx="4114800" cy="196131"/>
          </a:xfrm>
          <a:prstGeom prst="rect">
            <a:avLst/>
          </a:prstGeom>
        </p:spPr>
        <p:txBody>
          <a:bodyPr vert="horz" lIns="91440" tIns="45720" rIns="0" bIns="45720" rtlCol="0" anchor="ctr"/>
          <a:lstStyle>
            <a:lvl1pPr algn="r">
              <a:defRPr sz="800" b="1" spc="100" baseline="0">
                <a:solidFill>
                  <a:schemeClr val="tx1"/>
                </a:solidFill>
              </a:defRPr>
            </a:lvl1pPr>
          </a:lstStyle>
          <a:p>
            <a:r>
              <a:rPr lang="en-JP"/>
              <a:t> </a:t>
            </a:r>
          </a:p>
        </p:txBody>
      </p:sp>
      <p:sp>
        <p:nvSpPr>
          <p:cNvPr id="17" name="Rectangle 16">
            <a:extLst>
              <a:ext uri="{FF2B5EF4-FFF2-40B4-BE49-F238E27FC236}">
                <a16:creationId xmlns:a16="http://schemas.microsoft.com/office/drawing/2014/main" id="{B679FB0B-7616-F04F-9B4C-586869A82E96}"/>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a:solidFill>
                <a:schemeClr val="accent1"/>
              </a:solidFill>
            </a:endParaRPr>
          </a:p>
        </p:txBody>
      </p:sp>
      <p:sp>
        <p:nvSpPr>
          <p:cNvPr id="22" name="スライド番号プレースホルダ 5">
            <a:extLst>
              <a:ext uri="{FF2B5EF4-FFF2-40B4-BE49-F238E27FC236}">
                <a16:creationId xmlns:a16="http://schemas.microsoft.com/office/drawing/2014/main" id="{8AFBB1AB-19B7-1347-93F8-D14235DD2317}"/>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3" name="Text Placeholder 6">
            <a:extLst>
              <a:ext uri="{FF2B5EF4-FFF2-40B4-BE49-F238E27FC236}">
                <a16:creationId xmlns:a16="http://schemas.microsoft.com/office/drawing/2014/main" id="{1C168495-CA79-E440-A93B-B87B36748352}"/>
              </a:ext>
            </a:extLst>
          </p:cNvPr>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Private and confidential. For internal use only.</a:t>
            </a:r>
          </a:p>
        </p:txBody>
      </p:sp>
      <p:sp>
        <p:nvSpPr>
          <p:cNvPr id="15" name="Text Placeholder 2">
            <a:extLst>
              <a:ext uri="{FF2B5EF4-FFF2-40B4-BE49-F238E27FC236}">
                <a16:creationId xmlns:a16="http://schemas.microsoft.com/office/drawing/2014/main" id="{F6F06E4B-A978-4E46-AE6C-67B54F7E34D5}"/>
              </a:ext>
            </a:extLst>
          </p:cNvPr>
          <p:cNvSpPr>
            <a:spLocks noGrp="1"/>
          </p:cNvSpPr>
          <p:nvPr>
            <p:ph type="body" sz="quarter" idx="20" hasCustomPrompt="1"/>
          </p:nvPr>
        </p:nvSpPr>
        <p:spPr>
          <a:xfrm>
            <a:off x="311150" y="1491373"/>
            <a:ext cx="11603669" cy="1464957"/>
          </a:xfrm>
        </p:spPr>
        <p:txBody>
          <a:bodyPr tIns="0" rIns="0" bIns="0" numCol="2" spcCol="126000">
            <a:noAutofit/>
          </a:bodyPr>
          <a:lstStyle>
            <a:lvl1pPr marL="0" indent="0">
              <a:lnSpc>
                <a:spcPct val="100000"/>
              </a:lnSpc>
              <a:spcBef>
                <a:spcPts val="0"/>
              </a:spcBef>
              <a:buNone/>
              <a:defRPr sz="1600" b="1"/>
            </a:lvl1pPr>
            <a:lvl2pPr marL="457068" indent="0">
              <a:buNone/>
              <a:defRPr sz="1800" b="1"/>
            </a:lvl2pPr>
            <a:lvl3pPr marL="914149" indent="0">
              <a:buNone/>
              <a:defRPr sz="1800" b="1"/>
            </a:lvl3pPr>
            <a:lvl4pPr marL="1371219" indent="0">
              <a:buNone/>
              <a:defRPr sz="1800" b="1"/>
            </a:lvl4pPr>
            <a:lvl5pPr marL="1828290" indent="0">
              <a:buNone/>
              <a:defRPr sz="1800" b="1"/>
            </a:lvl5pPr>
          </a:lstStyle>
          <a:p>
            <a:pPr lvl="0"/>
            <a:r>
              <a:rPr lang="en-US"/>
              <a:t>This is your Primary Text.</a:t>
            </a:r>
            <a:endParaRPr lang="en-JP"/>
          </a:p>
        </p:txBody>
      </p:sp>
      <p:sp>
        <p:nvSpPr>
          <p:cNvPr id="18" name="Text Placeholder 6">
            <a:extLst>
              <a:ext uri="{FF2B5EF4-FFF2-40B4-BE49-F238E27FC236}">
                <a16:creationId xmlns:a16="http://schemas.microsoft.com/office/drawing/2014/main" id="{3FF373A1-4E48-6C48-A075-153436CF76DC}"/>
              </a:ext>
            </a:extLst>
          </p:cNvPr>
          <p:cNvSpPr>
            <a:spLocks noGrp="1"/>
          </p:cNvSpPr>
          <p:nvPr>
            <p:ph type="body" sz="quarter" idx="23" hasCustomPrompt="1"/>
          </p:nvPr>
        </p:nvSpPr>
        <p:spPr>
          <a:xfrm>
            <a:off x="311149" y="1093767"/>
            <a:ext cx="11603669" cy="272786"/>
          </a:xfrm>
        </p:spPr>
        <p:txBody>
          <a:bodyPr tIns="0" rIns="0" bIns="0" numCol="1">
            <a:noAutofit/>
          </a:bodyPr>
          <a:lstStyle>
            <a:lvl1pPr marL="0" indent="0">
              <a:lnSpc>
                <a:spcPct val="100000"/>
              </a:lnSpc>
              <a:spcBef>
                <a:spcPts val="0"/>
              </a:spcBef>
              <a:spcAft>
                <a:spcPts val="600"/>
              </a:spcAft>
              <a:buNone/>
              <a:defRPr sz="20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Primary Title</a:t>
            </a:r>
          </a:p>
        </p:txBody>
      </p:sp>
    </p:spTree>
    <p:extLst>
      <p:ext uri="{BB962C8B-B14F-4D97-AF65-F5344CB8AC3E}">
        <p14:creationId xmlns:p14="http://schemas.microsoft.com/office/powerpoint/2010/main" val="1107937705"/>
      </p:ext>
    </p:extLst>
  </p:cSld>
  <p:clrMapOvr>
    <a:masterClrMapping/>
  </p:clrMapOvr>
  <p:transition spd="slow">
    <p:push dir="u"/>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Advanced Chart 3 Column">
    <p:spTree>
      <p:nvGrpSpPr>
        <p:cNvPr id="1" name=""/>
        <p:cNvGrpSpPr/>
        <p:nvPr/>
      </p:nvGrpSpPr>
      <p:grpSpPr>
        <a:xfrm>
          <a:off x="0" y="0"/>
          <a:ext cx="0" cy="0"/>
          <a:chOff x="0" y="0"/>
          <a:chExt cx="0" cy="0"/>
        </a:xfrm>
      </p:grpSpPr>
      <p:sp>
        <p:nvSpPr>
          <p:cNvPr id="8" name="Chart Placeholder 7">
            <a:extLst>
              <a:ext uri="{FF2B5EF4-FFF2-40B4-BE49-F238E27FC236}">
                <a16:creationId xmlns:a16="http://schemas.microsoft.com/office/drawing/2014/main" id="{A6D4E593-FDCC-D14E-9C5E-5F309E415C26}"/>
              </a:ext>
            </a:extLst>
          </p:cNvPr>
          <p:cNvSpPr>
            <a:spLocks noGrp="1"/>
          </p:cNvSpPr>
          <p:nvPr>
            <p:ph type="chart" sz="quarter" idx="21" hasCustomPrompt="1"/>
          </p:nvPr>
        </p:nvSpPr>
        <p:spPr>
          <a:xfrm>
            <a:off x="309224" y="3076286"/>
            <a:ext cx="3757810" cy="3340389"/>
          </a:xfrm>
          <a:prstGeom prst="rect">
            <a:avLst/>
          </a:prstGeom>
        </p:spPr>
        <p:txBody>
          <a:bodyPr>
            <a:normAutofit/>
          </a:bodyPr>
          <a:lstStyle>
            <a:lvl1pPr marL="0" indent="0">
              <a:buNone/>
              <a:defRPr sz="1400"/>
            </a:lvl1pPr>
          </a:lstStyle>
          <a:p>
            <a:r>
              <a:rPr lang="en-JP"/>
              <a:t>Insert Chart</a:t>
            </a:r>
          </a:p>
        </p:txBody>
      </p:sp>
      <p:sp>
        <p:nvSpPr>
          <p:cNvPr id="10" name="Chart Placeholder 7">
            <a:extLst>
              <a:ext uri="{FF2B5EF4-FFF2-40B4-BE49-F238E27FC236}">
                <a16:creationId xmlns:a16="http://schemas.microsoft.com/office/drawing/2014/main" id="{8D9BD23C-1777-C442-B4B0-BADF450483EA}"/>
              </a:ext>
            </a:extLst>
          </p:cNvPr>
          <p:cNvSpPr>
            <a:spLocks noGrp="1"/>
          </p:cNvSpPr>
          <p:nvPr>
            <p:ph type="chart" sz="quarter" idx="22" hasCustomPrompt="1"/>
          </p:nvPr>
        </p:nvSpPr>
        <p:spPr>
          <a:xfrm>
            <a:off x="4217095" y="3076286"/>
            <a:ext cx="3757810" cy="3340389"/>
          </a:xfrm>
          <a:prstGeom prst="rect">
            <a:avLst/>
          </a:prstGeom>
        </p:spPr>
        <p:txBody>
          <a:bodyPr>
            <a:normAutofit/>
          </a:bodyPr>
          <a:lstStyle>
            <a:lvl1pPr marL="0" indent="0">
              <a:buNone/>
              <a:defRPr sz="1400"/>
            </a:lvl1pPr>
          </a:lstStyle>
          <a:p>
            <a:r>
              <a:rPr lang="en-JP"/>
              <a:t>Insert Chart</a:t>
            </a:r>
          </a:p>
        </p:txBody>
      </p:sp>
      <p:sp>
        <p:nvSpPr>
          <p:cNvPr id="11" name="Chart Placeholder 7">
            <a:extLst>
              <a:ext uri="{FF2B5EF4-FFF2-40B4-BE49-F238E27FC236}">
                <a16:creationId xmlns:a16="http://schemas.microsoft.com/office/drawing/2014/main" id="{2D7D413C-2FF1-204A-83C6-B7426603B7C2}"/>
              </a:ext>
            </a:extLst>
          </p:cNvPr>
          <p:cNvSpPr>
            <a:spLocks noGrp="1"/>
          </p:cNvSpPr>
          <p:nvPr>
            <p:ph type="chart" sz="quarter" idx="23" hasCustomPrompt="1"/>
          </p:nvPr>
        </p:nvSpPr>
        <p:spPr>
          <a:xfrm>
            <a:off x="8123041" y="3076286"/>
            <a:ext cx="3757810" cy="3340389"/>
          </a:xfrm>
          <a:prstGeom prst="rect">
            <a:avLst/>
          </a:prstGeom>
        </p:spPr>
        <p:txBody>
          <a:bodyPr>
            <a:normAutofit/>
          </a:bodyPr>
          <a:lstStyle>
            <a:lvl1pPr marL="0" indent="0">
              <a:buNone/>
              <a:defRPr sz="1400"/>
            </a:lvl1pPr>
          </a:lstStyle>
          <a:p>
            <a:r>
              <a:rPr lang="en-JP"/>
              <a:t>Insert Chart</a:t>
            </a:r>
          </a:p>
        </p:txBody>
      </p:sp>
      <p:pic>
        <p:nvPicPr>
          <p:cNvPr id="13" name="Picture 12" descr="Takeda">
            <a:extLst>
              <a:ext uri="{FF2B5EF4-FFF2-40B4-BE49-F238E27FC236}">
                <a16:creationId xmlns:a16="http://schemas.microsoft.com/office/drawing/2014/main" id="{0C4979BF-EBB2-214C-8087-7AC4B2163D8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46331" y="-1615"/>
            <a:ext cx="1696232" cy="940780"/>
          </a:xfrm>
          <a:prstGeom prst="rect">
            <a:avLst/>
          </a:prstGeom>
        </p:spPr>
      </p:pic>
      <p:sp>
        <p:nvSpPr>
          <p:cNvPr id="17" name="タイトル プレースホルダ 1">
            <a:extLst>
              <a:ext uri="{FF2B5EF4-FFF2-40B4-BE49-F238E27FC236}">
                <a16:creationId xmlns:a16="http://schemas.microsoft.com/office/drawing/2014/main" id="{2FFB1535-D35E-D242-B225-DDF1C53BB8D4}"/>
              </a:ext>
            </a:extLst>
          </p:cNvPr>
          <p:cNvSpPr>
            <a:spLocks noGrp="1"/>
          </p:cNvSpPr>
          <p:nvPr>
            <p:ph type="title" hasCustomPrompt="1"/>
          </p:nvPr>
        </p:nvSpPr>
        <p:spPr>
          <a:xfrm>
            <a:off x="606078" y="161605"/>
            <a:ext cx="9940253" cy="685801"/>
          </a:xfrm>
          <a:prstGeom prst="rect">
            <a:avLst/>
          </a:prstGeom>
        </p:spPr>
        <p:txBody>
          <a:bodyPr vert="horz" lIns="0" tIns="0" rIns="0" bIns="0" rtlCol="0" anchor="ctr">
            <a:normAutofit/>
          </a:bodyPr>
          <a:lstStyle/>
          <a:p>
            <a:r>
              <a:rPr kumimoji="1" lang="en-US" altLang="ja-JP"/>
              <a:t>Click to add title</a:t>
            </a:r>
            <a:endParaRPr kumimoji="1" lang="ja-JP" altLang="en-US"/>
          </a:p>
        </p:txBody>
      </p:sp>
      <p:sp>
        <p:nvSpPr>
          <p:cNvPr id="19" name="Footer Placeholder 8">
            <a:extLst>
              <a:ext uri="{FF2B5EF4-FFF2-40B4-BE49-F238E27FC236}">
                <a16:creationId xmlns:a16="http://schemas.microsoft.com/office/drawing/2014/main" id="{47DB5E3C-7053-3645-A234-760F5ED1236A}"/>
              </a:ext>
            </a:extLst>
          </p:cNvPr>
          <p:cNvSpPr>
            <a:spLocks noGrp="1"/>
          </p:cNvSpPr>
          <p:nvPr>
            <p:ph type="ftr" sz="quarter" idx="3"/>
          </p:nvPr>
        </p:nvSpPr>
        <p:spPr>
          <a:xfrm>
            <a:off x="7766050" y="6523001"/>
            <a:ext cx="4114800" cy="196131"/>
          </a:xfrm>
          <a:prstGeom prst="rect">
            <a:avLst/>
          </a:prstGeom>
        </p:spPr>
        <p:txBody>
          <a:bodyPr vert="horz" lIns="91440" tIns="45720" rIns="0" bIns="45720" rtlCol="0" anchor="ctr"/>
          <a:lstStyle>
            <a:lvl1pPr algn="r">
              <a:defRPr sz="800" b="1" spc="100" baseline="0">
                <a:solidFill>
                  <a:schemeClr val="tx1"/>
                </a:solidFill>
              </a:defRPr>
            </a:lvl1pPr>
          </a:lstStyle>
          <a:p>
            <a:r>
              <a:rPr lang="en-JP"/>
              <a:t> </a:t>
            </a:r>
          </a:p>
        </p:txBody>
      </p:sp>
      <p:sp>
        <p:nvSpPr>
          <p:cNvPr id="22" name="Rectangle 21">
            <a:extLst>
              <a:ext uri="{FF2B5EF4-FFF2-40B4-BE49-F238E27FC236}">
                <a16:creationId xmlns:a16="http://schemas.microsoft.com/office/drawing/2014/main" id="{DEFC8CB7-67E9-8A46-B53F-F34ACE18BE87}"/>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a:solidFill>
                <a:schemeClr val="accent1"/>
              </a:solidFill>
            </a:endParaRPr>
          </a:p>
        </p:txBody>
      </p:sp>
      <p:sp>
        <p:nvSpPr>
          <p:cNvPr id="25" name="スライド番号プレースホルダ 5">
            <a:extLst>
              <a:ext uri="{FF2B5EF4-FFF2-40B4-BE49-F238E27FC236}">
                <a16:creationId xmlns:a16="http://schemas.microsoft.com/office/drawing/2014/main" id="{5EB1023E-4E73-AD49-83B0-D7B458250C6F}"/>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6" name="Text Placeholder 6">
            <a:extLst>
              <a:ext uri="{FF2B5EF4-FFF2-40B4-BE49-F238E27FC236}">
                <a16:creationId xmlns:a16="http://schemas.microsoft.com/office/drawing/2014/main" id="{4942DB0C-137A-4E4C-B926-77CEECC512A8}"/>
              </a:ext>
            </a:extLst>
          </p:cNvPr>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Private and confidential. For internal use only.</a:t>
            </a:r>
          </a:p>
        </p:txBody>
      </p:sp>
      <p:sp>
        <p:nvSpPr>
          <p:cNvPr id="15" name="Text Placeholder 2">
            <a:extLst>
              <a:ext uri="{FF2B5EF4-FFF2-40B4-BE49-F238E27FC236}">
                <a16:creationId xmlns:a16="http://schemas.microsoft.com/office/drawing/2014/main" id="{AD1171B1-AEC6-164D-8FE0-E0B9353A55BF}"/>
              </a:ext>
            </a:extLst>
          </p:cNvPr>
          <p:cNvSpPr>
            <a:spLocks noGrp="1"/>
          </p:cNvSpPr>
          <p:nvPr>
            <p:ph type="body" sz="quarter" idx="20" hasCustomPrompt="1"/>
          </p:nvPr>
        </p:nvSpPr>
        <p:spPr>
          <a:xfrm>
            <a:off x="311150" y="1491373"/>
            <a:ext cx="11569699" cy="1464957"/>
          </a:xfrm>
        </p:spPr>
        <p:txBody>
          <a:bodyPr tIns="0" rIns="0" bIns="0" numCol="2" spcCol="126000">
            <a:noAutofit/>
          </a:bodyPr>
          <a:lstStyle>
            <a:lvl1pPr marL="0" indent="0">
              <a:lnSpc>
                <a:spcPct val="100000"/>
              </a:lnSpc>
              <a:spcBef>
                <a:spcPts val="0"/>
              </a:spcBef>
              <a:buNone/>
              <a:defRPr sz="1600" b="1"/>
            </a:lvl1pPr>
            <a:lvl2pPr marL="457068" indent="0">
              <a:buNone/>
              <a:defRPr sz="1800" b="1"/>
            </a:lvl2pPr>
            <a:lvl3pPr marL="914149" indent="0">
              <a:buNone/>
              <a:defRPr sz="1800" b="1"/>
            </a:lvl3pPr>
            <a:lvl4pPr marL="1371219" indent="0">
              <a:buNone/>
              <a:defRPr sz="1800" b="1"/>
            </a:lvl4pPr>
            <a:lvl5pPr marL="1828290" indent="0">
              <a:buNone/>
              <a:defRPr sz="1800" b="1"/>
            </a:lvl5pPr>
          </a:lstStyle>
          <a:p>
            <a:pPr lvl="0"/>
            <a:r>
              <a:rPr lang="en-US"/>
              <a:t>This is your Primary Text.</a:t>
            </a:r>
            <a:endParaRPr lang="en-JP"/>
          </a:p>
        </p:txBody>
      </p:sp>
      <p:sp>
        <p:nvSpPr>
          <p:cNvPr id="18" name="Text Placeholder 6">
            <a:extLst>
              <a:ext uri="{FF2B5EF4-FFF2-40B4-BE49-F238E27FC236}">
                <a16:creationId xmlns:a16="http://schemas.microsoft.com/office/drawing/2014/main" id="{66C4AA1F-8B09-5544-9C70-388A6E2940C9}"/>
              </a:ext>
            </a:extLst>
          </p:cNvPr>
          <p:cNvSpPr>
            <a:spLocks noGrp="1"/>
          </p:cNvSpPr>
          <p:nvPr>
            <p:ph type="body" sz="quarter" idx="24" hasCustomPrompt="1"/>
          </p:nvPr>
        </p:nvSpPr>
        <p:spPr>
          <a:xfrm>
            <a:off x="311149" y="1093767"/>
            <a:ext cx="11569699" cy="272786"/>
          </a:xfrm>
        </p:spPr>
        <p:txBody>
          <a:bodyPr tIns="0" rIns="0" bIns="0" numCol="1">
            <a:noAutofit/>
          </a:bodyPr>
          <a:lstStyle>
            <a:lvl1pPr marL="0" indent="0">
              <a:lnSpc>
                <a:spcPct val="100000"/>
              </a:lnSpc>
              <a:spcBef>
                <a:spcPts val="0"/>
              </a:spcBef>
              <a:spcAft>
                <a:spcPts val="600"/>
              </a:spcAft>
              <a:buNone/>
              <a:defRPr sz="20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Primary Title</a:t>
            </a:r>
          </a:p>
        </p:txBody>
      </p:sp>
    </p:spTree>
    <p:extLst>
      <p:ext uri="{BB962C8B-B14F-4D97-AF65-F5344CB8AC3E}">
        <p14:creationId xmlns:p14="http://schemas.microsoft.com/office/powerpoint/2010/main" val="2230263478"/>
      </p:ext>
    </p:extLst>
  </p:cSld>
  <p:clrMapOvr>
    <a:masterClrMapping/>
  </p:clrMapOvr>
  <p:transition spd="slow">
    <p:push dir="u"/>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Page 1">
    <p:spTree>
      <p:nvGrpSpPr>
        <p:cNvPr id="1" name=""/>
        <p:cNvGrpSpPr/>
        <p:nvPr/>
      </p:nvGrpSpPr>
      <p:grpSpPr>
        <a:xfrm>
          <a:off x="0" y="0"/>
          <a:ext cx="0" cy="0"/>
          <a:chOff x="0" y="0"/>
          <a:chExt cx="0" cy="0"/>
        </a:xfrm>
      </p:grpSpPr>
      <p:sp>
        <p:nvSpPr>
          <p:cNvPr id="6" name="Rectangle 6">
            <a:extLst>
              <a:ext uri="{FF2B5EF4-FFF2-40B4-BE49-F238E27FC236}">
                <a16:creationId xmlns:a16="http://schemas.microsoft.com/office/drawing/2014/main" id="{82B9CECE-7D8F-8C4A-AFC6-A963B1F05594}"/>
              </a:ext>
            </a:extLst>
          </p:cNvPr>
          <p:cNvSpPr/>
          <p:nvPr userDrawn="1"/>
        </p:nvSpPr>
        <p:spPr>
          <a:xfrm>
            <a:off x="0" y="61263"/>
            <a:ext cx="255181" cy="84902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kumimoji="0" lang="en-US" altLang="en-US" sz="1800">
              <a:solidFill>
                <a:schemeClr val="accent1"/>
              </a:solidFill>
            </a:endParaRPr>
          </a:p>
        </p:txBody>
      </p:sp>
      <p:sp>
        <p:nvSpPr>
          <p:cNvPr id="10" name="Picture Placeholder 9">
            <a:extLst>
              <a:ext uri="{FF2B5EF4-FFF2-40B4-BE49-F238E27FC236}">
                <a16:creationId xmlns:a16="http://schemas.microsoft.com/office/drawing/2014/main" id="{91E79114-5B74-9547-8292-DAB8965D43FD}"/>
              </a:ext>
            </a:extLst>
          </p:cNvPr>
          <p:cNvSpPr>
            <a:spLocks noGrp="1"/>
          </p:cNvSpPr>
          <p:nvPr>
            <p:ph type="pic" sz="quarter" idx="10"/>
          </p:nvPr>
        </p:nvSpPr>
        <p:spPr>
          <a:xfrm>
            <a:off x="749005" y="506"/>
            <a:ext cx="11459359" cy="3428494"/>
          </a:xfrm>
          <a:custGeom>
            <a:avLst/>
            <a:gdLst>
              <a:gd name="connsiteX0" fmla="*/ 0 w 10888662"/>
              <a:gd name="connsiteY0" fmla="*/ 579722 h 6442075"/>
              <a:gd name="connsiteX1" fmla="*/ 579722 w 10888662"/>
              <a:gd name="connsiteY1" fmla="*/ 0 h 6442075"/>
              <a:gd name="connsiteX2" fmla="*/ 10308940 w 10888662"/>
              <a:gd name="connsiteY2" fmla="*/ 0 h 6442075"/>
              <a:gd name="connsiteX3" fmla="*/ 10888662 w 10888662"/>
              <a:gd name="connsiteY3" fmla="*/ 579722 h 6442075"/>
              <a:gd name="connsiteX4" fmla="*/ 10888662 w 10888662"/>
              <a:gd name="connsiteY4" fmla="*/ 5862353 h 6442075"/>
              <a:gd name="connsiteX5" fmla="*/ 10308940 w 10888662"/>
              <a:gd name="connsiteY5" fmla="*/ 6442075 h 6442075"/>
              <a:gd name="connsiteX6" fmla="*/ 579722 w 10888662"/>
              <a:gd name="connsiteY6" fmla="*/ 6442075 h 6442075"/>
              <a:gd name="connsiteX7" fmla="*/ 0 w 10888662"/>
              <a:gd name="connsiteY7" fmla="*/ 5862353 h 6442075"/>
              <a:gd name="connsiteX8" fmla="*/ 0 w 10888662"/>
              <a:gd name="connsiteY8" fmla="*/ 579722 h 6442075"/>
              <a:gd name="connsiteX0" fmla="*/ 0 w 10888662"/>
              <a:gd name="connsiteY0" fmla="*/ 659657 h 6522010"/>
              <a:gd name="connsiteX1" fmla="*/ 10308940 w 10888662"/>
              <a:gd name="connsiteY1" fmla="*/ 79935 h 6522010"/>
              <a:gd name="connsiteX2" fmla="*/ 10888662 w 10888662"/>
              <a:gd name="connsiteY2" fmla="*/ 659657 h 6522010"/>
              <a:gd name="connsiteX3" fmla="*/ 10888662 w 10888662"/>
              <a:gd name="connsiteY3" fmla="*/ 5942288 h 6522010"/>
              <a:gd name="connsiteX4" fmla="*/ 10308940 w 10888662"/>
              <a:gd name="connsiteY4" fmla="*/ 6522010 h 6522010"/>
              <a:gd name="connsiteX5" fmla="*/ 579722 w 10888662"/>
              <a:gd name="connsiteY5" fmla="*/ 6522010 h 6522010"/>
              <a:gd name="connsiteX6" fmla="*/ 0 w 10888662"/>
              <a:gd name="connsiteY6" fmla="*/ 5942288 h 6522010"/>
              <a:gd name="connsiteX7" fmla="*/ 0 w 10888662"/>
              <a:gd name="connsiteY7" fmla="*/ 659657 h 6522010"/>
              <a:gd name="connsiteX0" fmla="*/ 0 w 10888662"/>
              <a:gd name="connsiteY0" fmla="*/ 579722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579722 h 6442075"/>
              <a:gd name="connsiteX0" fmla="*/ 0 w 10888662"/>
              <a:gd name="connsiteY0" fmla="*/ 129257 h 6569679"/>
              <a:gd name="connsiteX1" fmla="*/ 10308940 w 10888662"/>
              <a:gd name="connsiteY1" fmla="*/ 127604 h 6569679"/>
              <a:gd name="connsiteX2" fmla="*/ 10888662 w 10888662"/>
              <a:gd name="connsiteY2" fmla="*/ 707326 h 6569679"/>
              <a:gd name="connsiteX3" fmla="*/ 10888662 w 10888662"/>
              <a:gd name="connsiteY3" fmla="*/ 5989957 h 6569679"/>
              <a:gd name="connsiteX4" fmla="*/ 10308940 w 10888662"/>
              <a:gd name="connsiteY4" fmla="*/ 6569679 h 6569679"/>
              <a:gd name="connsiteX5" fmla="*/ 579722 w 10888662"/>
              <a:gd name="connsiteY5" fmla="*/ 6569679 h 6569679"/>
              <a:gd name="connsiteX6" fmla="*/ 0 w 10888662"/>
              <a:gd name="connsiteY6" fmla="*/ 5989957 h 6569679"/>
              <a:gd name="connsiteX7" fmla="*/ 0 w 10888662"/>
              <a:gd name="connsiteY7" fmla="*/ 129257 h 6569679"/>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9657299 w 10888662"/>
              <a:gd name="connsiteY4" fmla="*/ 55276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522010"/>
              <a:gd name="connsiteX1" fmla="*/ 10308940 w 10888662"/>
              <a:gd name="connsiteY1" fmla="*/ 0 h 6522010"/>
              <a:gd name="connsiteX2" fmla="*/ 10888662 w 10888662"/>
              <a:gd name="connsiteY2" fmla="*/ 579722 h 6522010"/>
              <a:gd name="connsiteX3" fmla="*/ 10888662 w 10888662"/>
              <a:gd name="connsiteY3" fmla="*/ 5862353 h 6522010"/>
              <a:gd name="connsiteX4" fmla="*/ 579722 w 10888662"/>
              <a:gd name="connsiteY4" fmla="*/ 6442075 h 6522010"/>
              <a:gd name="connsiteX5" fmla="*/ 0 w 10888662"/>
              <a:gd name="connsiteY5" fmla="*/ 5862353 h 6522010"/>
              <a:gd name="connsiteX6" fmla="*/ 0 w 10888662"/>
              <a:gd name="connsiteY6" fmla="*/ 1653 h 6522010"/>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579722 w 10888662"/>
              <a:gd name="connsiteY4" fmla="*/ 6442075 h 6442075"/>
              <a:gd name="connsiteX5" fmla="*/ 0 w 10888662"/>
              <a:gd name="connsiteY5" fmla="*/ 5862353 h 6442075"/>
              <a:gd name="connsiteX6" fmla="*/ 0 w 10888662"/>
              <a:gd name="connsiteY6" fmla="*/ 1653 h 6442075"/>
              <a:gd name="connsiteX0" fmla="*/ 0 w 10888662"/>
              <a:gd name="connsiteY0" fmla="*/ 1653 h 6585432"/>
              <a:gd name="connsiteX1" fmla="*/ 10308940 w 10888662"/>
              <a:gd name="connsiteY1" fmla="*/ 0 h 6585432"/>
              <a:gd name="connsiteX2" fmla="*/ 10888662 w 10888662"/>
              <a:gd name="connsiteY2" fmla="*/ 579722 h 6585432"/>
              <a:gd name="connsiteX3" fmla="*/ 10878151 w 10888662"/>
              <a:gd name="connsiteY3" fmla="*/ 6461442 h 6585432"/>
              <a:gd name="connsiteX4" fmla="*/ 579722 w 10888662"/>
              <a:gd name="connsiteY4" fmla="*/ 6442075 h 6585432"/>
              <a:gd name="connsiteX5" fmla="*/ 0 w 10888662"/>
              <a:gd name="connsiteY5" fmla="*/ 5862353 h 6585432"/>
              <a:gd name="connsiteX6" fmla="*/ 0 w 10888662"/>
              <a:gd name="connsiteY6" fmla="*/ 1653 h 6585432"/>
              <a:gd name="connsiteX0" fmla="*/ 0 w 10888662"/>
              <a:gd name="connsiteY0" fmla="*/ 1653 h 6577502"/>
              <a:gd name="connsiteX1" fmla="*/ 10308940 w 10888662"/>
              <a:gd name="connsiteY1" fmla="*/ 0 h 6577502"/>
              <a:gd name="connsiteX2" fmla="*/ 10888662 w 10888662"/>
              <a:gd name="connsiteY2" fmla="*/ 579722 h 6577502"/>
              <a:gd name="connsiteX3" fmla="*/ 10878151 w 10888662"/>
              <a:gd name="connsiteY3" fmla="*/ 6450932 h 6577502"/>
              <a:gd name="connsiteX4" fmla="*/ 579722 w 10888662"/>
              <a:gd name="connsiteY4" fmla="*/ 6442075 h 6577502"/>
              <a:gd name="connsiteX5" fmla="*/ 0 w 10888662"/>
              <a:gd name="connsiteY5" fmla="*/ 5862353 h 6577502"/>
              <a:gd name="connsiteX6" fmla="*/ 0 w 10888662"/>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0888662"/>
              <a:gd name="connsiteY0" fmla="*/ 1653 h 6450932"/>
              <a:gd name="connsiteX1" fmla="*/ 10308940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0999550"/>
              <a:gd name="connsiteY0" fmla="*/ 1653 h 6450932"/>
              <a:gd name="connsiteX1" fmla="*/ 10844968 w 10999550"/>
              <a:gd name="connsiteY1" fmla="*/ 0 h 6450932"/>
              <a:gd name="connsiteX2" fmla="*/ 10888662 w 10999550"/>
              <a:gd name="connsiteY2" fmla="*/ 579722 h 6450932"/>
              <a:gd name="connsiteX3" fmla="*/ 10878151 w 10999550"/>
              <a:gd name="connsiteY3" fmla="*/ 6450932 h 6450932"/>
              <a:gd name="connsiteX4" fmla="*/ 579722 w 10999550"/>
              <a:gd name="connsiteY4" fmla="*/ 6442075 h 6450932"/>
              <a:gd name="connsiteX5" fmla="*/ 0 w 10999550"/>
              <a:gd name="connsiteY5" fmla="*/ 5862353 h 6450932"/>
              <a:gd name="connsiteX6" fmla="*/ 0 w 10999550"/>
              <a:gd name="connsiteY6" fmla="*/ 1653 h 6450932"/>
              <a:gd name="connsiteX0" fmla="*/ 0 w 11022020"/>
              <a:gd name="connsiteY0" fmla="*/ 1653 h 6450932"/>
              <a:gd name="connsiteX1" fmla="*/ 10876499 w 11022020"/>
              <a:gd name="connsiteY1" fmla="*/ 0 h 6450932"/>
              <a:gd name="connsiteX2" fmla="*/ 10888662 w 11022020"/>
              <a:gd name="connsiteY2" fmla="*/ 579722 h 6450932"/>
              <a:gd name="connsiteX3" fmla="*/ 10878151 w 11022020"/>
              <a:gd name="connsiteY3" fmla="*/ 6450932 h 6450932"/>
              <a:gd name="connsiteX4" fmla="*/ 579722 w 11022020"/>
              <a:gd name="connsiteY4" fmla="*/ 6442075 h 6450932"/>
              <a:gd name="connsiteX5" fmla="*/ 0 w 11022020"/>
              <a:gd name="connsiteY5" fmla="*/ 5862353 h 6450932"/>
              <a:gd name="connsiteX6" fmla="*/ 0 w 11022020"/>
              <a:gd name="connsiteY6" fmla="*/ 1653 h 6450932"/>
              <a:gd name="connsiteX0" fmla="*/ 0 w 10888662"/>
              <a:gd name="connsiteY0" fmla="*/ 1653 h 6450932"/>
              <a:gd name="connsiteX1" fmla="*/ 10876499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2200990"/>
              <a:gd name="connsiteY0" fmla="*/ 1653 h 6450932"/>
              <a:gd name="connsiteX1" fmla="*/ 10876499 w 12200990"/>
              <a:gd name="connsiteY1" fmla="*/ 0 h 6450932"/>
              <a:gd name="connsiteX2" fmla="*/ 10878151 w 12200990"/>
              <a:gd name="connsiteY2" fmla="*/ 6450932 h 6450932"/>
              <a:gd name="connsiteX3" fmla="*/ 579722 w 12200990"/>
              <a:gd name="connsiteY3" fmla="*/ 6442075 h 6450932"/>
              <a:gd name="connsiteX4" fmla="*/ 0 w 12200990"/>
              <a:gd name="connsiteY4" fmla="*/ 5862353 h 6450932"/>
              <a:gd name="connsiteX5" fmla="*/ 0 w 12200990"/>
              <a:gd name="connsiteY5" fmla="*/ 1653 h 6450932"/>
              <a:gd name="connsiteX0" fmla="*/ 0 w 11640630"/>
              <a:gd name="connsiteY0" fmla="*/ 1653 h 6450932"/>
              <a:gd name="connsiteX1" fmla="*/ 10876499 w 11640630"/>
              <a:gd name="connsiteY1" fmla="*/ 0 h 6450932"/>
              <a:gd name="connsiteX2" fmla="*/ 10878151 w 11640630"/>
              <a:gd name="connsiteY2" fmla="*/ 6450932 h 6450932"/>
              <a:gd name="connsiteX3" fmla="*/ 579722 w 11640630"/>
              <a:gd name="connsiteY3" fmla="*/ 6442075 h 6450932"/>
              <a:gd name="connsiteX4" fmla="*/ 0 w 11640630"/>
              <a:gd name="connsiteY4" fmla="*/ 5862353 h 6450932"/>
              <a:gd name="connsiteX5" fmla="*/ 0 w 11640630"/>
              <a:gd name="connsiteY5" fmla="*/ 1653 h 6450932"/>
              <a:gd name="connsiteX0" fmla="*/ 0 w 10878151"/>
              <a:gd name="connsiteY0" fmla="*/ 1653 h 6450932"/>
              <a:gd name="connsiteX1" fmla="*/ 10876499 w 10878151"/>
              <a:gd name="connsiteY1" fmla="*/ 0 h 6450932"/>
              <a:gd name="connsiteX2" fmla="*/ 10878151 w 10878151"/>
              <a:gd name="connsiteY2" fmla="*/ 6450932 h 6450932"/>
              <a:gd name="connsiteX3" fmla="*/ 579722 w 10878151"/>
              <a:gd name="connsiteY3" fmla="*/ 6442075 h 6450932"/>
              <a:gd name="connsiteX4" fmla="*/ 0 w 10878151"/>
              <a:gd name="connsiteY4" fmla="*/ 5862353 h 6450932"/>
              <a:gd name="connsiteX5" fmla="*/ 0 w 10878151"/>
              <a:gd name="connsiteY5" fmla="*/ 1653 h 6450932"/>
              <a:gd name="connsiteX0" fmla="*/ 0 w 11843451"/>
              <a:gd name="connsiteY0" fmla="*/ 1653 h 6450932"/>
              <a:gd name="connsiteX1" fmla="*/ 11843451 w 11843451"/>
              <a:gd name="connsiteY1" fmla="*/ 0 h 6450932"/>
              <a:gd name="connsiteX2" fmla="*/ 10878151 w 11843451"/>
              <a:gd name="connsiteY2" fmla="*/ 6450932 h 6450932"/>
              <a:gd name="connsiteX3" fmla="*/ 579722 w 11843451"/>
              <a:gd name="connsiteY3" fmla="*/ 6442075 h 6450932"/>
              <a:gd name="connsiteX4" fmla="*/ 0 w 11843451"/>
              <a:gd name="connsiteY4" fmla="*/ 5862353 h 6450932"/>
              <a:gd name="connsiteX5" fmla="*/ 0 w 11843451"/>
              <a:gd name="connsiteY5" fmla="*/ 1653 h 6450932"/>
              <a:gd name="connsiteX0" fmla="*/ 0 w 11855613"/>
              <a:gd name="connsiteY0" fmla="*/ 1653 h 6450932"/>
              <a:gd name="connsiteX1" fmla="*/ 11843451 w 11855613"/>
              <a:gd name="connsiteY1" fmla="*/ 0 h 6450932"/>
              <a:gd name="connsiteX2" fmla="*/ 11855613 w 11855613"/>
              <a:gd name="connsiteY2" fmla="*/ 6450932 h 6450932"/>
              <a:gd name="connsiteX3" fmla="*/ 579722 w 11855613"/>
              <a:gd name="connsiteY3" fmla="*/ 6442075 h 6450932"/>
              <a:gd name="connsiteX4" fmla="*/ 0 w 11855613"/>
              <a:gd name="connsiteY4" fmla="*/ 5862353 h 6450932"/>
              <a:gd name="connsiteX5" fmla="*/ 0 w 11855613"/>
              <a:gd name="connsiteY5" fmla="*/ 1653 h 6450932"/>
              <a:gd name="connsiteX0" fmla="*/ 0 w 11864472"/>
              <a:gd name="connsiteY0" fmla="*/ 1653 h 6450932"/>
              <a:gd name="connsiteX1" fmla="*/ 11864472 w 11864472"/>
              <a:gd name="connsiteY1" fmla="*/ 0 h 6450932"/>
              <a:gd name="connsiteX2" fmla="*/ 11855613 w 11864472"/>
              <a:gd name="connsiteY2" fmla="*/ 6450932 h 6450932"/>
              <a:gd name="connsiteX3" fmla="*/ 579722 w 11864472"/>
              <a:gd name="connsiteY3" fmla="*/ 6442075 h 6450932"/>
              <a:gd name="connsiteX4" fmla="*/ 0 w 11864472"/>
              <a:gd name="connsiteY4" fmla="*/ 5862353 h 6450932"/>
              <a:gd name="connsiteX5" fmla="*/ 0 w 11864472"/>
              <a:gd name="connsiteY5" fmla="*/ 1653 h 6450932"/>
              <a:gd name="connsiteX0" fmla="*/ 0 w 11864472"/>
              <a:gd name="connsiteY0" fmla="*/ 1653 h 6442075"/>
              <a:gd name="connsiteX1" fmla="*/ 11864472 w 11864472"/>
              <a:gd name="connsiteY1" fmla="*/ 0 h 6442075"/>
              <a:gd name="connsiteX2" fmla="*/ 11855613 w 11864472"/>
              <a:gd name="connsiteY2" fmla="*/ 6440421 h 6442075"/>
              <a:gd name="connsiteX3" fmla="*/ 579722 w 11864472"/>
              <a:gd name="connsiteY3" fmla="*/ 6442075 h 6442075"/>
              <a:gd name="connsiteX4" fmla="*/ 0 w 11864472"/>
              <a:gd name="connsiteY4" fmla="*/ 5862353 h 6442075"/>
              <a:gd name="connsiteX5" fmla="*/ 0 w 11864472"/>
              <a:gd name="connsiteY5" fmla="*/ 1653 h 6442075"/>
              <a:gd name="connsiteX0" fmla="*/ 0 w 11864472"/>
              <a:gd name="connsiteY0" fmla="*/ 0 h 6630428"/>
              <a:gd name="connsiteX1" fmla="*/ 11864472 w 11864472"/>
              <a:gd name="connsiteY1" fmla="*/ 188353 h 6630428"/>
              <a:gd name="connsiteX2" fmla="*/ 11855613 w 11864472"/>
              <a:gd name="connsiteY2" fmla="*/ 6628774 h 6630428"/>
              <a:gd name="connsiteX3" fmla="*/ 579722 w 11864472"/>
              <a:gd name="connsiteY3" fmla="*/ 6630428 h 6630428"/>
              <a:gd name="connsiteX4" fmla="*/ 0 w 11864472"/>
              <a:gd name="connsiteY4" fmla="*/ 6050706 h 6630428"/>
              <a:gd name="connsiteX5" fmla="*/ 0 w 11864472"/>
              <a:gd name="connsiteY5" fmla="*/ 0 h 6630428"/>
              <a:gd name="connsiteX0" fmla="*/ 0 w 11864472"/>
              <a:gd name="connsiteY0" fmla="*/ 13527 h 6643955"/>
              <a:gd name="connsiteX1" fmla="*/ 11864472 w 11864472"/>
              <a:gd name="connsiteY1" fmla="*/ 0 h 6643955"/>
              <a:gd name="connsiteX2" fmla="*/ 11855613 w 11864472"/>
              <a:gd name="connsiteY2" fmla="*/ 6642301 h 6643955"/>
              <a:gd name="connsiteX3" fmla="*/ 579722 w 11864472"/>
              <a:gd name="connsiteY3" fmla="*/ 6643955 h 6643955"/>
              <a:gd name="connsiteX4" fmla="*/ 0 w 11864472"/>
              <a:gd name="connsiteY4" fmla="*/ 6064233 h 6643955"/>
              <a:gd name="connsiteX5" fmla="*/ 0 w 11864472"/>
              <a:gd name="connsiteY5" fmla="*/ 13527 h 6643955"/>
              <a:gd name="connsiteX0" fmla="*/ 0 w 11864472"/>
              <a:gd name="connsiteY0" fmla="*/ 1319813 h 6643955"/>
              <a:gd name="connsiteX1" fmla="*/ 11864472 w 11864472"/>
              <a:gd name="connsiteY1" fmla="*/ 0 h 6643955"/>
              <a:gd name="connsiteX2" fmla="*/ 11855613 w 11864472"/>
              <a:gd name="connsiteY2" fmla="*/ 6642301 h 6643955"/>
              <a:gd name="connsiteX3" fmla="*/ 579722 w 11864472"/>
              <a:gd name="connsiteY3" fmla="*/ 6643955 h 6643955"/>
              <a:gd name="connsiteX4" fmla="*/ 0 w 11864472"/>
              <a:gd name="connsiteY4" fmla="*/ 6064233 h 6643955"/>
              <a:gd name="connsiteX5" fmla="*/ 0 w 11864472"/>
              <a:gd name="connsiteY5" fmla="*/ 1319813 h 6643955"/>
              <a:gd name="connsiteX0" fmla="*/ 0 w 11864472"/>
              <a:gd name="connsiteY0" fmla="*/ 13527 h 5337669"/>
              <a:gd name="connsiteX1" fmla="*/ 11864472 w 11864472"/>
              <a:gd name="connsiteY1" fmla="*/ 0 h 5337669"/>
              <a:gd name="connsiteX2" fmla="*/ 11855613 w 11864472"/>
              <a:gd name="connsiteY2" fmla="*/ 5336015 h 5337669"/>
              <a:gd name="connsiteX3" fmla="*/ 579722 w 11864472"/>
              <a:gd name="connsiteY3" fmla="*/ 5337669 h 5337669"/>
              <a:gd name="connsiteX4" fmla="*/ 0 w 11864472"/>
              <a:gd name="connsiteY4" fmla="*/ 4757947 h 5337669"/>
              <a:gd name="connsiteX5" fmla="*/ 0 w 11864472"/>
              <a:gd name="connsiteY5" fmla="*/ 13527 h 5337669"/>
              <a:gd name="connsiteX0" fmla="*/ 0 w 11864472"/>
              <a:gd name="connsiteY0" fmla="*/ 1652 h 5337669"/>
              <a:gd name="connsiteX1" fmla="*/ 11864472 w 11864472"/>
              <a:gd name="connsiteY1" fmla="*/ 0 h 5337669"/>
              <a:gd name="connsiteX2" fmla="*/ 11855613 w 11864472"/>
              <a:gd name="connsiteY2" fmla="*/ 5336015 h 5337669"/>
              <a:gd name="connsiteX3" fmla="*/ 579722 w 11864472"/>
              <a:gd name="connsiteY3" fmla="*/ 5337669 h 5337669"/>
              <a:gd name="connsiteX4" fmla="*/ 0 w 11864472"/>
              <a:gd name="connsiteY4" fmla="*/ 4757947 h 5337669"/>
              <a:gd name="connsiteX5" fmla="*/ 0 w 11864472"/>
              <a:gd name="connsiteY5" fmla="*/ 1652 h 5337669"/>
              <a:gd name="connsiteX0" fmla="*/ 0 w 11864472"/>
              <a:gd name="connsiteY0" fmla="*/ 2201927 h 5337669"/>
              <a:gd name="connsiteX1" fmla="*/ 11864472 w 11864472"/>
              <a:gd name="connsiteY1" fmla="*/ 0 h 5337669"/>
              <a:gd name="connsiteX2" fmla="*/ 11855613 w 11864472"/>
              <a:gd name="connsiteY2" fmla="*/ 5336015 h 5337669"/>
              <a:gd name="connsiteX3" fmla="*/ 579722 w 11864472"/>
              <a:gd name="connsiteY3" fmla="*/ 5337669 h 5337669"/>
              <a:gd name="connsiteX4" fmla="*/ 0 w 11864472"/>
              <a:gd name="connsiteY4" fmla="*/ 4757947 h 5337669"/>
              <a:gd name="connsiteX5" fmla="*/ 0 w 11864472"/>
              <a:gd name="connsiteY5" fmla="*/ 2201927 h 5337669"/>
              <a:gd name="connsiteX0" fmla="*/ 0 w 11864472"/>
              <a:gd name="connsiteY0" fmla="*/ 1652 h 3137394"/>
              <a:gd name="connsiteX1" fmla="*/ 11864472 w 11864472"/>
              <a:gd name="connsiteY1" fmla="*/ 0 h 3137394"/>
              <a:gd name="connsiteX2" fmla="*/ 11855613 w 11864472"/>
              <a:gd name="connsiteY2" fmla="*/ 3135740 h 3137394"/>
              <a:gd name="connsiteX3" fmla="*/ 579722 w 11864472"/>
              <a:gd name="connsiteY3" fmla="*/ 3137394 h 3137394"/>
              <a:gd name="connsiteX4" fmla="*/ 0 w 11864472"/>
              <a:gd name="connsiteY4" fmla="*/ 2557672 h 3137394"/>
              <a:gd name="connsiteX5" fmla="*/ 0 w 11864472"/>
              <a:gd name="connsiteY5" fmla="*/ 1652 h 3137394"/>
              <a:gd name="connsiteX0" fmla="*/ 0 w 11864472"/>
              <a:gd name="connsiteY0" fmla="*/ 0 h 3420555"/>
              <a:gd name="connsiteX1" fmla="*/ 11864472 w 11864472"/>
              <a:gd name="connsiteY1" fmla="*/ 283161 h 3420555"/>
              <a:gd name="connsiteX2" fmla="*/ 11855613 w 11864472"/>
              <a:gd name="connsiteY2" fmla="*/ 3418901 h 3420555"/>
              <a:gd name="connsiteX3" fmla="*/ 579722 w 11864472"/>
              <a:gd name="connsiteY3" fmla="*/ 3420555 h 3420555"/>
              <a:gd name="connsiteX4" fmla="*/ 0 w 11864472"/>
              <a:gd name="connsiteY4" fmla="*/ 2840833 h 3420555"/>
              <a:gd name="connsiteX5" fmla="*/ 0 w 11864472"/>
              <a:gd name="connsiteY5" fmla="*/ 0 h 3420555"/>
              <a:gd name="connsiteX0" fmla="*/ 0 w 11864472"/>
              <a:gd name="connsiteY0" fmla="*/ 1652 h 3422207"/>
              <a:gd name="connsiteX1" fmla="*/ 11864472 w 11864472"/>
              <a:gd name="connsiteY1" fmla="*/ 0 h 3422207"/>
              <a:gd name="connsiteX2" fmla="*/ 11855613 w 11864472"/>
              <a:gd name="connsiteY2" fmla="*/ 3420553 h 3422207"/>
              <a:gd name="connsiteX3" fmla="*/ 579722 w 11864472"/>
              <a:gd name="connsiteY3" fmla="*/ 3422207 h 3422207"/>
              <a:gd name="connsiteX4" fmla="*/ 0 w 11864472"/>
              <a:gd name="connsiteY4" fmla="*/ 2842485 h 3422207"/>
              <a:gd name="connsiteX5" fmla="*/ 0 w 11864472"/>
              <a:gd name="connsiteY5" fmla="*/ 1652 h 3422207"/>
              <a:gd name="connsiteX0" fmla="*/ 0 w 11855613"/>
              <a:gd name="connsiteY0" fmla="*/ 0 h 3420555"/>
              <a:gd name="connsiteX1" fmla="*/ 11834492 w 11855613"/>
              <a:gd name="connsiteY1" fmla="*/ 58309 h 3420555"/>
              <a:gd name="connsiteX2" fmla="*/ 11855613 w 11855613"/>
              <a:gd name="connsiteY2" fmla="*/ 3418901 h 3420555"/>
              <a:gd name="connsiteX3" fmla="*/ 579722 w 11855613"/>
              <a:gd name="connsiteY3" fmla="*/ 3420555 h 3420555"/>
              <a:gd name="connsiteX4" fmla="*/ 0 w 11855613"/>
              <a:gd name="connsiteY4" fmla="*/ 2840833 h 3420555"/>
              <a:gd name="connsiteX5" fmla="*/ 0 w 11855613"/>
              <a:gd name="connsiteY5" fmla="*/ 0 h 3420555"/>
              <a:gd name="connsiteX0" fmla="*/ 0 w 11855613"/>
              <a:gd name="connsiteY0" fmla="*/ 1652 h 3362246"/>
              <a:gd name="connsiteX1" fmla="*/ 11834492 w 11855613"/>
              <a:gd name="connsiteY1" fmla="*/ 0 h 3362246"/>
              <a:gd name="connsiteX2" fmla="*/ 11855613 w 11855613"/>
              <a:gd name="connsiteY2" fmla="*/ 3360592 h 3362246"/>
              <a:gd name="connsiteX3" fmla="*/ 579722 w 11855613"/>
              <a:gd name="connsiteY3" fmla="*/ 3362246 h 3362246"/>
              <a:gd name="connsiteX4" fmla="*/ 0 w 11855613"/>
              <a:gd name="connsiteY4" fmla="*/ 2782524 h 3362246"/>
              <a:gd name="connsiteX5" fmla="*/ 0 w 11855613"/>
              <a:gd name="connsiteY5" fmla="*/ 1652 h 3362246"/>
              <a:gd name="connsiteX0" fmla="*/ 0 w 11864473"/>
              <a:gd name="connsiteY0" fmla="*/ 0 h 3360594"/>
              <a:gd name="connsiteX1" fmla="*/ 11864473 w 11864473"/>
              <a:gd name="connsiteY1" fmla="*/ 13338 h 3360594"/>
              <a:gd name="connsiteX2" fmla="*/ 11855613 w 11864473"/>
              <a:gd name="connsiteY2" fmla="*/ 3358940 h 3360594"/>
              <a:gd name="connsiteX3" fmla="*/ 579722 w 11864473"/>
              <a:gd name="connsiteY3" fmla="*/ 3360594 h 3360594"/>
              <a:gd name="connsiteX4" fmla="*/ 0 w 11864473"/>
              <a:gd name="connsiteY4" fmla="*/ 2780872 h 3360594"/>
              <a:gd name="connsiteX5" fmla="*/ 0 w 11864473"/>
              <a:gd name="connsiteY5" fmla="*/ 0 h 3360594"/>
              <a:gd name="connsiteX0" fmla="*/ 0 w 11864473"/>
              <a:gd name="connsiteY0" fmla="*/ 1652 h 3362246"/>
              <a:gd name="connsiteX1" fmla="*/ 11864473 w 11864473"/>
              <a:gd name="connsiteY1" fmla="*/ 0 h 3362246"/>
              <a:gd name="connsiteX2" fmla="*/ 11855613 w 11864473"/>
              <a:gd name="connsiteY2" fmla="*/ 3360592 h 3362246"/>
              <a:gd name="connsiteX3" fmla="*/ 579722 w 11864473"/>
              <a:gd name="connsiteY3" fmla="*/ 3362246 h 3362246"/>
              <a:gd name="connsiteX4" fmla="*/ 0 w 11864473"/>
              <a:gd name="connsiteY4" fmla="*/ 2782524 h 3362246"/>
              <a:gd name="connsiteX5" fmla="*/ 0 w 11864473"/>
              <a:gd name="connsiteY5" fmla="*/ 1652 h 3362246"/>
              <a:gd name="connsiteX0" fmla="*/ 0 w 11855629"/>
              <a:gd name="connsiteY0" fmla="*/ 1652 h 3362246"/>
              <a:gd name="connsiteX1" fmla="*/ 11459359 w 11855629"/>
              <a:gd name="connsiteY1" fmla="*/ 0 h 3362246"/>
              <a:gd name="connsiteX2" fmla="*/ 11855613 w 11855629"/>
              <a:gd name="connsiteY2" fmla="*/ 3360592 h 3362246"/>
              <a:gd name="connsiteX3" fmla="*/ 579722 w 11855629"/>
              <a:gd name="connsiteY3" fmla="*/ 3362246 h 3362246"/>
              <a:gd name="connsiteX4" fmla="*/ 0 w 11855629"/>
              <a:gd name="connsiteY4" fmla="*/ 2782524 h 3362246"/>
              <a:gd name="connsiteX5" fmla="*/ 0 w 11855629"/>
              <a:gd name="connsiteY5" fmla="*/ 1652 h 3362246"/>
              <a:gd name="connsiteX0" fmla="*/ 0 w 11459359"/>
              <a:gd name="connsiteY0" fmla="*/ 1652 h 3362246"/>
              <a:gd name="connsiteX1" fmla="*/ 11459359 w 11459359"/>
              <a:gd name="connsiteY1" fmla="*/ 0 h 3362246"/>
              <a:gd name="connsiteX2" fmla="*/ 11438924 w 11459359"/>
              <a:gd name="connsiteY2" fmla="*/ 3360592 h 3362246"/>
              <a:gd name="connsiteX3" fmla="*/ 579722 w 11459359"/>
              <a:gd name="connsiteY3" fmla="*/ 3362246 h 3362246"/>
              <a:gd name="connsiteX4" fmla="*/ 0 w 11459359"/>
              <a:gd name="connsiteY4" fmla="*/ 2782524 h 3362246"/>
              <a:gd name="connsiteX5" fmla="*/ 0 w 11459359"/>
              <a:gd name="connsiteY5" fmla="*/ 1652 h 3362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459359" h="3362246">
                <a:moveTo>
                  <a:pt x="0" y="1652"/>
                </a:moveTo>
                <a:lnTo>
                  <a:pt x="11459359" y="0"/>
                </a:lnTo>
                <a:cubicBezTo>
                  <a:pt x="11456406" y="1115201"/>
                  <a:pt x="11441877" y="2245391"/>
                  <a:pt x="11438924" y="3360592"/>
                </a:cubicBezTo>
                <a:lnTo>
                  <a:pt x="579722" y="3362246"/>
                </a:lnTo>
                <a:cubicBezTo>
                  <a:pt x="259550" y="3362246"/>
                  <a:pt x="0" y="3102696"/>
                  <a:pt x="0" y="2782524"/>
                </a:cubicBezTo>
                <a:lnTo>
                  <a:pt x="0" y="1652"/>
                </a:lnTo>
                <a:close/>
              </a:path>
            </a:pathLst>
          </a:custGeom>
          <a:noFill/>
        </p:spPr>
        <p:txBody>
          <a:bodyPr/>
          <a:lstStyle>
            <a:lvl1pPr marL="0" indent="0">
              <a:buNone/>
              <a:defRPr sz="2400">
                <a:solidFill>
                  <a:schemeClr val="bg1"/>
                </a:solidFill>
              </a:defRPr>
            </a:lvl1pPr>
          </a:lstStyle>
          <a:p>
            <a:r>
              <a:rPr lang="en-US" altLang="ja-JP"/>
              <a:t>Click icon to add picture</a:t>
            </a:r>
            <a:endParaRPr lang="en-JP"/>
          </a:p>
        </p:txBody>
      </p:sp>
      <p:pic>
        <p:nvPicPr>
          <p:cNvPr id="18" name="Picture 17" descr="Takeda">
            <a:extLst>
              <a:ext uri="{FF2B5EF4-FFF2-40B4-BE49-F238E27FC236}">
                <a16:creationId xmlns:a16="http://schemas.microsoft.com/office/drawing/2014/main" id="{5F9376FC-2A9F-C644-AD88-C6E1B65B4D9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790516" y="3362752"/>
            <a:ext cx="2251710" cy="1248865"/>
          </a:xfrm>
          <a:prstGeom prst="rect">
            <a:avLst/>
          </a:prstGeom>
        </p:spPr>
      </p:pic>
      <p:sp>
        <p:nvSpPr>
          <p:cNvPr id="15" name="Title 1">
            <a:extLst>
              <a:ext uri="{FF2B5EF4-FFF2-40B4-BE49-F238E27FC236}">
                <a16:creationId xmlns:a16="http://schemas.microsoft.com/office/drawing/2014/main" id="{9F5E8E0A-41D4-8346-9248-0B9AAC71238D}"/>
              </a:ext>
            </a:extLst>
          </p:cNvPr>
          <p:cNvSpPr>
            <a:spLocks noGrp="1"/>
          </p:cNvSpPr>
          <p:nvPr>
            <p:ph type="ctrTitle" hasCustomPrompt="1"/>
          </p:nvPr>
        </p:nvSpPr>
        <p:spPr>
          <a:xfrm>
            <a:off x="1194730" y="3956816"/>
            <a:ext cx="7699670" cy="1015681"/>
          </a:xfrm>
          <a:prstGeom prst="rect">
            <a:avLst/>
          </a:prstGeom>
        </p:spPr>
        <p:txBody>
          <a:bodyPr wrap="square" lIns="0" tIns="0" rIns="0" bIns="0" anchor="t" anchorCtr="0">
            <a:normAutofit/>
          </a:bodyPr>
          <a:lstStyle>
            <a:lvl1pPr>
              <a:lnSpc>
                <a:spcPts val="3800"/>
              </a:lnSpc>
              <a:defRPr sz="3600" b="1" i="0" baseline="0">
                <a:solidFill>
                  <a:schemeClr val="tx1"/>
                </a:solidFill>
                <a:latin typeface="Calibri" panose="020F0502020204030204" pitchFamily="34" charset="0"/>
                <a:ea typeface="メイリオ" pitchFamily="50" charset="-128"/>
                <a:cs typeface="Calibri" pitchFamily="34" charset="0"/>
              </a:defRPr>
            </a:lvl1pPr>
          </a:lstStyle>
          <a:p>
            <a:r>
              <a:rPr lang="en-GB"/>
              <a:t>Click to Add </a:t>
            </a:r>
            <a:br>
              <a:rPr lang="en-GB"/>
            </a:br>
            <a:r>
              <a:rPr lang="en-GB"/>
              <a:t>Title</a:t>
            </a:r>
          </a:p>
        </p:txBody>
      </p:sp>
      <p:sp>
        <p:nvSpPr>
          <p:cNvPr id="17" name="Rectangle 16">
            <a:extLst>
              <a:ext uri="{FF2B5EF4-FFF2-40B4-BE49-F238E27FC236}">
                <a16:creationId xmlns:a16="http://schemas.microsoft.com/office/drawing/2014/main" id="{F5A63B8E-5554-A04E-B4C5-97ECEE58B6CC}"/>
              </a:ext>
            </a:extLst>
          </p:cNvPr>
          <p:cNvSpPr/>
          <p:nvPr userDrawn="1"/>
        </p:nvSpPr>
        <p:spPr>
          <a:xfrm>
            <a:off x="749005" y="3764031"/>
            <a:ext cx="97200" cy="270718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kumimoji="0" lang="en-US" altLang="en-US" sz="1800">
              <a:solidFill>
                <a:srgbClr val="FFFFFF"/>
              </a:solidFill>
            </a:endParaRPr>
          </a:p>
        </p:txBody>
      </p:sp>
      <p:pic>
        <p:nvPicPr>
          <p:cNvPr id="21" name="Picture 20">
            <a:extLst>
              <a:ext uri="{FF2B5EF4-FFF2-40B4-BE49-F238E27FC236}">
                <a16:creationId xmlns:a16="http://schemas.microsoft.com/office/drawing/2014/main" id="{C2637423-F180-3943-B758-C8CCFA816E04}"/>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9571921" y="6357944"/>
            <a:ext cx="1958578" cy="117462"/>
          </a:xfrm>
          <a:prstGeom prst="rect">
            <a:avLst/>
          </a:prstGeom>
        </p:spPr>
      </p:pic>
      <p:sp>
        <p:nvSpPr>
          <p:cNvPr id="23" name="Text Placeholder 2">
            <a:extLst>
              <a:ext uri="{FF2B5EF4-FFF2-40B4-BE49-F238E27FC236}">
                <a16:creationId xmlns:a16="http://schemas.microsoft.com/office/drawing/2014/main" id="{F7327E43-4F43-914D-BE65-DB0ADB5A5E11}"/>
              </a:ext>
            </a:extLst>
          </p:cNvPr>
          <p:cNvSpPr>
            <a:spLocks noGrp="1"/>
          </p:cNvSpPr>
          <p:nvPr>
            <p:ph type="body" sz="quarter" idx="23" hasCustomPrompt="1"/>
          </p:nvPr>
        </p:nvSpPr>
        <p:spPr>
          <a:xfrm>
            <a:off x="1194728" y="5256031"/>
            <a:ext cx="7699670" cy="234001"/>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068" indent="0">
              <a:buNone/>
              <a:defRPr sz="1400">
                <a:solidFill>
                  <a:schemeClr val="tx1"/>
                </a:solidFill>
              </a:defRPr>
            </a:lvl2pPr>
            <a:lvl3pPr marL="914149" indent="0">
              <a:buNone/>
              <a:defRPr sz="1400">
                <a:solidFill>
                  <a:schemeClr val="tx1"/>
                </a:solidFill>
              </a:defRPr>
            </a:lvl3pPr>
            <a:lvl4pPr marL="1371219" indent="0">
              <a:buNone/>
              <a:defRPr sz="1400">
                <a:solidFill>
                  <a:schemeClr val="tx1"/>
                </a:solidFill>
              </a:defRPr>
            </a:lvl4pPr>
            <a:lvl5pPr marL="1828290" indent="0">
              <a:buNone/>
              <a:defRPr sz="1400">
                <a:solidFill>
                  <a:schemeClr val="tx1"/>
                </a:solidFill>
              </a:defRPr>
            </a:lvl5pPr>
          </a:lstStyle>
          <a:p>
            <a:pPr lvl="0"/>
            <a:r>
              <a:rPr lang="en-US"/>
              <a:t>Title of Position</a:t>
            </a:r>
          </a:p>
        </p:txBody>
      </p:sp>
      <p:sp>
        <p:nvSpPr>
          <p:cNvPr id="24" name="Text Placeholder 2">
            <a:extLst>
              <a:ext uri="{FF2B5EF4-FFF2-40B4-BE49-F238E27FC236}">
                <a16:creationId xmlns:a16="http://schemas.microsoft.com/office/drawing/2014/main" id="{4A23AA60-6137-8841-B2ED-51B2F2E5C1BB}"/>
              </a:ext>
            </a:extLst>
          </p:cNvPr>
          <p:cNvSpPr>
            <a:spLocks noGrp="1"/>
          </p:cNvSpPr>
          <p:nvPr>
            <p:ph type="body" sz="quarter" idx="24" hasCustomPrompt="1"/>
          </p:nvPr>
        </p:nvSpPr>
        <p:spPr>
          <a:xfrm>
            <a:off x="1194728" y="5515045"/>
            <a:ext cx="7699670" cy="234001"/>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068" indent="0">
              <a:buNone/>
              <a:defRPr sz="1400">
                <a:solidFill>
                  <a:schemeClr val="tx1"/>
                </a:solidFill>
              </a:defRPr>
            </a:lvl2pPr>
            <a:lvl3pPr marL="914149" indent="0">
              <a:buNone/>
              <a:defRPr sz="1400">
                <a:solidFill>
                  <a:schemeClr val="tx1"/>
                </a:solidFill>
              </a:defRPr>
            </a:lvl3pPr>
            <a:lvl4pPr marL="1371219" indent="0">
              <a:buNone/>
              <a:defRPr sz="1400">
                <a:solidFill>
                  <a:schemeClr val="tx1"/>
                </a:solidFill>
              </a:defRPr>
            </a:lvl4pPr>
            <a:lvl5pPr marL="1828290" indent="0">
              <a:buNone/>
              <a:defRPr sz="1400">
                <a:solidFill>
                  <a:schemeClr val="tx1"/>
                </a:solidFill>
              </a:defRPr>
            </a:lvl5pPr>
          </a:lstStyle>
          <a:p>
            <a:pPr lvl="0"/>
            <a:r>
              <a:rPr lang="en-US"/>
              <a:t>Department</a:t>
            </a:r>
          </a:p>
        </p:txBody>
      </p:sp>
      <p:sp>
        <p:nvSpPr>
          <p:cNvPr id="25" name="Text Placeholder 2">
            <a:extLst>
              <a:ext uri="{FF2B5EF4-FFF2-40B4-BE49-F238E27FC236}">
                <a16:creationId xmlns:a16="http://schemas.microsoft.com/office/drawing/2014/main" id="{BB4FEAB2-22C6-3446-B4D2-5B610A729BCC}"/>
              </a:ext>
            </a:extLst>
          </p:cNvPr>
          <p:cNvSpPr>
            <a:spLocks noGrp="1"/>
          </p:cNvSpPr>
          <p:nvPr>
            <p:ph type="body" sz="quarter" idx="25" hasCustomPrompt="1"/>
          </p:nvPr>
        </p:nvSpPr>
        <p:spPr>
          <a:xfrm>
            <a:off x="1194728" y="5769532"/>
            <a:ext cx="7699670" cy="234001"/>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068" indent="0">
              <a:buNone/>
              <a:defRPr sz="1400">
                <a:solidFill>
                  <a:schemeClr val="tx1"/>
                </a:solidFill>
              </a:defRPr>
            </a:lvl2pPr>
            <a:lvl3pPr marL="914149" indent="0">
              <a:buNone/>
              <a:defRPr sz="1400">
                <a:solidFill>
                  <a:schemeClr val="tx1"/>
                </a:solidFill>
              </a:defRPr>
            </a:lvl3pPr>
            <a:lvl4pPr marL="1371219" indent="0">
              <a:buNone/>
              <a:defRPr sz="1400">
                <a:solidFill>
                  <a:schemeClr val="tx1"/>
                </a:solidFill>
              </a:defRPr>
            </a:lvl4pPr>
            <a:lvl5pPr marL="1828290" indent="0">
              <a:buNone/>
              <a:defRPr sz="1400">
                <a:solidFill>
                  <a:schemeClr val="tx1"/>
                </a:solidFill>
              </a:defRPr>
            </a:lvl5pPr>
          </a:lstStyle>
          <a:p>
            <a:pPr lvl="0"/>
            <a:r>
              <a:rPr lang="en-US"/>
              <a:t>Date</a:t>
            </a:r>
          </a:p>
        </p:txBody>
      </p:sp>
      <p:sp>
        <p:nvSpPr>
          <p:cNvPr id="28" name="Text Placeholder 2">
            <a:extLst>
              <a:ext uri="{FF2B5EF4-FFF2-40B4-BE49-F238E27FC236}">
                <a16:creationId xmlns:a16="http://schemas.microsoft.com/office/drawing/2014/main" id="{4085F378-E668-A648-B7B1-8C76C309ED6D}"/>
              </a:ext>
            </a:extLst>
          </p:cNvPr>
          <p:cNvSpPr>
            <a:spLocks noGrp="1"/>
          </p:cNvSpPr>
          <p:nvPr>
            <p:ph type="body" sz="quarter" idx="26" hasCustomPrompt="1"/>
          </p:nvPr>
        </p:nvSpPr>
        <p:spPr>
          <a:xfrm>
            <a:off x="1194728" y="4997510"/>
            <a:ext cx="7699670" cy="234001"/>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068" indent="0">
              <a:buNone/>
              <a:defRPr sz="1400">
                <a:solidFill>
                  <a:schemeClr val="tx1"/>
                </a:solidFill>
              </a:defRPr>
            </a:lvl2pPr>
            <a:lvl3pPr marL="914149" indent="0">
              <a:buNone/>
              <a:defRPr sz="1400">
                <a:solidFill>
                  <a:schemeClr val="tx1"/>
                </a:solidFill>
              </a:defRPr>
            </a:lvl3pPr>
            <a:lvl4pPr marL="1371219" indent="0">
              <a:buNone/>
              <a:defRPr sz="1400">
                <a:solidFill>
                  <a:schemeClr val="tx1"/>
                </a:solidFill>
              </a:defRPr>
            </a:lvl4pPr>
            <a:lvl5pPr marL="1828290" indent="0">
              <a:buNone/>
              <a:defRPr sz="1400">
                <a:solidFill>
                  <a:schemeClr val="tx1"/>
                </a:solidFill>
              </a:defRPr>
            </a:lvl5pPr>
          </a:lstStyle>
          <a:p>
            <a:pPr lvl="0"/>
            <a:r>
              <a:rPr lang="en-US"/>
              <a:t>Presenter Name</a:t>
            </a:r>
          </a:p>
        </p:txBody>
      </p:sp>
      <p:sp>
        <p:nvSpPr>
          <p:cNvPr id="13" name="Text Placeholder 2">
            <a:extLst>
              <a:ext uri="{FF2B5EF4-FFF2-40B4-BE49-F238E27FC236}">
                <a16:creationId xmlns:a16="http://schemas.microsoft.com/office/drawing/2014/main" id="{C1E31EF6-BED5-C14F-94AD-4E5C55B85515}"/>
              </a:ext>
            </a:extLst>
          </p:cNvPr>
          <p:cNvSpPr>
            <a:spLocks noGrp="1"/>
          </p:cNvSpPr>
          <p:nvPr>
            <p:ph type="body" sz="quarter" idx="16" hasCustomPrompt="1"/>
          </p:nvPr>
        </p:nvSpPr>
        <p:spPr>
          <a:xfrm>
            <a:off x="1194728" y="6027352"/>
            <a:ext cx="7699670" cy="234001"/>
          </a:xfrm>
        </p:spPr>
        <p:txBody>
          <a:bodyPr tIns="0" rIns="0" bIns="0" anchor="ctr" anchorCtr="0">
            <a:noAutofit/>
          </a:bodyPr>
          <a:lstStyle>
            <a:lvl1pPr marL="0" marR="0" indent="0" algn="l" defTabSz="914150" rtl="0" eaLnBrk="1" fontAlgn="auto" latinLnBrk="0" hangingPunct="1">
              <a:lnSpc>
                <a:spcPct val="100000"/>
              </a:lnSpc>
              <a:spcBef>
                <a:spcPct val="20000"/>
              </a:spcBef>
              <a:spcAft>
                <a:spcPts val="0"/>
              </a:spcAft>
              <a:buClr>
                <a:srgbClr val="4C4948"/>
              </a:buClr>
              <a:buSzTx/>
              <a:buFont typeface="Arial" panose="020B0604020202020204" pitchFamily="34" charset="0"/>
              <a:buNone/>
              <a:tabLst/>
              <a:defRPr sz="800"/>
            </a:lvl1pPr>
            <a:lvl2pPr>
              <a:defRPr sz="800"/>
            </a:lvl2pPr>
            <a:lvl3pPr>
              <a:defRPr sz="800"/>
            </a:lvl3pPr>
            <a:lvl4pPr>
              <a:defRPr sz="800"/>
            </a:lvl4pPr>
            <a:lvl5pPr>
              <a:defRPr sz="800"/>
            </a:lvl5pPr>
          </a:lstStyle>
          <a:p>
            <a:pPr marL="0" marR="0" lvl="0" indent="0" algn="l" defTabSz="914150" rtl="0" eaLnBrk="1" fontAlgn="auto" latinLnBrk="0" hangingPunct="1">
              <a:lnSpc>
                <a:spcPct val="100000"/>
              </a:lnSpc>
              <a:spcBef>
                <a:spcPct val="20000"/>
              </a:spcBef>
              <a:spcAft>
                <a:spcPts val="0"/>
              </a:spcAft>
              <a:buClr>
                <a:srgbClr val="4C4948"/>
              </a:buClr>
              <a:buSzTx/>
              <a:buFont typeface="Arial" panose="020B0604020202020204" pitchFamily="34" charset="0"/>
              <a:buNone/>
              <a:tabLst/>
              <a:defRPr/>
            </a:pPr>
            <a:r>
              <a:rPr lang="en-US"/>
              <a:t>Private and confidential. For internal use only.</a:t>
            </a:r>
          </a:p>
        </p:txBody>
      </p:sp>
    </p:spTree>
    <p:extLst>
      <p:ext uri="{BB962C8B-B14F-4D97-AF65-F5344CB8AC3E}">
        <p14:creationId xmlns:p14="http://schemas.microsoft.com/office/powerpoint/2010/main" val="2670516551"/>
      </p:ext>
    </p:extLst>
  </p:cSld>
  <p:clrMapOvr>
    <a:masterClrMapping/>
  </p:clrMapOvr>
  <p:transition spd="slow">
    <p:push dir="u"/>
  </p:transition>
  <p:extLst>
    <p:ext uri="{DCECCB84-F9BA-43D5-87BE-67443E8EF086}">
      <p15:sldGuideLst xmlns:p15="http://schemas.microsoft.com/office/powerpoint/2012/main">
        <p15:guide id="1" orient="horz" pos="4065">
          <p15:clr>
            <a:srgbClr val="FBAE40"/>
          </p15:clr>
        </p15:guide>
        <p15:guide id="2" orient="horz" pos="2364">
          <p15:clr>
            <a:srgbClr val="FBAE40"/>
          </p15:clr>
        </p15:guide>
        <p15:guide id="3" orient="horz" pos="2160">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tandard 1-Column Text">
    <p:spTree>
      <p:nvGrpSpPr>
        <p:cNvPr id="1" name=""/>
        <p:cNvGrpSpPr/>
        <p:nvPr/>
      </p:nvGrpSpPr>
      <p:grpSpPr>
        <a:xfrm>
          <a:off x="0" y="0"/>
          <a:ext cx="0" cy="0"/>
          <a:chOff x="0" y="0"/>
          <a:chExt cx="0" cy="0"/>
        </a:xfrm>
      </p:grpSpPr>
      <p:sp>
        <p:nvSpPr>
          <p:cNvPr id="12" name="Text Placeholder 6">
            <a:extLst>
              <a:ext uri="{FF2B5EF4-FFF2-40B4-BE49-F238E27FC236}">
                <a16:creationId xmlns:a16="http://schemas.microsoft.com/office/drawing/2014/main" id="{FD2406EE-A554-5348-AE6D-4D8B343E6201}"/>
              </a:ext>
            </a:extLst>
          </p:cNvPr>
          <p:cNvSpPr>
            <a:spLocks noGrp="1"/>
          </p:cNvSpPr>
          <p:nvPr>
            <p:ph type="body" sz="quarter" idx="15" hasCustomPrompt="1"/>
          </p:nvPr>
        </p:nvSpPr>
        <p:spPr>
          <a:xfrm>
            <a:off x="311150" y="1102385"/>
            <a:ext cx="11569700" cy="5328857"/>
          </a:xfrm>
          <a:prstGeom prst="rect">
            <a:avLst/>
          </a:prstGeom>
        </p:spPr>
        <p:txBody>
          <a:bodyPr tIns="0" rIns="0" bIns="0" numCol="1">
            <a:normAutofit/>
          </a:bodyPr>
          <a:lstStyle>
            <a:lvl1pPr marL="0" indent="0">
              <a:lnSpc>
                <a:spcPct val="100000"/>
              </a:lnSpc>
              <a:spcBef>
                <a:spcPts val="0"/>
              </a:spcBef>
              <a:spcAft>
                <a:spcPts val="600"/>
              </a:spcAft>
              <a:buFont typeface="Arial" panose="020B0604020202020204" pitchFamily="34" charset="0"/>
              <a:buNone/>
              <a:defRPr sz="1600" b="0">
                <a:solidFill>
                  <a:schemeClr val="tx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a one-column layout. Click to add content</a:t>
            </a:r>
          </a:p>
        </p:txBody>
      </p:sp>
      <p:sp>
        <p:nvSpPr>
          <p:cNvPr id="19" name="Footer Placeholder 8">
            <a:extLst>
              <a:ext uri="{FF2B5EF4-FFF2-40B4-BE49-F238E27FC236}">
                <a16:creationId xmlns:a16="http://schemas.microsoft.com/office/drawing/2014/main" id="{CDA06C55-0643-C148-AAB1-C4BB26FD7B26}"/>
              </a:ext>
            </a:extLst>
          </p:cNvPr>
          <p:cNvSpPr>
            <a:spLocks noGrp="1"/>
          </p:cNvSpPr>
          <p:nvPr>
            <p:ph type="ftr" sz="quarter" idx="3"/>
          </p:nvPr>
        </p:nvSpPr>
        <p:spPr>
          <a:xfrm>
            <a:off x="7766050" y="6523001"/>
            <a:ext cx="4114800" cy="196131"/>
          </a:xfrm>
          <a:prstGeom prst="rect">
            <a:avLst/>
          </a:prstGeom>
        </p:spPr>
        <p:txBody>
          <a:bodyPr vert="horz" lIns="0" tIns="0" rIns="0" bIns="0" rtlCol="0" anchor="ctr"/>
          <a:lstStyle>
            <a:lvl1pPr algn="r">
              <a:defRPr sz="800" b="1" spc="100" baseline="0">
                <a:solidFill>
                  <a:schemeClr val="tx1"/>
                </a:solidFill>
              </a:defRPr>
            </a:lvl1pPr>
          </a:lstStyle>
          <a:p>
            <a:r>
              <a:rPr lang="en-JP"/>
              <a:t> </a:t>
            </a:r>
          </a:p>
        </p:txBody>
      </p:sp>
      <p:pic>
        <p:nvPicPr>
          <p:cNvPr id="14" name="Picture 13" descr="Takeda">
            <a:extLst>
              <a:ext uri="{FF2B5EF4-FFF2-40B4-BE49-F238E27FC236}">
                <a16:creationId xmlns:a16="http://schemas.microsoft.com/office/drawing/2014/main" id="{A75F5BF7-D49E-8A49-AE81-CB31E57D5A7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46331" y="-1615"/>
            <a:ext cx="1696232" cy="940780"/>
          </a:xfrm>
          <a:prstGeom prst="rect">
            <a:avLst/>
          </a:prstGeom>
        </p:spPr>
      </p:pic>
      <p:sp>
        <p:nvSpPr>
          <p:cNvPr id="22" name="タイトル プレースホルダ 1">
            <a:extLst>
              <a:ext uri="{FF2B5EF4-FFF2-40B4-BE49-F238E27FC236}">
                <a16:creationId xmlns:a16="http://schemas.microsoft.com/office/drawing/2014/main" id="{86D2E5B8-9E2B-DB46-A55A-5F26569C4F99}"/>
              </a:ext>
            </a:extLst>
          </p:cNvPr>
          <p:cNvSpPr>
            <a:spLocks noGrp="1"/>
          </p:cNvSpPr>
          <p:nvPr>
            <p:ph type="title" hasCustomPrompt="1"/>
          </p:nvPr>
        </p:nvSpPr>
        <p:spPr>
          <a:xfrm>
            <a:off x="606078" y="161605"/>
            <a:ext cx="9940253" cy="685801"/>
          </a:xfrm>
          <a:prstGeom prst="rect">
            <a:avLst/>
          </a:prstGeom>
        </p:spPr>
        <p:txBody>
          <a:bodyPr vert="horz" lIns="0" tIns="0" rIns="0" bIns="0" rtlCol="0" anchor="ctr">
            <a:normAutofit/>
          </a:bodyPr>
          <a:lstStyle/>
          <a:p>
            <a:r>
              <a:rPr kumimoji="1" lang="en-US" altLang="ja-JP"/>
              <a:t>Click to add title</a:t>
            </a:r>
            <a:endParaRPr kumimoji="1" lang="ja-JP" altLang="en-US"/>
          </a:p>
        </p:txBody>
      </p:sp>
      <p:sp>
        <p:nvSpPr>
          <p:cNvPr id="20" name="スライド番号プレースホルダ 5">
            <a:extLst>
              <a:ext uri="{FF2B5EF4-FFF2-40B4-BE49-F238E27FC236}">
                <a16:creationId xmlns:a16="http://schemas.microsoft.com/office/drawing/2014/main" id="{51A4825E-63A1-564F-BC3A-FBC167ECE5EB}"/>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1" name="Rectangle 20">
            <a:extLst>
              <a:ext uri="{FF2B5EF4-FFF2-40B4-BE49-F238E27FC236}">
                <a16:creationId xmlns:a16="http://schemas.microsoft.com/office/drawing/2014/main" id="{FCF9CDB0-5730-E246-B31F-F5963CF8EFDC}"/>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a:solidFill>
                <a:schemeClr val="accent1"/>
              </a:solidFill>
            </a:endParaRPr>
          </a:p>
        </p:txBody>
      </p:sp>
      <p:sp>
        <p:nvSpPr>
          <p:cNvPr id="24" name="Text Placeholder 6">
            <a:extLst>
              <a:ext uri="{FF2B5EF4-FFF2-40B4-BE49-F238E27FC236}">
                <a16:creationId xmlns:a16="http://schemas.microsoft.com/office/drawing/2014/main" id="{44EB3013-FCB4-1B4E-A9F2-FD57CF727CCC}"/>
              </a:ext>
            </a:extLst>
          </p:cNvPr>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Private and confidential. For internal use only.</a:t>
            </a:r>
          </a:p>
        </p:txBody>
      </p:sp>
    </p:spTree>
    <p:extLst>
      <p:ext uri="{BB962C8B-B14F-4D97-AF65-F5344CB8AC3E}">
        <p14:creationId xmlns:p14="http://schemas.microsoft.com/office/powerpoint/2010/main" val="2192938889"/>
      </p:ext>
    </p:extLst>
  </p:cSld>
  <p:clrMapOvr>
    <a:masterClrMapping/>
  </p:clrMapOvr>
  <p:transition spd="slow">
    <p:push dir="u"/>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Page 2 ">
    <p:spTree>
      <p:nvGrpSpPr>
        <p:cNvPr id="1" name=""/>
        <p:cNvGrpSpPr/>
        <p:nvPr/>
      </p:nvGrpSpPr>
      <p:grpSpPr>
        <a:xfrm>
          <a:off x="0" y="0"/>
          <a:ext cx="0" cy="0"/>
          <a:chOff x="0" y="0"/>
          <a:chExt cx="0" cy="0"/>
        </a:xfrm>
      </p:grpSpPr>
      <p:sp>
        <p:nvSpPr>
          <p:cNvPr id="33" name="Title 1">
            <a:extLst>
              <a:ext uri="{FF2B5EF4-FFF2-40B4-BE49-F238E27FC236}">
                <a16:creationId xmlns:a16="http://schemas.microsoft.com/office/drawing/2014/main" id="{E02383DA-65B3-044E-9E1B-2CC00A0B1CC6}"/>
              </a:ext>
            </a:extLst>
          </p:cNvPr>
          <p:cNvSpPr>
            <a:spLocks noGrp="1"/>
          </p:cNvSpPr>
          <p:nvPr>
            <p:ph type="ctrTitle" hasCustomPrompt="1"/>
          </p:nvPr>
        </p:nvSpPr>
        <p:spPr>
          <a:xfrm>
            <a:off x="1194730" y="2303030"/>
            <a:ext cx="4354731" cy="1125969"/>
          </a:xfrm>
          <a:prstGeom prst="rect">
            <a:avLst/>
          </a:prstGeom>
        </p:spPr>
        <p:txBody>
          <a:bodyPr wrap="square" lIns="0" tIns="0" rIns="0" bIns="0" anchor="t" anchorCtr="0">
            <a:normAutofit/>
          </a:bodyPr>
          <a:lstStyle>
            <a:lvl1pPr>
              <a:lnSpc>
                <a:spcPts val="3800"/>
              </a:lnSpc>
              <a:defRPr sz="3600" b="1" i="0" baseline="0">
                <a:solidFill>
                  <a:schemeClr val="tx1"/>
                </a:solidFill>
                <a:latin typeface="Calibri" panose="020F0502020204030204" pitchFamily="34" charset="0"/>
                <a:ea typeface="メイリオ" pitchFamily="50" charset="-128"/>
                <a:cs typeface="Calibri" pitchFamily="34" charset="0"/>
              </a:defRPr>
            </a:lvl1pPr>
          </a:lstStyle>
          <a:p>
            <a:r>
              <a:rPr lang="en-GB"/>
              <a:t>Click to add title</a:t>
            </a:r>
          </a:p>
        </p:txBody>
      </p:sp>
      <p:sp>
        <p:nvSpPr>
          <p:cNvPr id="20" name="Picture Placeholder 3">
            <a:extLst>
              <a:ext uri="{FF2B5EF4-FFF2-40B4-BE49-F238E27FC236}">
                <a16:creationId xmlns:a16="http://schemas.microsoft.com/office/drawing/2014/main" id="{902F3095-EA6E-F94A-AF04-18ED691DEB75}"/>
              </a:ext>
            </a:extLst>
          </p:cNvPr>
          <p:cNvSpPr>
            <a:spLocks noGrp="1"/>
          </p:cNvSpPr>
          <p:nvPr>
            <p:ph type="pic" sz="quarter" idx="17"/>
          </p:nvPr>
        </p:nvSpPr>
        <p:spPr>
          <a:xfrm>
            <a:off x="5866513" y="376180"/>
            <a:ext cx="6326533" cy="6108535"/>
          </a:xfrm>
          <a:custGeom>
            <a:avLst/>
            <a:gdLst>
              <a:gd name="connsiteX0" fmla="*/ 0 w 6462532"/>
              <a:gd name="connsiteY0" fmla="*/ 3052818 h 6105636"/>
              <a:gd name="connsiteX1" fmla="*/ 3052818 w 6462532"/>
              <a:gd name="connsiteY1" fmla="*/ 0 h 6105636"/>
              <a:gd name="connsiteX2" fmla="*/ 3409714 w 6462532"/>
              <a:gd name="connsiteY2" fmla="*/ 0 h 6105636"/>
              <a:gd name="connsiteX3" fmla="*/ 6462532 w 6462532"/>
              <a:gd name="connsiteY3" fmla="*/ 3052818 h 6105636"/>
              <a:gd name="connsiteX4" fmla="*/ 6462532 w 6462532"/>
              <a:gd name="connsiteY4" fmla="*/ 3052818 h 6105636"/>
              <a:gd name="connsiteX5" fmla="*/ 3409714 w 6462532"/>
              <a:gd name="connsiteY5" fmla="*/ 6105636 h 6105636"/>
              <a:gd name="connsiteX6" fmla="*/ 3052818 w 6462532"/>
              <a:gd name="connsiteY6" fmla="*/ 6105636 h 6105636"/>
              <a:gd name="connsiteX7" fmla="*/ 0 w 6462532"/>
              <a:gd name="connsiteY7" fmla="*/ 3052818 h 6105636"/>
              <a:gd name="connsiteX0" fmla="*/ 0 w 7309764"/>
              <a:gd name="connsiteY0" fmla="*/ 3052818 h 6105636"/>
              <a:gd name="connsiteX1" fmla="*/ 3052818 w 7309764"/>
              <a:gd name="connsiteY1" fmla="*/ 0 h 6105636"/>
              <a:gd name="connsiteX2" fmla="*/ 6592752 w 7309764"/>
              <a:gd name="connsiteY2" fmla="*/ 46298 h 6105636"/>
              <a:gd name="connsiteX3" fmla="*/ 6462532 w 7309764"/>
              <a:gd name="connsiteY3" fmla="*/ 3052818 h 6105636"/>
              <a:gd name="connsiteX4" fmla="*/ 6462532 w 7309764"/>
              <a:gd name="connsiteY4" fmla="*/ 3052818 h 6105636"/>
              <a:gd name="connsiteX5" fmla="*/ 3409714 w 7309764"/>
              <a:gd name="connsiteY5" fmla="*/ 6105636 h 6105636"/>
              <a:gd name="connsiteX6" fmla="*/ 3052818 w 7309764"/>
              <a:gd name="connsiteY6" fmla="*/ 6105636 h 6105636"/>
              <a:gd name="connsiteX7" fmla="*/ 0 w 7309764"/>
              <a:gd name="connsiteY7" fmla="*/ 3052818 h 6105636"/>
              <a:gd name="connsiteX0" fmla="*/ 0 w 7309764"/>
              <a:gd name="connsiteY0" fmla="*/ 3060215 h 6113033"/>
              <a:gd name="connsiteX1" fmla="*/ 3052818 w 7309764"/>
              <a:gd name="connsiteY1" fmla="*/ 7397 h 6113033"/>
              <a:gd name="connsiteX2" fmla="*/ 6592752 w 7309764"/>
              <a:gd name="connsiteY2" fmla="*/ 53695 h 6113033"/>
              <a:gd name="connsiteX3" fmla="*/ 6462532 w 7309764"/>
              <a:gd name="connsiteY3" fmla="*/ 3060215 h 6113033"/>
              <a:gd name="connsiteX4" fmla="*/ 6462532 w 7309764"/>
              <a:gd name="connsiteY4" fmla="*/ 3060215 h 6113033"/>
              <a:gd name="connsiteX5" fmla="*/ 3409714 w 7309764"/>
              <a:gd name="connsiteY5" fmla="*/ 6113033 h 6113033"/>
              <a:gd name="connsiteX6" fmla="*/ 3052818 w 7309764"/>
              <a:gd name="connsiteY6" fmla="*/ 6113033 h 6113033"/>
              <a:gd name="connsiteX7" fmla="*/ 0 w 7309764"/>
              <a:gd name="connsiteY7" fmla="*/ 3060215 h 6113033"/>
              <a:gd name="connsiteX0" fmla="*/ 0 w 7309764"/>
              <a:gd name="connsiteY0" fmla="*/ 3052818 h 6105636"/>
              <a:gd name="connsiteX1" fmla="*/ 3052818 w 7309764"/>
              <a:gd name="connsiteY1" fmla="*/ 0 h 6105636"/>
              <a:gd name="connsiteX2" fmla="*/ 6592752 w 7309764"/>
              <a:gd name="connsiteY2" fmla="*/ 46298 h 6105636"/>
              <a:gd name="connsiteX3" fmla="*/ 6462532 w 7309764"/>
              <a:gd name="connsiteY3" fmla="*/ 3052818 h 6105636"/>
              <a:gd name="connsiteX4" fmla="*/ 6462532 w 7309764"/>
              <a:gd name="connsiteY4" fmla="*/ 3052818 h 6105636"/>
              <a:gd name="connsiteX5" fmla="*/ 3409714 w 7309764"/>
              <a:gd name="connsiteY5" fmla="*/ 6105636 h 6105636"/>
              <a:gd name="connsiteX6" fmla="*/ 3052818 w 7309764"/>
              <a:gd name="connsiteY6" fmla="*/ 6105636 h 6105636"/>
              <a:gd name="connsiteX7" fmla="*/ 0 w 7309764"/>
              <a:gd name="connsiteY7" fmla="*/ 3052818 h 6105636"/>
              <a:gd name="connsiteX0" fmla="*/ 0 w 7162978"/>
              <a:gd name="connsiteY0" fmla="*/ 3052818 h 6105636"/>
              <a:gd name="connsiteX1" fmla="*/ 3052818 w 7162978"/>
              <a:gd name="connsiteY1" fmla="*/ 0 h 6105636"/>
              <a:gd name="connsiteX2" fmla="*/ 6395982 w 7162978"/>
              <a:gd name="connsiteY2" fmla="*/ 11574 h 6105636"/>
              <a:gd name="connsiteX3" fmla="*/ 6462532 w 7162978"/>
              <a:gd name="connsiteY3" fmla="*/ 3052818 h 6105636"/>
              <a:gd name="connsiteX4" fmla="*/ 6462532 w 7162978"/>
              <a:gd name="connsiteY4" fmla="*/ 3052818 h 6105636"/>
              <a:gd name="connsiteX5" fmla="*/ 3409714 w 7162978"/>
              <a:gd name="connsiteY5" fmla="*/ 6105636 h 6105636"/>
              <a:gd name="connsiteX6" fmla="*/ 3052818 w 7162978"/>
              <a:gd name="connsiteY6" fmla="*/ 6105636 h 6105636"/>
              <a:gd name="connsiteX7" fmla="*/ 0 w 7162978"/>
              <a:gd name="connsiteY7" fmla="*/ 3052818 h 6105636"/>
              <a:gd name="connsiteX0" fmla="*/ 0 w 7162978"/>
              <a:gd name="connsiteY0" fmla="*/ 3052818 h 6105636"/>
              <a:gd name="connsiteX1" fmla="*/ 3052818 w 7162978"/>
              <a:gd name="connsiteY1" fmla="*/ 0 h 6105636"/>
              <a:gd name="connsiteX2" fmla="*/ 6395982 w 7162978"/>
              <a:gd name="connsiteY2" fmla="*/ 11574 h 6105636"/>
              <a:gd name="connsiteX3" fmla="*/ 6462532 w 7162978"/>
              <a:gd name="connsiteY3" fmla="*/ 3052818 h 6105636"/>
              <a:gd name="connsiteX4" fmla="*/ 6462532 w 7162978"/>
              <a:gd name="connsiteY4" fmla="*/ 3052818 h 6105636"/>
              <a:gd name="connsiteX5" fmla="*/ 3409714 w 7162978"/>
              <a:gd name="connsiteY5" fmla="*/ 6105636 h 6105636"/>
              <a:gd name="connsiteX6" fmla="*/ 3052818 w 7162978"/>
              <a:gd name="connsiteY6" fmla="*/ 6105636 h 6105636"/>
              <a:gd name="connsiteX7" fmla="*/ 0 w 7162978"/>
              <a:gd name="connsiteY7" fmla="*/ 3052818 h 6105636"/>
              <a:gd name="connsiteX0" fmla="*/ 0 w 7162978"/>
              <a:gd name="connsiteY0" fmla="*/ 3052818 h 6105636"/>
              <a:gd name="connsiteX1" fmla="*/ 3052818 w 7162978"/>
              <a:gd name="connsiteY1" fmla="*/ 0 h 6105636"/>
              <a:gd name="connsiteX2" fmla="*/ 6395982 w 7162978"/>
              <a:gd name="connsiteY2" fmla="*/ 11574 h 6105636"/>
              <a:gd name="connsiteX3" fmla="*/ 6462532 w 7162978"/>
              <a:gd name="connsiteY3" fmla="*/ 3052818 h 6105636"/>
              <a:gd name="connsiteX4" fmla="*/ 6462532 w 7162978"/>
              <a:gd name="connsiteY4" fmla="*/ 3052818 h 6105636"/>
              <a:gd name="connsiteX5" fmla="*/ 3409714 w 7162978"/>
              <a:gd name="connsiteY5" fmla="*/ 6105636 h 6105636"/>
              <a:gd name="connsiteX6" fmla="*/ 3052818 w 7162978"/>
              <a:gd name="connsiteY6" fmla="*/ 6105636 h 6105636"/>
              <a:gd name="connsiteX7" fmla="*/ 0 w 7162978"/>
              <a:gd name="connsiteY7" fmla="*/ 3052818 h 6105636"/>
              <a:gd name="connsiteX0" fmla="*/ 0 w 7162978"/>
              <a:gd name="connsiteY0" fmla="*/ 3052818 h 6105636"/>
              <a:gd name="connsiteX1" fmla="*/ 3052818 w 7162978"/>
              <a:gd name="connsiteY1" fmla="*/ 0 h 6105636"/>
              <a:gd name="connsiteX2" fmla="*/ 6395982 w 7162978"/>
              <a:gd name="connsiteY2" fmla="*/ 11574 h 6105636"/>
              <a:gd name="connsiteX3" fmla="*/ 6462532 w 7162978"/>
              <a:gd name="connsiteY3" fmla="*/ 3052818 h 6105636"/>
              <a:gd name="connsiteX4" fmla="*/ 6462532 w 7162978"/>
              <a:gd name="connsiteY4" fmla="*/ 3052818 h 6105636"/>
              <a:gd name="connsiteX5" fmla="*/ 3409714 w 7162978"/>
              <a:gd name="connsiteY5" fmla="*/ 6105636 h 6105636"/>
              <a:gd name="connsiteX6" fmla="*/ 3052818 w 7162978"/>
              <a:gd name="connsiteY6" fmla="*/ 6105636 h 6105636"/>
              <a:gd name="connsiteX7" fmla="*/ 0 w 7162978"/>
              <a:gd name="connsiteY7" fmla="*/ 3052818 h 6105636"/>
              <a:gd name="connsiteX0" fmla="*/ 0 w 6750471"/>
              <a:gd name="connsiteY0" fmla="*/ 3052818 h 6105636"/>
              <a:gd name="connsiteX1" fmla="*/ 3052818 w 6750471"/>
              <a:gd name="connsiteY1" fmla="*/ 0 h 6105636"/>
              <a:gd name="connsiteX2" fmla="*/ 6395982 w 6750471"/>
              <a:gd name="connsiteY2" fmla="*/ 11574 h 6105636"/>
              <a:gd name="connsiteX3" fmla="*/ 6462532 w 6750471"/>
              <a:gd name="connsiteY3" fmla="*/ 3052818 h 6105636"/>
              <a:gd name="connsiteX4" fmla="*/ 6462532 w 6750471"/>
              <a:gd name="connsiteY4" fmla="*/ 3052818 h 6105636"/>
              <a:gd name="connsiteX5" fmla="*/ 3409714 w 6750471"/>
              <a:gd name="connsiteY5" fmla="*/ 6105636 h 6105636"/>
              <a:gd name="connsiteX6" fmla="*/ 3052818 w 6750471"/>
              <a:gd name="connsiteY6" fmla="*/ 6105636 h 6105636"/>
              <a:gd name="connsiteX7" fmla="*/ 0 w 6750471"/>
              <a:gd name="connsiteY7" fmla="*/ 3052818 h 6105636"/>
              <a:gd name="connsiteX0" fmla="*/ 0 w 6462532"/>
              <a:gd name="connsiteY0" fmla="*/ 3052818 h 6105636"/>
              <a:gd name="connsiteX1" fmla="*/ 3052818 w 6462532"/>
              <a:gd name="connsiteY1" fmla="*/ 0 h 6105636"/>
              <a:gd name="connsiteX2" fmla="*/ 6395982 w 6462532"/>
              <a:gd name="connsiteY2" fmla="*/ 11574 h 6105636"/>
              <a:gd name="connsiteX3" fmla="*/ 6462532 w 6462532"/>
              <a:gd name="connsiteY3" fmla="*/ 3052818 h 6105636"/>
              <a:gd name="connsiteX4" fmla="*/ 6462532 w 6462532"/>
              <a:gd name="connsiteY4" fmla="*/ 3052818 h 6105636"/>
              <a:gd name="connsiteX5" fmla="*/ 3409714 w 6462532"/>
              <a:gd name="connsiteY5" fmla="*/ 6105636 h 6105636"/>
              <a:gd name="connsiteX6" fmla="*/ 3052818 w 6462532"/>
              <a:gd name="connsiteY6" fmla="*/ 6105636 h 6105636"/>
              <a:gd name="connsiteX7" fmla="*/ 0 w 6462532"/>
              <a:gd name="connsiteY7" fmla="*/ 3052818 h 6105636"/>
              <a:gd name="connsiteX0" fmla="*/ 0 w 6477004"/>
              <a:gd name="connsiteY0" fmla="*/ 3052819 h 6105637"/>
              <a:gd name="connsiteX1" fmla="*/ 3052818 w 6477004"/>
              <a:gd name="connsiteY1" fmla="*/ 1 h 6105637"/>
              <a:gd name="connsiteX2" fmla="*/ 6477004 w 6477004"/>
              <a:gd name="connsiteY2" fmla="*/ 0 h 6105637"/>
              <a:gd name="connsiteX3" fmla="*/ 6462532 w 6477004"/>
              <a:gd name="connsiteY3" fmla="*/ 3052819 h 6105637"/>
              <a:gd name="connsiteX4" fmla="*/ 6462532 w 6477004"/>
              <a:gd name="connsiteY4" fmla="*/ 3052819 h 6105637"/>
              <a:gd name="connsiteX5" fmla="*/ 3409714 w 6477004"/>
              <a:gd name="connsiteY5" fmla="*/ 6105637 h 6105637"/>
              <a:gd name="connsiteX6" fmla="*/ 3052818 w 6477004"/>
              <a:gd name="connsiteY6" fmla="*/ 6105637 h 6105637"/>
              <a:gd name="connsiteX7" fmla="*/ 0 w 6477004"/>
              <a:gd name="connsiteY7" fmla="*/ 3052819 h 6105637"/>
              <a:gd name="connsiteX0" fmla="*/ 0 w 6477004"/>
              <a:gd name="connsiteY0" fmla="*/ 3052819 h 6105637"/>
              <a:gd name="connsiteX1" fmla="*/ 3052818 w 6477004"/>
              <a:gd name="connsiteY1" fmla="*/ 1 h 6105637"/>
              <a:gd name="connsiteX2" fmla="*/ 6477004 w 6477004"/>
              <a:gd name="connsiteY2" fmla="*/ 0 h 6105637"/>
              <a:gd name="connsiteX3" fmla="*/ 6462532 w 6477004"/>
              <a:gd name="connsiteY3" fmla="*/ 3052819 h 6105637"/>
              <a:gd name="connsiteX4" fmla="*/ 5756477 w 6477004"/>
              <a:gd name="connsiteY4" fmla="*/ 3018095 h 6105637"/>
              <a:gd name="connsiteX5" fmla="*/ 3409714 w 6477004"/>
              <a:gd name="connsiteY5" fmla="*/ 6105637 h 6105637"/>
              <a:gd name="connsiteX6" fmla="*/ 3052818 w 6477004"/>
              <a:gd name="connsiteY6" fmla="*/ 6105637 h 6105637"/>
              <a:gd name="connsiteX7" fmla="*/ 0 w 6477004"/>
              <a:gd name="connsiteY7" fmla="*/ 3052819 h 6105637"/>
              <a:gd name="connsiteX0" fmla="*/ 0 w 6477004"/>
              <a:gd name="connsiteY0" fmla="*/ 3052819 h 6105637"/>
              <a:gd name="connsiteX1" fmla="*/ 3052818 w 6477004"/>
              <a:gd name="connsiteY1" fmla="*/ 1 h 6105637"/>
              <a:gd name="connsiteX2" fmla="*/ 6477004 w 6477004"/>
              <a:gd name="connsiteY2" fmla="*/ 0 h 6105637"/>
              <a:gd name="connsiteX3" fmla="*/ 6462532 w 6477004"/>
              <a:gd name="connsiteY3" fmla="*/ 3052819 h 6105637"/>
              <a:gd name="connsiteX4" fmla="*/ 3409714 w 6477004"/>
              <a:gd name="connsiteY4" fmla="*/ 6105637 h 6105637"/>
              <a:gd name="connsiteX5" fmla="*/ 3052818 w 6477004"/>
              <a:gd name="connsiteY5" fmla="*/ 6105637 h 6105637"/>
              <a:gd name="connsiteX6" fmla="*/ 0 w 6477004"/>
              <a:gd name="connsiteY6" fmla="*/ 3052819 h 6105637"/>
              <a:gd name="connsiteX0" fmla="*/ 0 w 6477004"/>
              <a:gd name="connsiteY0" fmla="*/ 3052819 h 6108535"/>
              <a:gd name="connsiteX1" fmla="*/ 3052818 w 6477004"/>
              <a:gd name="connsiteY1" fmla="*/ 1 h 6108535"/>
              <a:gd name="connsiteX2" fmla="*/ 6477004 w 6477004"/>
              <a:gd name="connsiteY2" fmla="*/ 0 h 6108535"/>
              <a:gd name="connsiteX3" fmla="*/ 6462532 w 6477004"/>
              <a:gd name="connsiteY3" fmla="*/ 6108535 h 6108535"/>
              <a:gd name="connsiteX4" fmla="*/ 3409714 w 6477004"/>
              <a:gd name="connsiteY4" fmla="*/ 6105637 h 6108535"/>
              <a:gd name="connsiteX5" fmla="*/ 3052818 w 6477004"/>
              <a:gd name="connsiteY5" fmla="*/ 6105637 h 6108535"/>
              <a:gd name="connsiteX6" fmla="*/ 0 w 6477004"/>
              <a:gd name="connsiteY6" fmla="*/ 3052819 h 6108535"/>
              <a:gd name="connsiteX0" fmla="*/ 0 w 6477004"/>
              <a:gd name="connsiteY0" fmla="*/ 3052819 h 6108535"/>
              <a:gd name="connsiteX1" fmla="*/ 3052818 w 6477004"/>
              <a:gd name="connsiteY1" fmla="*/ 1 h 6108535"/>
              <a:gd name="connsiteX2" fmla="*/ 6477004 w 6477004"/>
              <a:gd name="connsiteY2" fmla="*/ 0 h 6108535"/>
              <a:gd name="connsiteX3" fmla="*/ 6323635 w 6477004"/>
              <a:gd name="connsiteY3" fmla="*/ 6108535 h 6108535"/>
              <a:gd name="connsiteX4" fmla="*/ 3409714 w 6477004"/>
              <a:gd name="connsiteY4" fmla="*/ 6105637 h 6108535"/>
              <a:gd name="connsiteX5" fmla="*/ 3052818 w 6477004"/>
              <a:gd name="connsiteY5" fmla="*/ 6105637 h 6108535"/>
              <a:gd name="connsiteX6" fmla="*/ 0 w 6477004"/>
              <a:gd name="connsiteY6" fmla="*/ 3052819 h 6108535"/>
              <a:gd name="connsiteX0" fmla="*/ 0 w 6326533"/>
              <a:gd name="connsiteY0" fmla="*/ 3052819 h 6108535"/>
              <a:gd name="connsiteX1" fmla="*/ 3052818 w 6326533"/>
              <a:gd name="connsiteY1" fmla="*/ 1 h 6108535"/>
              <a:gd name="connsiteX2" fmla="*/ 6326533 w 6326533"/>
              <a:gd name="connsiteY2" fmla="*/ 0 h 6108535"/>
              <a:gd name="connsiteX3" fmla="*/ 6323635 w 6326533"/>
              <a:gd name="connsiteY3" fmla="*/ 6108535 h 6108535"/>
              <a:gd name="connsiteX4" fmla="*/ 3409714 w 6326533"/>
              <a:gd name="connsiteY4" fmla="*/ 6105637 h 6108535"/>
              <a:gd name="connsiteX5" fmla="*/ 3052818 w 6326533"/>
              <a:gd name="connsiteY5" fmla="*/ 6105637 h 6108535"/>
              <a:gd name="connsiteX6" fmla="*/ 0 w 6326533"/>
              <a:gd name="connsiteY6" fmla="*/ 3052819 h 61085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326533" h="6108535">
                <a:moveTo>
                  <a:pt x="0" y="3052819"/>
                </a:moveTo>
                <a:cubicBezTo>
                  <a:pt x="0" y="1366794"/>
                  <a:pt x="1366793" y="1"/>
                  <a:pt x="3052818" y="1"/>
                </a:cubicBezTo>
                <a:lnTo>
                  <a:pt x="6326533" y="0"/>
                </a:lnTo>
                <a:lnTo>
                  <a:pt x="6323635" y="6108535"/>
                </a:lnTo>
                <a:lnTo>
                  <a:pt x="3409714" y="6105637"/>
                </a:lnTo>
                <a:lnTo>
                  <a:pt x="3052818" y="6105637"/>
                </a:lnTo>
                <a:cubicBezTo>
                  <a:pt x="1366793" y="6105637"/>
                  <a:pt x="0" y="4738844"/>
                  <a:pt x="0" y="3052819"/>
                </a:cubicBezTo>
                <a:close/>
              </a:path>
            </a:pathLst>
          </a:custGeom>
          <a:noFill/>
        </p:spPr>
        <p:txBody>
          <a:bodyPr>
            <a:normAutofit/>
          </a:bodyPr>
          <a:lstStyle>
            <a:lvl1pPr marL="0" indent="0">
              <a:buNone/>
              <a:defRPr sz="2400">
                <a:solidFill>
                  <a:schemeClr val="bg1"/>
                </a:solidFill>
              </a:defRPr>
            </a:lvl1pPr>
          </a:lstStyle>
          <a:p>
            <a:r>
              <a:rPr lang="en-US" altLang="ja-JP"/>
              <a:t>Click icon to add picture</a:t>
            </a:r>
            <a:endParaRPr lang="en-US"/>
          </a:p>
        </p:txBody>
      </p:sp>
      <p:pic>
        <p:nvPicPr>
          <p:cNvPr id="9" name="Picture 8" descr="Takeda">
            <a:extLst>
              <a:ext uri="{FF2B5EF4-FFF2-40B4-BE49-F238E27FC236}">
                <a16:creationId xmlns:a16="http://schemas.microsoft.com/office/drawing/2014/main" id="{F83AE827-0C93-0344-8F1E-82C9D7F8CD5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74417" y="-10972"/>
            <a:ext cx="2251710" cy="1248865"/>
          </a:xfrm>
          <a:prstGeom prst="rect">
            <a:avLst/>
          </a:prstGeom>
        </p:spPr>
      </p:pic>
      <p:pic>
        <p:nvPicPr>
          <p:cNvPr id="19" name="Picture 18">
            <a:extLst>
              <a:ext uri="{FF2B5EF4-FFF2-40B4-BE49-F238E27FC236}">
                <a16:creationId xmlns:a16="http://schemas.microsoft.com/office/drawing/2014/main" id="{C219044E-3CA3-8043-AF11-ED42DE4ECFF4}"/>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94730" y="6367253"/>
            <a:ext cx="1958578" cy="117462"/>
          </a:xfrm>
          <a:prstGeom prst="rect">
            <a:avLst/>
          </a:prstGeom>
        </p:spPr>
      </p:pic>
      <p:sp>
        <p:nvSpPr>
          <p:cNvPr id="28" name="Rectangle 27">
            <a:extLst>
              <a:ext uri="{FF2B5EF4-FFF2-40B4-BE49-F238E27FC236}">
                <a16:creationId xmlns:a16="http://schemas.microsoft.com/office/drawing/2014/main" id="{92F9C2FE-7E43-3948-92F0-0CEA804BDBFE}"/>
              </a:ext>
            </a:extLst>
          </p:cNvPr>
          <p:cNvSpPr/>
          <p:nvPr userDrawn="1"/>
        </p:nvSpPr>
        <p:spPr>
          <a:xfrm>
            <a:off x="749005" y="2110246"/>
            <a:ext cx="97200" cy="270718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kumimoji="0" lang="en-US" altLang="en-US" sz="1800">
              <a:solidFill>
                <a:srgbClr val="FFFFFF"/>
              </a:solidFill>
            </a:endParaRPr>
          </a:p>
        </p:txBody>
      </p:sp>
      <p:sp>
        <p:nvSpPr>
          <p:cNvPr id="29" name="Text Placeholder 2">
            <a:extLst>
              <a:ext uri="{FF2B5EF4-FFF2-40B4-BE49-F238E27FC236}">
                <a16:creationId xmlns:a16="http://schemas.microsoft.com/office/drawing/2014/main" id="{8F239D86-1AC3-1D48-9675-22CEFBB263F8}"/>
              </a:ext>
            </a:extLst>
          </p:cNvPr>
          <p:cNvSpPr>
            <a:spLocks noGrp="1"/>
          </p:cNvSpPr>
          <p:nvPr>
            <p:ph type="body" sz="quarter" idx="27" hasCustomPrompt="1"/>
          </p:nvPr>
        </p:nvSpPr>
        <p:spPr>
          <a:xfrm>
            <a:off x="1194729" y="3835926"/>
            <a:ext cx="4354732" cy="234001"/>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068" indent="0">
              <a:buNone/>
              <a:defRPr sz="1400">
                <a:solidFill>
                  <a:schemeClr val="tx1"/>
                </a:solidFill>
              </a:defRPr>
            </a:lvl2pPr>
            <a:lvl3pPr marL="914149" indent="0">
              <a:buNone/>
              <a:defRPr sz="1400">
                <a:solidFill>
                  <a:schemeClr val="tx1"/>
                </a:solidFill>
              </a:defRPr>
            </a:lvl3pPr>
            <a:lvl4pPr marL="1371219" indent="0">
              <a:buNone/>
              <a:defRPr sz="1400">
                <a:solidFill>
                  <a:schemeClr val="tx1"/>
                </a:solidFill>
              </a:defRPr>
            </a:lvl4pPr>
            <a:lvl5pPr marL="1828290" indent="0">
              <a:buNone/>
              <a:defRPr sz="1400">
                <a:solidFill>
                  <a:schemeClr val="tx1"/>
                </a:solidFill>
              </a:defRPr>
            </a:lvl5pPr>
          </a:lstStyle>
          <a:p>
            <a:pPr lvl="0"/>
            <a:r>
              <a:rPr lang="en-US"/>
              <a:t>Title of Position</a:t>
            </a:r>
          </a:p>
        </p:txBody>
      </p:sp>
      <p:sp>
        <p:nvSpPr>
          <p:cNvPr id="30" name="Text Placeholder 2">
            <a:extLst>
              <a:ext uri="{FF2B5EF4-FFF2-40B4-BE49-F238E27FC236}">
                <a16:creationId xmlns:a16="http://schemas.microsoft.com/office/drawing/2014/main" id="{91BF6710-27B9-2444-8317-2C64F0D30847}"/>
              </a:ext>
            </a:extLst>
          </p:cNvPr>
          <p:cNvSpPr>
            <a:spLocks noGrp="1"/>
          </p:cNvSpPr>
          <p:nvPr>
            <p:ph type="body" sz="quarter" idx="28" hasCustomPrompt="1"/>
          </p:nvPr>
        </p:nvSpPr>
        <p:spPr>
          <a:xfrm>
            <a:off x="1194729" y="4094940"/>
            <a:ext cx="4354732" cy="234001"/>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068" indent="0">
              <a:buNone/>
              <a:defRPr sz="1400">
                <a:solidFill>
                  <a:schemeClr val="tx1"/>
                </a:solidFill>
              </a:defRPr>
            </a:lvl2pPr>
            <a:lvl3pPr marL="914149" indent="0">
              <a:buNone/>
              <a:defRPr sz="1400">
                <a:solidFill>
                  <a:schemeClr val="tx1"/>
                </a:solidFill>
              </a:defRPr>
            </a:lvl3pPr>
            <a:lvl4pPr marL="1371219" indent="0">
              <a:buNone/>
              <a:defRPr sz="1400">
                <a:solidFill>
                  <a:schemeClr val="tx1"/>
                </a:solidFill>
              </a:defRPr>
            </a:lvl4pPr>
            <a:lvl5pPr marL="1828290" indent="0">
              <a:buNone/>
              <a:defRPr sz="1400">
                <a:solidFill>
                  <a:schemeClr val="tx1"/>
                </a:solidFill>
              </a:defRPr>
            </a:lvl5pPr>
          </a:lstStyle>
          <a:p>
            <a:pPr lvl="0"/>
            <a:r>
              <a:rPr lang="en-US"/>
              <a:t>Department</a:t>
            </a:r>
          </a:p>
        </p:txBody>
      </p:sp>
      <p:sp>
        <p:nvSpPr>
          <p:cNvPr id="31" name="Text Placeholder 2">
            <a:extLst>
              <a:ext uri="{FF2B5EF4-FFF2-40B4-BE49-F238E27FC236}">
                <a16:creationId xmlns:a16="http://schemas.microsoft.com/office/drawing/2014/main" id="{669B2D41-B11D-9D45-B189-F838AC342B07}"/>
              </a:ext>
            </a:extLst>
          </p:cNvPr>
          <p:cNvSpPr>
            <a:spLocks noGrp="1"/>
          </p:cNvSpPr>
          <p:nvPr>
            <p:ph type="body" sz="quarter" idx="29" hasCustomPrompt="1"/>
          </p:nvPr>
        </p:nvSpPr>
        <p:spPr>
          <a:xfrm>
            <a:off x="1194729" y="4349427"/>
            <a:ext cx="4354732" cy="234001"/>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068" indent="0">
              <a:buNone/>
              <a:defRPr sz="1400">
                <a:solidFill>
                  <a:schemeClr val="tx1"/>
                </a:solidFill>
              </a:defRPr>
            </a:lvl2pPr>
            <a:lvl3pPr marL="914149" indent="0">
              <a:buNone/>
              <a:defRPr sz="1400">
                <a:solidFill>
                  <a:schemeClr val="tx1"/>
                </a:solidFill>
              </a:defRPr>
            </a:lvl3pPr>
            <a:lvl4pPr marL="1371219" indent="0">
              <a:buNone/>
              <a:defRPr sz="1400">
                <a:solidFill>
                  <a:schemeClr val="tx1"/>
                </a:solidFill>
              </a:defRPr>
            </a:lvl4pPr>
            <a:lvl5pPr marL="1828290" indent="0">
              <a:buNone/>
              <a:defRPr sz="1400">
                <a:solidFill>
                  <a:schemeClr val="tx1"/>
                </a:solidFill>
              </a:defRPr>
            </a:lvl5pPr>
          </a:lstStyle>
          <a:p>
            <a:pPr lvl="0"/>
            <a:r>
              <a:rPr lang="en-US"/>
              <a:t>Date</a:t>
            </a:r>
          </a:p>
        </p:txBody>
      </p:sp>
      <p:sp>
        <p:nvSpPr>
          <p:cNvPr id="32" name="Text Placeholder 2">
            <a:extLst>
              <a:ext uri="{FF2B5EF4-FFF2-40B4-BE49-F238E27FC236}">
                <a16:creationId xmlns:a16="http://schemas.microsoft.com/office/drawing/2014/main" id="{D7467C81-9D88-4140-B42C-28DFB5646475}"/>
              </a:ext>
            </a:extLst>
          </p:cNvPr>
          <p:cNvSpPr>
            <a:spLocks noGrp="1"/>
          </p:cNvSpPr>
          <p:nvPr>
            <p:ph type="body" sz="quarter" idx="30" hasCustomPrompt="1"/>
          </p:nvPr>
        </p:nvSpPr>
        <p:spPr>
          <a:xfrm>
            <a:off x="1194729" y="3577405"/>
            <a:ext cx="4354732" cy="234001"/>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068" indent="0">
              <a:buNone/>
              <a:defRPr sz="1400">
                <a:solidFill>
                  <a:schemeClr val="tx1"/>
                </a:solidFill>
              </a:defRPr>
            </a:lvl2pPr>
            <a:lvl3pPr marL="914149" indent="0">
              <a:buNone/>
              <a:defRPr sz="1400">
                <a:solidFill>
                  <a:schemeClr val="tx1"/>
                </a:solidFill>
              </a:defRPr>
            </a:lvl3pPr>
            <a:lvl4pPr marL="1371219" indent="0">
              <a:buNone/>
              <a:defRPr sz="1400">
                <a:solidFill>
                  <a:schemeClr val="tx1"/>
                </a:solidFill>
              </a:defRPr>
            </a:lvl4pPr>
            <a:lvl5pPr marL="1828290" indent="0">
              <a:buNone/>
              <a:defRPr sz="1400">
                <a:solidFill>
                  <a:schemeClr val="tx1"/>
                </a:solidFill>
              </a:defRPr>
            </a:lvl5pPr>
          </a:lstStyle>
          <a:p>
            <a:pPr lvl="0"/>
            <a:r>
              <a:rPr lang="en-US"/>
              <a:t>Presenter Name</a:t>
            </a:r>
          </a:p>
        </p:txBody>
      </p:sp>
    </p:spTree>
    <p:extLst>
      <p:ext uri="{BB962C8B-B14F-4D97-AF65-F5344CB8AC3E}">
        <p14:creationId xmlns:p14="http://schemas.microsoft.com/office/powerpoint/2010/main" val="4284375144"/>
      </p:ext>
    </p:extLst>
  </p:cSld>
  <p:clrMapOvr>
    <a:masterClrMapping/>
  </p:clrMapOvr>
  <p:transition spd="slow">
    <p:push dir="u"/>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1_Title Page 2 ">
    <p:spTree>
      <p:nvGrpSpPr>
        <p:cNvPr id="1" name=""/>
        <p:cNvGrpSpPr/>
        <p:nvPr/>
      </p:nvGrpSpPr>
      <p:grpSpPr>
        <a:xfrm>
          <a:off x="0" y="0"/>
          <a:ext cx="0" cy="0"/>
          <a:chOff x="0" y="0"/>
          <a:chExt cx="0" cy="0"/>
        </a:xfrm>
      </p:grpSpPr>
      <p:sp>
        <p:nvSpPr>
          <p:cNvPr id="33" name="Title 1">
            <a:extLst>
              <a:ext uri="{FF2B5EF4-FFF2-40B4-BE49-F238E27FC236}">
                <a16:creationId xmlns:a16="http://schemas.microsoft.com/office/drawing/2014/main" id="{E02383DA-65B3-044E-9E1B-2CC00A0B1CC6}"/>
              </a:ext>
            </a:extLst>
          </p:cNvPr>
          <p:cNvSpPr>
            <a:spLocks noGrp="1"/>
          </p:cNvSpPr>
          <p:nvPr>
            <p:ph type="ctrTitle" hasCustomPrompt="1"/>
          </p:nvPr>
        </p:nvSpPr>
        <p:spPr>
          <a:xfrm>
            <a:off x="1194730" y="2303030"/>
            <a:ext cx="6862150" cy="1125969"/>
          </a:xfrm>
          <a:prstGeom prst="rect">
            <a:avLst/>
          </a:prstGeom>
        </p:spPr>
        <p:txBody>
          <a:bodyPr wrap="square" lIns="0" tIns="0" rIns="0" bIns="0" anchor="t" anchorCtr="0">
            <a:normAutofit/>
          </a:bodyPr>
          <a:lstStyle>
            <a:lvl1pPr>
              <a:lnSpc>
                <a:spcPts val="3800"/>
              </a:lnSpc>
              <a:defRPr sz="3600" b="1" i="0" baseline="0">
                <a:solidFill>
                  <a:schemeClr val="tx1"/>
                </a:solidFill>
                <a:latin typeface="Calibri" panose="020F0502020204030204" pitchFamily="34" charset="0"/>
                <a:ea typeface="メイリオ" pitchFamily="50" charset="-128"/>
                <a:cs typeface="Calibri" pitchFamily="34" charset="0"/>
              </a:defRPr>
            </a:lvl1pPr>
          </a:lstStyle>
          <a:p>
            <a:r>
              <a:rPr lang="en-GB"/>
              <a:t>Click to add title</a:t>
            </a:r>
          </a:p>
        </p:txBody>
      </p:sp>
      <p:sp>
        <p:nvSpPr>
          <p:cNvPr id="28" name="Rectangle 27">
            <a:extLst>
              <a:ext uri="{FF2B5EF4-FFF2-40B4-BE49-F238E27FC236}">
                <a16:creationId xmlns:a16="http://schemas.microsoft.com/office/drawing/2014/main" id="{92F9C2FE-7E43-3948-92F0-0CEA804BDBFE}"/>
              </a:ext>
            </a:extLst>
          </p:cNvPr>
          <p:cNvSpPr/>
          <p:nvPr userDrawn="1"/>
        </p:nvSpPr>
        <p:spPr>
          <a:xfrm>
            <a:off x="749005" y="2110246"/>
            <a:ext cx="97200" cy="270718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kumimoji="0" lang="en-US" altLang="en-US" sz="1800">
              <a:solidFill>
                <a:srgbClr val="FFFFFF"/>
              </a:solidFill>
            </a:endParaRPr>
          </a:p>
        </p:txBody>
      </p:sp>
      <p:sp>
        <p:nvSpPr>
          <p:cNvPr id="29" name="Text Placeholder 2">
            <a:extLst>
              <a:ext uri="{FF2B5EF4-FFF2-40B4-BE49-F238E27FC236}">
                <a16:creationId xmlns:a16="http://schemas.microsoft.com/office/drawing/2014/main" id="{8F239D86-1AC3-1D48-9675-22CEFBB263F8}"/>
              </a:ext>
            </a:extLst>
          </p:cNvPr>
          <p:cNvSpPr>
            <a:spLocks noGrp="1"/>
          </p:cNvSpPr>
          <p:nvPr>
            <p:ph type="body" sz="quarter" idx="27" hasCustomPrompt="1"/>
          </p:nvPr>
        </p:nvSpPr>
        <p:spPr>
          <a:xfrm>
            <a:off x="1194729" y="3835926"/>
            <a:ext cx="6862150" cy="263075"/>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068" indent="0">
              <a:buNone/>
              <a:defRPr sz="1400">
                <a:solidFill>
                  <a:schemeClr val="tx1"/>
                </a:solidFill>
              </a:defRPr>
            </a:lvl2pPr>
            <a:lvl3pPr marL="914149" indent="0">
              <a:buNone/>
              <a:defRPr sz="1400">
                <a:solidFill>
                  <a:schemeClr val="tx1"/>
                </a:solidFill>
              </a:defRPr>
            </a:lvl3pPr>
            <a:lvl4pPr marL="1371219" indent="0">
              <a:buNone/>
              <a:defRPr sz="1400">
                <a:solidFill>
                  <a:schemeClr val="tx1"/>
                </a:solidFill>
              </a:defRPr>
            </a:lvl4pPr>
            <a:lvl5pPr marL="1828290" indent="0">
              <a:buNone/>
              <a:defRPr sz="1400">
                <a:solidFill>
                  <a:schemeClr val="tx1"/>
                </a:solidFill>
              </a:defRPr>
            </a:lvl5pPr>
          </a:lstStyle>
          <a:p>
            <a:pPr lvl="0"/>
            <a:r>
              <a:rPr lang="en-US"/>
              <a:t>Title of Position</a:t>
            </a:r>
          </a:p>
        </p:txBody>
      </p:sp>
      <p:sp>
        <p:nvSpPr>
          <p:cNvPr id="30" name="Text Placeholder 2">
            <a:extLst>
              <a:ext uri="{FF2B5EF4-FFF2-40B4-BE49-F238E27FC236}">
                <a16:creationId xmlns:a16="http://schemas.microsoft.com/office/drawing/2014/main" id="{91BF6710-27B9-2444-8317-2C64F0D30847}"/>
              </a:ext>
            </a:extLst>
          </p:cNvPr>
          <p:cNvSpPr>
            <a:spLocks noGrp="1"/>
          </p:cNvSpPr>
          <p:nvPr>
            <p:ph type="body" sz="quarter" idx="28" hasCustomPrompt="1"/>
          </p:nvPr>
        </p:nvSpPr>
        <p:spPr>
          <a:xfrm>
            <a:off x="1194729" y="4094940"/>
            <a:ext cx="6862150" cy="263075"/>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068" indent="0">
              <a:buNone/>
              <a:defRPr sz="1400">
                <a:solidFill>
                  <a:schemeClr val="tx1"/>
                </a:solidFill>
              </a:defRPr>
            </a:lvl2pPr>
            <a:lvl3pPr marL="914149" indent="0">
              <a:buNone/>
              <a:defRPr sz="1400">
                <a:solidFill>
                  <a:schemeClr val="tx1"/>
                </a:solidFill>
              </a:defRPr>
            </a:lvl3pPr>
            <a:lvl4pPr marL="1371219" indent="0">
              <a:buNone/>
              <a:defRPr sz="1400">
                <a:solidFill>
                  <a:schemeClr val="tx1"/>
                </a:solidFill>
              </a:defRPr>
            </a:lvl4pPr>
            <a:lvl5pPr marL="1828290" indent="0">
              <a:buNone/>
              <a:defRPr sz="1400">
                <a:solidFill>
                  <a:schemeClr val="tx1"/>
                </a:solidFill>
              </a:defRPr>
            </a:lvl5pPr>
          </a:lstStyle>
          <a:p>
            <a:pPr lvl="0"/>
            <a:r>
              <a:rPr lang="en-US"/>
              <a:t>Department</a:t>
            </a:r>
          </a:p>
        </p:txBody>
      </p:sp>
      <p:sp>
        <p:nvSpPr>
          <p:cNvPr id="31" name="Text Placeholder 2">
            <a:extLst>
              <a:ext uri="{FF2B5EF4-FFF2-40B4-BE49-F238E27FC236}">
                <a16:creationId xmlns:a16="http://schemas.microsoft.com/office/drawing/2014/main" id="{669B2D41-B11D-9D45-B189-F838AC342B07}"/>
              </a:ext>
            </a:extLst>
          </p:cNvPr>
          <p:cNvSpPr>
            <a:spLocks noGrp="1"/>
          </p:cNvSpPr>
          <p:nvPr>
            <p:ph type="body" sz="quarter" idx="29" hasCustomPrompt="1"/>
          </p:nvPr>
        </p:nvSpPr>
        <p:spPr>
          <a:xfrm>
            <a:off x="1194729" y="4349427"/>
            <a:ext cx="6862150" cy="263075"/>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068" indent="0">
              <a:buNone/>
              <a:defRPr sz="1400">
                <a:solidFill>
                  <a:schemeClr val="tx1"/>
                </a:solidFill>
              </a:defRPr>
            </a:lvl2pPr>
            <a:lvl3pPr marL="914149" indent="0">
              <a:buNone/>
              <a:defRPr sz="1400">
                <a:solidFill>
                  <a:schemeClr val="tx1"/>
                </a:solidFill>
              </a:defRPr>
            </a:lvl3pPr>
            <a:lvl4pPr marL="1371219" indent="0">
              <a:buNone/>
              <a:defRPr sz="1400">
                <a:solidFill>
                  <a:schemeClr val="tx1"/>
                </a:solidFill>
              </a:defRPr>
            </a:lvl4pPr>
            <a:lvl5pPr marL="1828290" indent="0">
              <a:buNone/>
              <a:defRPr sz="1400">
                <a:solidFill>
                  <a:schemeClr val="tx1"/>
                </a:solidFill>
              </a:defRPr>
            </a:lvl5pPr>
          </a:lstStyle>
          <a:p>
            <a:pPr lvl="0"/>
            <a:r>
              <a:rPr lang="en-US"/>
              <a:t>Date</a:t>
            </a:r>
          </a:p>
        </p:txBody>
      </p:sp>
      <p:sp>
        <p:nvSpPr>
          <p:cNvPr id="32" name="Text Placeholder 2">
            <a:extLst>
              <a:ext uri="{FF2B5EF4-FFF2-40B4-BE49-F238E27FC236}">
                <a16:creationId xmlns:a16="http://schemas.microsoft.com/office/drawing/2014/main" id="{D7467C81-9D88-4140-B42C-28DFB5646475}"/>
              </a:ext>
            </a:extLst>
          </p:cNvPr>
          <p:cNvSpPr>
            <a:spLocks noGrp="1"/>
          </p:cNvSpPr>
          <p:nvPr>
            <p:ph type="body" sz="quarter" idx="30" hasCustomPrompt="1"/>
          </p:nvPr>
        </p:nvSpPr>
        <p:spPr>
          <a:xfrm>
            <a:off x="1194729" y="3577405"/>
            <a:ext cx="6862150" cy="263075"/>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068" indent="0">
              <a:buNone/>
              <a:defRPr sz="1400">
                <a:solidFill>
                  <a:schemeClr val="tx1"/>
                </a:solidFill>
              </a:defRPr>
            </a:lvl2pPr>
            <a:lvl3pPr marL="914149" indent="0">
              <a:buNone/>
              <a:defRPr sz="1400">
                <a:solidFill>
                  <a:schemeClr val="tx1"/>
                </a:solidFill>
              </a:defRPr>
            </a:lvl3pPr>
            <a:lvl4pPr marL="1371219" indent="0">
              <a:buNone/>
              <a:defRPr sz="1400">
                <a:solidFill>
                  <a:schemeClr val="tx1"/>
                </a:solidFill>
              </a:defRPr>
            </a:lvl4pPr>
            <a:lvl5pPr marL="1828290" indent="0">
              <a:buNone/>
              <a:defRPr sz="1400">
                <a:solidFill>
                  <a:schemeClr val="tx1"/>
                </a:solidFill>
              </a:defRPr>
            </a:lvl5pPr>
          </a:lstStyle>
          <a:p>
            <a:pPr lvl="0"/>
            <a:r>
              <a:rPr lang="en-US"/>
              <a:t>Presenter Name</a:t>
            </a:r>
          </a:p>
        </p:txBody>
      </p:sp>
      <p:pic>
        <p:nvPicPr>
          <p:cNvPr id="12" name="Picture 11">
            <a:extLst>
              <a:ext uri="{FF2B5EF4-FFF2-40B4-BE49-F238E27FC236}">
                <a16:creationId xmlns:a16="http://schemas.microsoft.com/office/drawing/2014/main" id="{16819C41-2A79-B54D-9C44-C619DA694E6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571921" y="6357944"/>
            <a:ext cx="1958578" cy="117462"/>
          </a:xfrm>
          <a:prstGeom prst="rect">
            <a:avLst/>
          </a:prstGeom>
        </p:spPr>
      </p:pic>
      <p:pic>
        <p:nvPicPr>
          <p:cNvPr id="13" name="Picture 12">
            <a:extLst>
              <a:ext uri="{FF2B5EF4-FFF2-40B4-BE49-F238E27FC236}">
                <a16:creationId xmlns:a16="http://schemas.microsoft.com/office/drawing/2014/main" id="{3D2794BD-1A0D-7D48-855D-469111926BF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790516" y="-8600"/>
            <a:ext cx="2251710" cy="1248865"/>
          </a:xfrm>
          <a:prstGeom prst="rect">
            <a:avLst/>
          </a:prstGeom>
        </p:spPr>
      </p:pic>
      <p:sp>
        <p:nvSpPr>
          <p:cNvPr id="14" name="Text Placeholder 2">
            <a:extLst>
              <a:ext uri="{FF2B5EF4-FFF2-40B4-BE49-F238E27FC236}">
                <a16:creationId xmlns:a16="http://schemas.microsoft.com/office/drawing/2014/main" id="{B9909778-A51F-784D-ACA4-EC5DBA48BE16}"/>
              </a:ext>
            </a:extLst>
          </p:cNvPr>
          <p:cNvSpPr>
            <a:spLocks noGrp="1"/>
          </p:cNvSpPr>
          <p:nvPr>
            <p:ph type="body" sz="quarter" idx="16" hasCustomPrompt="1"/>
          </p:nvPr>
        </p:nvSpPr>
        <p:spPr>
          <a:xfrm>
            <a:off x="1194729" y="6319955"/>
            <a:ext cx="7699670" cy="234001"/>
          </a:xfrm>
        </p:spPr>
        <p:txBody>
          <a:bodyPr tIns="0" rIns="0" bIns="0" anchor="ctr" anchorCtr="0">
            <a:noAutofit/>
          </a:bodyPr>
          <a:lstStyle>
            <a:lvl1pPr marL="0" marR="0" indent="0" algn="l" defTabSz="914150" rtl="0" eaLnBrk="1" fontAlgn="auto" latinLnBrk="0" hangingPunct="1">
              <a:lnSpc>
                <a:spcPct val="100000"/>
              </a:lnSpc>
              <a:spcBef>
                <a:spcPct val="20000"/>
              </a:spcBef>
              <a:spcAft>
                <a:spcPts val="0"/>
              </a:spcAft>
              <a:buClr>
                <a:srgbClr val="4C4948"/>
              </a:buClr>
              <a:buSzTx/>
              <a:buFont typeface="Arial" panose="020B0604020202020204" pitchFamily="34" charset="0"/>
              <a:buNone/>
              <a:tabLst/>
              <a:defRPr sz="800"/>
            </a:lvl1pPr>
            <a:lvl2pPr>
              <a:defRPr sz="800"/>
            </a:lvl2pPr>
            <a:lvl3pPr>
              <a:defRPr sz="800"/>
            </a:lvl3pPr>
            <a:lvl4pPr>
              <a:defRPr sz="800"/>
            </a:lvl4pPr>
            <a:lvl5pPr>
              <a:defRPr sz="800"/>
            </a:lvl5pPr>
          </a:lstStyle>
          <a:p>
            <a:pPr marL="0" marR="0" lvl="0" indent="0" algn="l" defTabSz="914150" rtl="0" eaLnBrk="1" fontAlgn="auto" latinLnBrk="0" hangingPunct="1">
              <a:lnSpc>
                <a:spcPct val="100000"/>
              </a:lnSpc>
              <a:spcBef>
                <a:spcPct val="20000"/>
              </a:spcBef>
              <a:spcAft>
                <a:spcPts val="0"/>
              </a:spcAft>
              <a:buClr>
                <a:srgbClr val="4C4948"/>
              </a:buClr>
              <a:buSzTx/>
              <a:buFont typeface="Arial" panose="020B0604020202020204" pitchFamily="34" charset="0"/>
              <a:buNone/>
              <a:tabLst/>
              <a:defRPr/>
            </a:pPr>
            <a:r>
              <a:rPr lang="en-US"/>
              <a:t>Private and confidential. For internal use only.</a:t>
            </a:r>
          </a:p>
        </p:txBody>
      </p:sp>
    </p:spTree>
    <p:extLst>
      <p:ext uri="{BB962C8B-B14F-4D97-AF65-F5344CB8AC3E}">
        <p14:creationId xmlns:p14="http://schemas.microsoft.com/office/powerpoint/2010/main" val="2026224823"/>
      </p:ext>
    </p:extLst>
  </p:cSld>
  <p:clrMapOvr>
    <a:masterClrMapping/>
  </p:clrMapOvr>
  <p:transition spd="slow">
    <p:push dir="u"/>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Standard 1-Column Text">
    <p:spTree>
      <p:nvGrpSpPr>
        <p:cNvPr id="1" name=""/>
        <p:cNvGrpSpPr/>
        <p:nvPr/>
      </p:nvGrpSpPr>
      <p:grpSpPr>
        <a:xfrm>
          <a:off x="0" y="0"/>
          <a:ext cx="0" cy="0"/>
          <a:chOff x="0" y="0"/>
          <a:chExt cx="0" cy="0"/>
        </a:xfrm>
      </p:grpSpPr>
      <p:sp>
        <p:nvSpPr>
          <p:cNvPr id="12" name="Text Placeholder 6">
            <a:extLst>
              <a:ext uri="{FF2B5EF4-FFF2-40B4-BE49-F238E27FC236}">
                <a16:creationId xmlns:a16="http://schemas.microsoft.com/office/drawing/2014/main" id="{FD2406EE-A554-5348-AE6D-4D8B343E6201}"/>
              </a:ext>
            </a:extLst>
          </p:cNvPr>
          <p:cNvSpPr>
            <a:spLocks noGrp="1"/>
          </p:cNvSpPr>
          <p:nvPr>
            <p:ph type="body" sz="quarter" idx="15" hasCustomPrompt="1"/>
          </p:nvPr>
        </p:nvSpPr>
        <p:spPr>
          <a:xfrm>
            <a:off x="311150" y="1102385"/>
            <a:ext cx="11569700" cy="5328857"/>
          </a:xfrm>
          <a:prstGeom prst="rect">
            <a:avLst/>
          </a:prstGeom>
        </p:spPr>
        <p:txBody>
          <a:bodyPr tIns="0" rIns="0" bIns="0" numCol="1">
            <a:normAutofit/>
          </a:bodyPr>
          <a:lstStyle>
            <a:lvl1pPr marL="0" indent="0">
              <a:lnSpc>
                <a:spcPct val="100000"/>
              </a:lnSpc>
              <a:spcBef>
                <a:spcPts val="0"/>
              </a:spcBef>
              <a:spcAft>
                <a:spcPts val="600"/>
              </a:spcAft>
              <a:buFont typeface="Arial" panose="020B0604020202020204" pitchFamily="34" charset="0"/>
              <a:buNone/>
              <a:defRPr sz="1600" b="0">
                <a:solidFill>
                  <a:schemeClr val="tx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a one-column layout. Click to add content</a:t>
            </a:r>
          </a:p>
        </p:txBody>
      </p:sp>
      <p:sp>
        <p:nvSpPr>
          <p:cNvPr id="19" name="Footer Placeholder 8">
            <a:extLst>
              <a:ext uri="{FF2B5EF4-FFF2-40B4-BE49-F238E27FC236}">
                <a16:creationId xmlns:a16="http://schemas.microsoft.com/office/drawing/2014/main" id="{CDA06C55-0643-C148-AAB1-C4BB26FD7B26}"/>
              </a:ext>
            </a:extLst>
          </p:cNvPr>
          <p:cNvSpPr>
            <a:spLocks noGrp="1"/>
          </p:cNvSpPr>
          <p:nvPr>
            <p:ph type="ftr" sz="quarter" idx="3"/>
          </p:nvPr>
        </p:nvSpPr>
        <p:spPr>
          <a:xfrm>
            <a:off x="7766050" y="6523001"/>
            <a:ext cx="4114800" cy="196131"/>
          </a:xfrm>
          <a:prstGeom prst="rect">
            <a:avLst/>
          </a:prstGeom>
        </p:spPr>
        <p:txBody>
          <a:bodyPr vert="horz" lIns="0" tIns="0" rIns="0" bIns="0" rtlCol="0" anchor="ctr"/>
          <a:lstStyle>
            <a:lvl1pPr algn="r">
              <a:defRPr sz="800" b="1" spc="100" baseline="0">
                <a:solidFill>
                  <a:schemeClr val="tx1"/>
                </a:solidFill>
              </a:defRPr>
            </a:lvl1pPr>
          </a:lstStyle>
          <a:p>
            <a:r>
              <a:rPr lang="en-JP"/>
              <a:t> </a:t>
            </a:r>
          </a:p>
        </p:txBody>
      </p:sp>
      <p:pic>
        <p:nvPicPr>
          <p:cNvPr id="14" name="Picture 13" descr="Takeda">
            <a:extLst>
              <a:ext uri="{FF2B5EF4-FFF2-40B4-BE49-F238E27FC236}">
                <a16:creationId xmlns:a16="http://schemas.microsoft.com/office/drawing/2014/main" id="{A75F5BF7-D49E-8A49-AE81-CB31E57D5A7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46331" y="-1615"/>
            <a:ext cx="1696232" cy="940780"/>
          </a:xfrm>
          <a:prstGeom prst="rect">
            <a:avLst/>
          </a:prstGeom>
        </p:spPr>
      </p:pic>
      <p:sp>
        <p:nvSpPr>
          <p:cNvPr id="22" name="タイトル プレースホルダ 1">
            <a:extLst>
              <a:ext uri="{FF2B5EF4-FFF2-40B4-BE49-F238E27FC236}">
                <a16:creationId xmlns:a16="http://schemas.microsoft.com/office/drawing/2014/main" id="{86D2E5B8-9E2B-DB46-A55A-5F26569C4F99}"/>
              </a:ext>
            </a:extLst>
          </p:cNvPr>
          <p:cNvSpPr>
            <a:spLocks noGrp="1"/>
          </p:cNvSpPr>
          <p:nvPr>
            <p:ph type="title" hasCustomPrompt="1"/>
          </p:nvPr>
        </p:nvSpPr>
        <p:spPr>
          <a:xfrm>
            <a:off x="606078" y="161605"/>
            <a:ext cx="9940253" cy="685801"/>
          </a:xfrm>
          <a:prstGeom prst="rect">
            <a:avLst/>
          </a:prstGeom>
        </p:spPr>
        <p:txBody>
          <a:bodyPr vert="horz" lIns="0" tIns="0" rIns="0" bIns="0" rtlCol="0" anchor="ctr">
            <a:normAutofit/>
          </a:bodyPr>
          <a:lstStyle/>
          <a:p>
            <a:r>
              <a:rPr kumimoji="1" lang="en-US" altLang="ja-JP"/>
              <a:t>Click to add title</a:t>
            </a:r>
            <a:endParaRPr kumimoji="1" lang="ja-JP" altLang="en-US"/>
          </a:p>
        </p:txBody>
      </p:sp>
      <p:sp>
        <p:nvSpPr>
          <p:cNvPr id="20" name="スライド番号プレースホルダ 5">
            <a:extLst>
              <a:ext uri="{FF2B5EF4-FFF2-40B4-BE49-F238E27FC236}">
                <a16:creationId xmlns:a16="http://schemas.microsoft.com/office/drawing/2014/main" id="{51A4825E-63A1-564F-BC3A-FBC167ECE5EB}"/>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1" name="Rectangle 20">
            <a:extLst>
              <a:ext uri="{FF2B5EF4-FFF2-40B4-BE49-F238E27FC236}">
                <a16:creationId xmlns:a16="http://schemas.microsoft.com/office/drawing/2014/main" id="{FCF9CDB0-5730-E246-B31F-F5963CF8EFDC}"/>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a:solidFill>
                <a:schemeClr val="accent1"/>
              </a:solidFill>
            </a:endParaRPr>
          </a:p>
        </p:txBody>
      </p:sp>
      <p:sp>
        <p:nvSpPr>
          <p:cNvPr id="24" name="Text Placeholder 6">
            <a:extLst>
              <a:ext uri="{FF2B5EF4-FFF2-40B4-BE49-F238E27FC236}">
                <a16:creationId xmlns:a16="http://schemas.microsoft.com/office/drawing/2014/main" id="{44EB3013-FCB4-1B4E-A9F2-FD57CF727CCC}"/>
              </a:ext>
            </a:extLst>
          </p:cNvPr>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Private and confidential. For internal use only.</a:t>
            </a:r>
          </a:p>
        </p:txBody>
      </p:sp>
    </p:spTree>
    <p:extLst>
      <p:ext uri="{BB962C8B-B14F-4D97-AF65-F5344CB8AC3E}">
        <p14:creationId xmlns:p14="http://schemas.microsoft.com/office/powerpoint/2010/main" val="1587050967"/>
      </p:ext>
    </p:extLst>
  </p:cSld>
  <p:clrMapOvr>
    <a:masterClrMapping/>
  </p:clrMapOvr>
  <p:transition spd="slow">
    <p:push dir="u"/>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Standard 2-Column Text">
    <p:spTree>
      <p:nvGrpSpPr>
        <p:cNvPr id="1" name=""/>
        <p:cNvGrpSpPr/>
        <p:nvPr/>
      </p:nvGrpSpPr>
      <p:grpSpPr>
        <a:xfrm>
          <a:off x="0" y="0"/>
          <a:ext cx="0" cy="0"/>
          <a:chOff x="0" y="0"/>
          <a:chExt cx="0" cy="0"/>
        </a:xfrm>
      </p:grpSpPr>
      <p:sp>
        <p:nvSpPr>
          <p:cNvPr id="12" name="Text Placeholder 6">
            <a:extLst>
              <a:ext uri="{FF2B5EF4-FFF2-40B4-BE49-F238E27FC236}">
                <a16:creationId xmlns:a16="http://schemas.microsoft.com/office/drawing/2014/main" id="{FD2406EE-A554-5348-AE6D-4D8B343E6201}"/>
              </a:ext>
            </a:extLst>
          </p:cNvPr>
          <p:cNvSpPr>
            <a:spLocks noGrp="1"/>
          </p:cNvSpPr>
          <p:nvPr>
            <p:ph type="body" sz="quarter" idx="15" hasCustomPrompt="1"/>
          </p:nvPr>
        </p:nvSpPr>
        <p:spPr>
          <a:xfrm>
            <a:off x="311150" y="1102385"/>
            <a:ext cx="11569700" cy="5328857"/>
          </a:xfrm>
          <a:prstGeom prst="rect">
            <a:avLst/>
          </a:prstGeom>
        </p:spPr>
        <p:txBody>
          <a:bodyPr tIns="0" rIns="0" bIns="0" numCol="2" spcCol="540000">
            <a:normAutofit/>
          </a:bodyPr>
          <a:lstStyle>
            <a:lvl1pPr marL="0" indent="0">
              <a:lnSpc>
                <a:spcPct val="100000"/>
              </a:lnSpc>
              <a:spcBef>
                <a:spcPts val="0"/>
              </a:spcBef>
              <a:spcAft>
                <a:spcPts val="600"/>
              </a:spcAft>
              <a:buFont typeface="Arial" panose="020B0604020202020204" pitchFamily="34" charset="0"/>
              <a:buNone/>
              <a:defRPr sz="1600" b="0">
                <a:solidFill>
                  <a:schemeClr val="tx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a two-column layout. Click to add content. </a:t>
            </a:r>
          </a:p>
        </p:txBody>
      </p:sp>
      <p:sp>
        <p:nvSpPr>
          <p:cNvPr id="19" name="Footer Placeholder 8">
            <a:extLst>
              <a:ext uri="{FF2B5EF4-FFF2-40B4-BE49-F238E27FC236}">
                <a16:creationId xmlns:a16="http://schemas.microsoft.com/office/drawing/2014/main" id="{CDA06C55-0643-C148-AAB1-C4BB26FD7B26}"/>
              </a:ext>
            </a:extLst>
          </p:cNvPr>
          <p:cNvSpPr>
            <a:spLocks noGrp="1"/>
          </p:cNvSpPr>
          <p:nvPr>
            <p:ph type="ftr" sz="quarter" idx="3"/>
          </p:nvPr>
        </p:nvSpPr>
        <p:spPr>
          <a:xfrm>
            <a:off x="7766050" y="6523001"/>
            <a:ext cx="4114800" cy="196131"/>
          </a:xfrm>
          <a:prstGeom prst="rect">
            <a:avLst/>
          </a:prstGeom>
        </p:spPr>
        <p:txBody>
          <a:bodyPr vert="horz" lIns="0" tIns="0" rIns="0" bIns="0" rtlCol="0" anchor="ctr"/>
          <a:lstStyle>
            <a:lvl1pPr algn="r">
              <a:defRPr sz="800" b="1" spc="100" baseline="0">
                <a:solidFill>
                  <a:schemeClr val="tx1"/>
                </a:solidFill>
              </a:defRPr>
            </a:lvl1pPr>
          </a:lstStyle>
          <a:p>
            <a:r>
              <a:rPr lang="en-JP"/>
              <a:t> </a:t>
            </a:r>
          </a:p>
        </p:txBody>
      </p:sp>
      <p:pic>
        <p:nvPicPr>
          <p:cNvPr id="14" name="Picture 13" descr="Takeda">
            <a:extLst>
              <a:ext uri="{FF2B5EF4-FFF2-40B4-BE49-F238E27FC236}">
                <a16:creationId xmlns:a16="http://schemas.microsoft.com/office/drawing/2014/main" id="{A75F5BF7-D49E-8A49-AE81-CB31E57D5A7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46331" y="-1615"/>
            <a:ext cx="1696232" cy="940780"/>
          </a:xfrm>
          <a:prstGeom prst="rect">
            <a:avLst/>
          </a:prstGeom>
        </p:spPr>
      </p:pic>
      <p:sp>
        <p:nvSpPr>
          <p:cNvPr id="22" name="タイトル プレースホルダ 1">
            <a:extLst>
              <a:ext uri="{FF2B5EF4-FFF2-40B4-BE49-F238E27FC236}">
                <a16:creationId xmlns:a16="http://schemas.microsoft.com/office/drawing/2014/main" id="{86D2E5B8-9E2B-DB46-A55A-5F26569C4F99}"/>
              </a:ext>
            </a:extLst>
          </p:cNvPr>
          <p:cNvSpPr>
            <a:spLocks noGrp="1"/>
          </p:cNvSpPr>
          <p:nvPr>
            <p:ph type="title" hasCustomPrompt="1"/>
          </p:nvPr>
        </p:nvSpPr>
        <p:spPr>
          <a:xfrm>
            <a:off x="606078" y="161605"/>
            <a:ext cx="9940253" cy="685801"/>
          </a:xfrm>
          <a:prstGeom prst="rect">
            <a:avLst/>
          </a:prstGeom>
        </p:spPr>
        <p:txBody>
          <a:bodyPr vert="horz" lIns="0" tIns="0" rIns="0" bIns="0" rtlCol="0" anchor="ctr">
            <a:normAutofit/>
          </a:bodyPr>
          <a:lstStyle/>
          <a:p>
            <a:r>
              <a:rPr kumimoji="1" lang="en-US" altLang="ja-JP"/>
              <a:t>Two-column layout. Click to add title</a:t>
            </a:r>
            <a:endParaRPr kumimoji="1" lang="ja-JP" altLang="en-US"/>
          </a:p>
        </p:txBody>
      </p:sp>
      <p:sp>
        <p:nvSpPr>
          <p:cNvPr id="13" name="Rectangle 12">
            <a:extLst>
              <a:ext uri="{FF2B5EF4-FFF2-40B4-BE49-F238E27FC236}">
                <a16:creationId xmlns:a16="http://schemas.microsoft.com/office/drawing/2014/main" id="{F49634AC-7DDA-D44D-88DB-5850289DD643}"/>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a:solidFill>
                <a:schemeClr val="accent1"/>
              </a:solidFill>
            </a:endParaRPr>
          </a:p>
        </p:txBody>
      </p:sp>
      <p:sp>
        <p:nvSpPr>
          <p:cNvPr id="20" name="スライド番号プレースホルダ 5">
            <a:extLst>
              <a:ext uri="{FF2B5EF4-FFF2-40B4-BE49-F238E27FC236}">
                <a16:creationId xmlns:a16="http://schemas.microsoft.com/office/drawing/2014/main" id="{E22A984C-7436-8C4C-83C8-F2AD67592041}"/>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1" name="Text Placeholder 6">
            <a:extLst>
              <a:ext uri="{FF2B5EF4-FFF2-40B4-BE49-F238E27FC236}">
                <a16:creationId xmlns:a16="http://schemas.microsoft.com/office/drawing/2014/main" id="{0A6720AD-4FA4-A146-AEEB-A4E558BAA3EA}"/>
              </a:ext>
            </a:extLst>
          </p:cNvPr>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Private and confidential. For internal use only.</a:t>
            </a:r>
          </a:p>
        </p:txBody>
      </p:sp>
    </p:spTree>
    <p:extLst>
      <p:ext uri="{BB962C8B-B14F-4D97-AF65-F5344CB8AC3E}">
        <p14:creationId xmlns:p14="http://schemas.microsoft.com/office/powerpoint/2010/main" val="3597934998"/>
      </p:ext>
    </p:extLst>
  </p:cSld>
  <p:clrMapOvr>
    <a:masterClrMapping/>
  </p:clrMapOvr>
  <p:transition spd="slow">
    <p:push dir="u"/>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Section Title Page">
    <p:spTree>
      <p:nvGrpSpPr>
        <p:cNvPr id="1" name=""/>
        <p:cNvGrpSpPr/>
        <p:nvPr/>
      </p:nvGrpSpPr>
      <p:grpSpPr>
        <a:xfrm>
          <a:off x="0" y="0"/>
          <a:ext cx="0" cy="0"/>
          <a:chOff x="0" y="0"/>
          <a:chExt cx="0" cy="0"/>
        </a:xfrm>
      </p:grpSpPr>
      <p:sp>
        <p:nvSpPr>
          <p:cNvPr id="33" name="Title 1">
            <a:extLst>
              <a:ext uri="{FF2B5EF4-FFF2-40B4-BE49-F238E27FC236}">
                <a16:creationId xmlns:a16="http://schemas.microsoft.com/office/drawing/2014/main" id="{E02383DA-65B3-044E-9E1B-2CC00A0B1CC6}"/>
              </a:ext>
            </a:extLst>
          </p:cNvPr>
          <p:cNvSpPr>
            <a:spLocks noGrp="1"/>
          </p:cNvSpPr>
          <p:nvPr>
            <p:ph type="ctrTitle" hasCustomPrompt="1"/>
          </p:nvPr>
        </p:nvSpPr>
        <p:spPr>
          <a:xfrm>
            <a:off x="1194730" y="2303030"/>
            <a:ext cx="4354731" cy="2279130"/>
          </a:xfrm>
          <a:prstGeom prst="rect">
            <a:avLst/>
          </a:prstGeom>
        </p:spPr>
        <p:txBody>
          <a:bodyPr wrap="square" lIns="0" tIns="0" rIns="0" bIns="0" anchor="ctr" anchorCtr="0">
            <a:normAutofit/>
          </a:bodyPr>
          <a:lstStyle>
            <a:lvl1pPr>
              <a:lnSpc>
                <a:spcPts val="3800"/>
              </a:lnSpc>
              <a:defRPr sz="3600" b="1" i="0" baseline="0">
                <a:solidFill>
                  <a:schemeClr val="tx1"/>
                </a:solidFill>
                <a:latin typeface="Calibri" panose="020F0502020204030204" pitchFamily="34" charset="0"/>
                <a:ea typeface="メイリオ" pitchFamily="50" charset="-128"/>
                <a:cs typeface="Calibri" pitchFamily="34" charset="0"/>
              </a:defRPr>
            </a:lvl1pPr>
          </a:lstStyle>
          <a:p>
            <a:r>
              <a:rPr lang="en-GB"/>
              <a:t>Click to add section title</a:t>
            </a:r>
          </a:p>
        </p:txBody>
      </p:sp>
      <p:sp>
        <p:nvSpPr>
          <p:cNvPr id="28" name="Rectangle 27">
            <a:extLst>
              <a:ext uri="{FF2B5EF4-FFF2-40B4-BE49-F238E27FC236}">
                <a16:creationId xmlns:a16="http://schemas.microsoft.com/office/drawing/2014/main" id="{92F9C2FE-7E43-3948-92F0-0CEA804BDBFE}"/>
              </a:ext>
            </a:extLst>
          </p:cNvPr>
          <p:cNvSpPr/>
          <p:nvPr userDrawn="1"/>
        </p:nvSpPr>
        <p:spPr>
          <a:xfrm>
            <a:off x="749005" y="2110246"/>
            <a:ext cx="97200" cy="270718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kumimoji="0" lang="en-US" altLang="en-US" sz="1800">
              <a:solidFill>
                <a:srgbClr val="FFFFFF"/>
              </a:solidFill>
            </a:endParaRPr>
          </a:p>
        </p:txBody>
      </p:sp>
      <p:sp>
        <p:nvSpPr>
          <p:cNvPr id="13" name="Picture Placeholder 9">
            <a:extLst>
              <a:ext uri="{FF2B5EF4-FFF2-40B4-BE49-F238E27FC236}">
                <a16:creationId xmlns:a16="http://schemas.microsoft.com/office/drawing/2014/main" id="{46656F8F-0621-5F47-BF80-4A4E365A2D91}"/>
              </a:ext>
            </a:extLst>
          </p:cNvPr>
          <p:cNvSpPr>
            <a:spLocks noGrp="1"/>
          </p:cNvSpPr>
          <p:nvPr>
            <p:ph type="pic" sz="quarter" idx="10"/>
          </p:nvPr>
        </p:nvSpPr>
        <p:spPr>
          <a:xfrm>
            <a:off x="6642541" y="-1"/>
            <a:ext cx="5565823" cy="6416675"/>
          </a:xfrm>
          <a:custGeom>
            <a:avLst/>
            <a:gdLst>
              <a:gd name="connsiteX0" fmla="*/ 0 w 10888662"/>
              <a:gd name="connsiteY0" fmla="*/ 579722 h 6442075"/>
              <a:gd name="connsiteX1" fmla="*/ 579722 w 10888662"/>
              <a:gd name="connsiteY1" fmla="*/ 0 h 6442075"/>
              <a:gd name="connsiteX2" fmla="*/ 10308940 w 10888662"/>
              <a:gd name="connsiteY2" fmla="*/ 0 h 6442075"/>
              <a:gd name="connsiteX3" fmla="*/ 10888662 w 10888662"/>
              <a:gd name="connsiteY3" fmla="*/ 579722 h 6442075"/>
              <a:gd name="connsiteX4" fmla="*/ 10888662 w 10888662"/>
              <a:gd name="connsiteY4" fmla="*/ 5862353 h 6442075"/>
              <a:gd name="connsiteX5" fmla="*/ 10308940 w 10888662"/>
              <a:gd name="connsiteY5" fmla="*/ 6442075 h 6442075"/>
              <a:gd name="connsiteX6" fmla="*/ 579722 w 10888662"/>
              <a:gd name="connsiteY6" fmla="*/ 6442075 h 6442075"/>
              <a:gd name="connsiteX7" fmla="*/ 0 w 10888662"/>
              <a:gd name="connsiteY7" fmla="*/ 5862353 h 6442075"/>
              <a:gd name="connsiteX8" fmla="*/ 0 w 10888662"/>
              <a:gd name="connsiteY8" fmla="*/ 579722 h 6442075"/>
              <a:gd name="connsiteX0" fmla="*/ 0 w 10888662"/>
              <a:gd name="connsiteY0" fmla="*/ 659657 h 6522010"/>
              <a:gd name="connsiteX1" fmla="*/ 10308940 w 10888662"/>
              <a:gd name="connsiteY1" fmla="*/ 79935 h 6522010"/>
              <a:gd name="connsiteX2" fmla="*/ 10888662 w 10888662"/>
              <a:gd name="connsiteY2" fmla="*/ 659657 h 6522010"/>
              <a:gd name="connsiteX3" fmla="*/ 10888662 w 10888662"/>
              <a:gd name="connsiteY3" fmla="*/ 5942288 h 6522010"/>
              <a:gd name="connsiteX4" fmla="*/ 10308940 w 10888662"/>
              <a:gd name="connsiteY4" fmla="*/ 6522010 h 6522010"/>
              <a:gd name="connsiteX5" fmla="*/ 579722 w 10888662"/>
              <a:gd name="connsiteY5" fmla="*/ 6522010 h 6522010"/>
              <a:gd name="connsiteX6" fmla="*/ 0 w 10888662"/>
              <a:gd name="connsiteY6" fmla="*/ 5942288 h 6522010"/>
              <a:gd name="connsiteX7" fmla="*/ 0 w 10888662"/>
              <a:gd name="connsiteY7" fmla="*/ 659657 h 6522010"/>
              <a:gd name="connsiteX0" fmla="*/ 0 w 10888662"/>
              <a:gd name="connsiteY0" fmla="*/ 579722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579722 h 6442075"/>
              <a:gd name="connsiteX0" fmla="*/ 0 w 10888662"/>
              <a:gd name="connsiteY0" fmla="*/ 129257 h 6569679"/>
              <a:gd name="connsiteX1" fmla="*/ 10308940 w 10888662"/>
              <a:gd name="connsiteY1" fmla="*/ 127604 h 6569679"/>
              <a:gd name="connsiteX2" fmla="*/ 10888662 w 10888662"/>
              <a:gd name="connsiteY2" fmla="*/ 707326 h 6569679"/>
              <a:gd name="connsiteX3" fmla="*/ 10888662 w 10888662"/>
              <a:gd name="connsiteY3" fmla="*/ 5989957 h 6569679"/>
              <a:gd name="connsiteX4" fmla="*/ 10308940 w 10888662"/>
              <a:gd name="connsiteY4" fmla="*/ 6569679 h 6569679"/>
              <a:gd name="connsiteX5" fmla="*/ 579722 w 10888662"/>
              <a:gd name="connsiteY5" fmla="*/ 6569679 h 6569679"/>
              <a:gd name="connsiteX6" fmla="*/ 0 w 10888662"/>
              <a:gd name="connsiteY6" fmla="*/ 5989957 h 6569679"/>
              <a:gd name="connsiteX7" fmla="*/ 0 w 10888662"/>
              <a:gd name="connsiteY7" fmla="*/ 129257 h 6569679"/>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9657299 w 10888662"/>
              <a:gd name="connsiteY4" fmla="*/ 55276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522010"/>
              <a:gd name="connsiteX1" fmla="*/ 10308940 w 10888662"/>
              <a:gd name="connsiteY1" fmla="*/ 0 h 6522010"/>
              <a:gd name="connsiteX2" fmla="*/ 10888662 w 10888662"/>
              <a:gd name="connsiteY2" fmla="*/ 579722 h 6522010"/>
              <a:gd name="connsiteX3" fmla="*/ 10888662 w 10888662"/>
              <a:gd name="connsiteY3" fmla="*/ 5862353 h 6522010"/>
              <a:gd name="connsiteX4" fmla="*/ 579722 w 10888662"/>
              <a:gd name="connsiteY4" fmla="*/ 6442075 h 6522010"/>
              <a:gd name="connsiteX5" fmla="*/ 0 w 10888662"/>
              <a:gd name="connsiteY5" fmla="*/ 5862353 h 6522010"/>
              <a:gd name="connsiteX6" fmla="*/ 0 w 10888662"/>
              <a:gd name="connsiteY6" fmla="*/ 1653 h 6522010"/>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579722 w 10888662"/>
              <a:gd name="connsiteY4" fmla="*/ 6442075 h 6442075"/>
              <a:gd name="connsiteX5" fmla="*/ 0 w 10888662"/>
              <a:gd name="connsiteY5" fmla="*/ 5862353 h 6442075"/>
              <a:gd name="connsiteX6" fmla="*/ 0 w 10888662"/>
              <a:gd name="connsiteY6" fmla="*/ 1653 h 6442075"/>
              <a:gd name="connsiteX0" fmla="*/ 0 w 10888662"/>
              <a:gd name="connsiteY0" fmla="*/ 1653 h 6585432"/>
              <a:gd name="connsiteX1" fmla="*/ 10308940 w 10888662"/>
              <a:gd name="connsiteY1" fmla="*/ 0 h 6585432"/>
              <a:gd name="connsiteX2" fmla="*/ 10888662 w 10888662"/>
              <a:gd name="connsiteY2" fmla="*/ 579722 h 6585432"/>
              <a:gd name="connsiteX3" fmla="*/ 10878151 w 10888662"/>
              <a:gd name="connsiteY3" fmla="*/ 6461442 h 6585432"/>
              <a:gd name="connsiteX4" fmla="*/ 579722 w 10888662"/>
              <a:gd name="connsiteY4" fmla="*/ 6442075 h 6585432"/>
              <a:gd name="connsiteX5" fmla="*/ 0 w 10888662"/>
              <a:gd name="connsiteY5" fmla="*/ 5862353 h 6585432"/>
              <a:gd name="connsiteX6" fmla="*/ 0 w 10888662"/>
              <a:gd name="connsiteY6" fmla="*/ 1653 h 6585432"/>
              <a:gd name="connsiteX0" fmla="*/ 0 w 10888662"/>
              <a:gd name="connsiteY0" fmla="*/ 1653 h 6577502"/>
              <a:gd name="connsiteX1" fmla="*/ 10308940 w 10888662"/>
              <a:gd name="connsiteY1" fmla="*/ 0 h 6577502"/>
              <a:gd name="connsiteX2" fmla="*/ 10888662 w 10888662"/>
              <a:gd name="connsiteY2" fmla="*/ 579722 h 6577502"/>
              <a:gd name="connsiteX3" fmla="*/ 10878151 w 10888662"/>
              <a:gd name="connsiteY3" fmla="*/ 6450932 h 6577502"/>
              <a:gd name="connsiteX4" fmla="*/ 579722 w 10888662"/>
              <a:gd name="connsiteY4" fmla="*/ 6442075 h 6577502"/>
              <a:gd name="connsiteX5" fmla="*/ 0 w 10888662"/>
              <a:gd name="connsiteY5" fmla="*/ 5862353 h 6577502"/>
              <a:gd name="connsiteX6" fmla="*/ 0 w 10888662"/>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0888662"/>
              <a:gd name="connsiteY0" fmla="*/ 1653 h 6450932"/>
              <a:gd name="connsiteX1" fmla="*/ 10308940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0999550"/>
              <a:gd name="connsiteY0" fmla="*/ 1653 h 6450932"/>
              <a:gd name="connsiteX1" fmla="*/ 10844968 w 10999550"/>
              <a:gd name="connsiteY1" fmla="*/ 0 h 6450932"/>
              <a:gd name="connsiteX2" fmla="*/ 10888662 w 10999550"/>
              <a:gd name="connsiteY2" fmla="*/ 579722 h 6450932"/>
              <a:gd name="connsiteX3" fmla="*/ 10878151 w 10999550"/>
              <a:gd name="connsiteY3" fmla="*/ 6450932 h 6450932"/>
              <a:gd name="connsiteX4" fmla="*/ 579722 w 10999550"/>
              <a:gd name="connsiteY4" fmla="*/ 6442075 h 6450932"/>
              <a:gd name="connsiteX5" fmla="*/ 0 w 10999550"/>
              <a:gd name="connsiteY5" fmla="*/ 5862353 h 6450932"/>
              <a:gd name="connsiteX6" fmla="*/ 0 w 10999550"/>
              <a:gd name="connsiteY6" fmla="*/ 1653 h 6450932"/>
              <a:gd name="connsiteX0" fmla="*/ 0 w 11022020"/>
              <a:gd name="connsiteY0" fmla="*/ 1653 h 6450932"/>
              <a:gd name="connsiteX1" fmla="*/ 10876499 w 11022020"/>
              <a:gd name="connsiteY1" fmla="*/ 0 h 6450932"/>
              <a:gd name="connsiteX2" fmla="*/ 10888662 w 11022020"/>
              <a:gd name="connsiteY2" fmla="*/ 579722 h 6450932"/>
              <a:gd name="connsiteX3" fmla="*/ 10878151 w 11022020"/>
              <a:gd name="connsiteY3" fmla="*/ 6450932 h 6450932"/>
              <a:gd name="connsiteX4" fmla="*/ 579722 w 11022020"/>
              <a:gd name="connsiteY4" fmla="*/ 6442075 h 6450932"/>
              <a:gd name="connsiteX5" fmla="*/ 0 w 11022020"/>
              <a:gd name="connsiteY5" fmla="*/ 5862353 h 6450932"/>
              <a:gd name="connsiteX6" fmla="*/ 0 w 11022020"/>
              <a:gd name="connsiteY6" fmla="*/ 1653 h 6450932"/>
              <a:gd name="connsiteX0" fmla="*/ 0 w 10888662"/>
              <a:gd name="connsiteY0" fmla="*/ 1653 h 6450932"/>
              <a:gd name="connsiteX1" fmla="*/ 10876499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2200990"/>
              <a:gd name="connsiteY0" fmla="*/ 1653 h 6450932"/>
              <a:gd name="connsiteX1" fmla="*/ 10876499 w 12200990"/>
              <a:gd name="connsiteY1" fmla="*/ 0 h 6450932"/>
              <a:gd name="connsiteX2" fmla="*/ 10878151 w 12200990"/>
              <a:gd name="connsiteY2" fmla="*/ 6450932 h 6450932"/>
              <a:gd name="connsiteX3" fmla="*/ 579722 w 12200990"/>
              <a:gd name="connsiteY3" fmla="*/ 6442075 h 6450932"/>
              <a:gd name="connsiteX4" fmla="*/ 0 w 12200990"/>
              <a:gd name="connsiteY4" fmla="*/ 5862353 h 6450932"/>
              <a:gd name="connsiteX5" fmla="*/ 0 w 12200990"/>
              <a:gd name="connsiteY5" fmla="*/ 1653 h 6450932"/>
              <a:gd name="connsiteX0" fmla="*/ 0 w 11640630"/>
              <a:gd name="connsiteY0" fmla="*/ 1653 h 6450932"/>
              <a:gd name="connsiteX1" fmla="*/ 10876499 w 11640630"/>
              <a:gd name="connsiteY1" fmla="*/ 0 h 6450932"/>
              <a:gd name="connsiteX2" fmla="*/ 10878151 w 11640630"/>
              <a:gd name="connsiteY2" fmla="*/ 6450932 h 6450932"/>
              <a:gd name="connsiteX3" fmla="*/ 579722 w 11640630"/>
              <a:gd name="connsiteY3" fmla="*/ 6442075 h 6450932"/>
              <a:gd name="connsiteX4" fmla="*/ 0 w 11640630"/>
              <a:gd name="connsiteY4" fmla="*/ 5862353 h 6450932"/>
              <a:gd name="connsiteX5" fmla="*/ 0 w 11640630"/>
              <a:gd name="connsiteY5" fmla="*/ 1653 h 6450932"/>
              <a:gd name="connsiteX0" fmla="*/ 0 w 10878151"/>
              <a:gd name="connsiteY0" fmla="*/ 1653 h 6450932"/>
              <a:gd name="connsiteX1" fmla="*/ 10876499 w 10878151"/>
              <a:gd name="connsiteY1" fmla="*/ 0 h 6450932"/>
              <a:gd name="connsiteX2" fmla="*/ 10878151 w 10878151"/>
              <a:gd name="connsiteY2" fmla="*/ 6450932 h 6450932"/>
              <a:gd name="connsiteX3" fmla="*/ 579722 w 10878151"/>
              <a:gd name="connsiteY3" fmla="*/ 6442075 h 6450932"/>
              <a:gd name="connsiteX4" fmla="*/ 0 w 10878151"/>
              <a:gd name="connsiteY4" fmla="*/ 5862353 h 6450932"/>
              <a:gd name="connsiteX5" fmla="*/ 0 w 10878151"/>
              <a:gd name="connsiteY5" fmla="*/ 1653 h 6450932"/>
              <a:gd name="connsiteX0" fmla="*/ 0 w 11843451"/>
              <a:gd name="connsiteY0" fmla="*/ 1653 h 6450932"/>
              <a:gd name="connsiteX1" fmla="*/ 11843451 w 11843451"/>
              <a:gd name="connsiteY1" fmla="*/ 0 h 6450932"/>
              <a:gd name="connsiteX2" fmla="*/ 10878151 w 11843451"/>
              <a:gd name="connsiteY2" fmla="*/ 6450932 h 6450932"/>
              <a:gd name="connsiteX3" fmla="*/ 579722 w 11843451"/>
              <a:gd name="connsiteY3" fmla="*/ 6442075 h 6450932"/>
              <a:gd name="connsiteX4" fmla="*/ 0 w 11843451"/>
              <a:gd name="connsiteY4" fmla="*/ 5862353 h 6450932"/>
              <a:gd name="connsiteX5" fmla="*/ 0 w 11843451"/>
              <a:gd name="connsiteY5" fmla="*/ 1653 h 6450932"/>
              <a:gd name="connsiteX0" fmla="*/ 0 w 11855613"/>
              <a:gd name="connsiteY0" fmla="*/ 1653 h 6450932"/>
              <a:gd name="connsiteX1" fmla="*/ 11843451 w 11855613"/>
              <a:gd name="connsiteY1" fmla="*/ 0 h 6450932"/>
              <a:gd name="connsiteX2" fmla="*/ 11855613 w 11855613"/>
              <a:gd name="connsiteY2" fmla="*/ 6450932 h 6450932"/>
              <a:gd name="connsiteX3" fmla="*/ 579722 w 11855613"/>
              <a:gd name="connsiteY3" fmla="*/ 6442075 h 6450932"/>
              <a:gd name="connsiteX4" fmla="*/ 0 w 11855613"/>
              <a:gd name="connsiteY4" fmla="*/ 5862353 h 6450932"/>
              <a:gd name="connsiteX5" fmla="*/ 0 w 11855613"/>
              <a:gd name="connsiteY5" fmla="*/ 1653 h 6450932"/>
              <a:gd name="connsiteX0" fmla="*/ 0 w 11864472"/>
              <a:gd name="connsiteY0" fmla="*/ 1653 h 6450932"/>
              <a:gd name="connsiteX1" fmla="*/ 11864472 w 11864472"/>
              <a:gd name="connsiteY1" fmla="*/ 0 h 6450932"/>
              <a:gd name="connsiteX2" fmla="*/ 11855613 w 11864472"/>
              <a:gd name="connsiteY2" fmla="*/ 6450932 h 6450932"/>
              <a:gd name="connsiteX3" fmla="*/ 579722 w 11864472"/>
              <a:gd name="connsiteY3" fmla="*/ 6442075 h 6450932"/>
              <a:gd name="connsiteX4" fmla="*/ 0 w 11864472"/>
              <a:gd name="connsiteY4" fmla="*/ 5862353 h 6450932"/>
              <a:gd name="connsiteX5" fmla="*/ 0 w 11864472"/>
              <a:gd name="connsiteY5" fmla="*/ 1653 h 6450932"/>
              <a:gd name="connsiteX0" fmla="*/ 0 w 11864472"/>
              <a:gd name="connsiteY0" fmla="*/ 1653 h 6442075"/>
              <a:gd name="connsiteX1" fmla="*/ 11864472 w 11864472"/>
              <a:gd name="connsiteY1" fmla="*/ 0 h 6442075"/>
              <a:gd name="connsiteX2" fmla="*/ 11855613 w 11864472"/>
              <a:gd name="connsiteY2" fmla="*/ 6440421 h 6442075"/>
              <a:gd name="connsiteX3" fmla="*/ 579722 w 11864472"/>
              <a:gd name="connsiteY3" fmla="*/ 6442075 h 6442075"/>
              <a:gd name="connsiteX4" fmla="*/ 0 w 11864472"/>
              <a:gd name="connsiteY4" fmla="*/ 5862353 h 6442075"/>
              <a:gd name="connsiteX5" fmla="*/ 0 w 11864472"/>
              <a:gd name="connsiteY5" fmla="*/ 1653 h 6442075"/>
              <a:gd name="connsiteX0" fmla="*/ 0 w 11864472"/>
              <a:gd name="connsiteY0" fmla="*/ 0 h 6630428"/>
              <a:gd name="connsiteX1" fmla="*/ 11864472 w 11864472"/>
              <a:gd name="connsiteY1" fmla="*/ 188353 h 6630428"/>
              <a:gd name="connsiteX2" fmla="*/ 11855613 w 11864472"/>
              <a:gd name="connsiteY2" fmla="*/ 6628774 h 6630428"/>
              <a:gd name="connsiteX3" fmla="*/ 579722 w 11864472"/>
              <a:gd name="connsiteY3" fmla="*/ 6630428 h 6630428"/>
              <a:gd name="connsiteX4" fmla="*/ 0 w 11864472"/>
              <a:gd name="connsiteY4" fmla="*/ 6050706 h 6630428"/>
              <a:gd name="connsiteX5" fmla="*/ 0 w 11864472"/>
              <a:gd name="connsiteY5" fmla="*/ 0 h 6630428"/>
              <a:gd name="connsiteX0" fmla="*/ 0 w 11864472"/>
              <a:gd name="connsiteY0" fmla="*/ 13527 h 6643955"/>
              <a:gd name="connsiteX1" fmla="*/ 11864472 w 11864472"/>
              <a:gd name="connsiteY1" fmla="*/ 0 h 6643955"/>
              <a:gd name="connsiteX2" fmla="*/ 11855613 w 11864472"/>
              <a:gd name="connsiteY2" fmla="*/ 6642301 h 6643955"/>
              <a:gd name="connsiteX3" fmla="*/ 579722 w 11864472"/>
              <a:gd name="connsiteY3" fmla="*/ 6643955 h 6643955"/>
              <a:gd name="connsiteX4" fmla="*/ 0 w 11864472"/>
              <a:gd name="connsiteY4" fmla="*/ 6064233 h 6643955"/>
              <a:gd name="connsiteX5" fmla="*/ 0 w 11864472"/>
              <a:gd name="connsiteY5" fmla="*/ 13527 h 6643955"/>
              <a:gd name="connsiteX0" fmla="*/ 0 w 11864472"/>
              <a:gd name="connsiteY0" fmla="*/ 1319813 h 6643955"/>
              <a:gd name="connsiteX1" fmla="*/ 11864472 w 11864472"/>
              <a:gd name="connsiteY1" fmla="*/ 0 h 6643955"/>
              <a:gd name="connsiteX2" fmla="*/ 11855613 w 11864472"/>
              <a:gd name="connsiteY2" fmla="*/ 6642301 h 6643955"/>
              <a:gd name="connsiteX3" fmla="*/ 579722 w 11864472"/>
              <a:gd name="connsiteY3" fmla="*/ 6643955 h 6643955"/>
              <a:gd name="connsiteX4" fmla="*/ 0 w 11864472"/>
              <a:gd name="connsiteY4" fmla="*/ 6064233 h 6643955"/>
              <a:gd name="connsiteX5" fmla="*/ 0 w 11864472"/>
              <a:gd name="connsiteY5" fmla="*/ 1319813 h 6643955"/>
              <a:gd name="connsiteX0" fmla="*/ 0 w 11864472"/>
              <a:gd name="connsiteY0" fmla="*/ 13527 h 5337669"/>
              <a:gd name="connsiteX1" fmla="*/ 11864472 w 11864472"/>
              <a:gd name="connsiteY1" fmla="*/ 0 h 5337669"/>
              <a:gd name="connsiteX2" fmla="*/ 11855613 w 11864472"/>
              <a:gd name="connsiteY2" fmla="*/ 5336015 h 5337669"/>
              <a:gd name="connsiteX3" fmla="*/ 579722 w 11864472"/>
              <a:gd name="connsiteY3" fmla="*/ 5337669 h 5337669"/>
              <a:gd name="connsiteX4" fmla="*/ 0 w 11864472"/>
              <a:gd name="connsiteY4" fmla="*/ 4757947 h 5337669"/>
              <a:gd name="connsiteX5" fmla="*/ 0 w 11864472"/>
              <a:gd name="connsiteY5" fmla="*/ 13527 h 5337669"/>
              <a:gd name="connsiteX0" fmla="*/ 0 w 11864472"/>
              <a:gd name="connsiteY0" fmla="*/ 1652 h 5337669"/>
              <a:gd name="connsiteX1" fmla="*/ 11864472 w 11864472"/>
              <a:gd name="connsiteY1" fmla="*/ 0 h 5337669"/>
              <a:gd name="connsiteX2" fmla="*/ 11855613 w 11864472"/>
              <a:gd name="connsiteY2" fmla="*/ 5336015 h 5337669"/>
              <a:gd name="connsiteX3" fmla="*/ 579722 w 11864472"/>
              <a:gd name="connsiteY3" fmla="*/ 5337669 h 5337669"/>
              <a:gd name="connsiteX4" fmla="*/ 0 w 11864472"/>
              <a:gd name="connsiteY4" fmla="*/ 4757947 h 5337669"/>
              <a:gd name="connsiteX5" fmla="*/ 0 w 11864472"/>
              <a:gd name="connsiteY5" fmla="*/ 1652 h 5337669"/>
              <a:gd name="connsiteX0" fmla="*/ 0 w 11864472"/>
              <a:gd name="connsiteY0" fmla="*/ 2201927 h 5337669"/>
              <a:gd name="connsiteX1" fmla="*/ 11864472 w 11864472"/>
              <a:gd name="connsiteY1" fmla="*/ 0 h 5337669"/>
              <a:gd name="connsiteX2" fmla="*/ 11855613 w 11864472"/>
              <a:gd name="connsiteY2" fmla="*/ 5336015 h 5337669"/>
              <a:gd name="connsiteX3" fmla="*/ 579722 w 11864472"/>
              <a:gd name="connsiteY3" fmla="*/ 5337669 h 5337669"/>
              <a:gd name="connsiteX4" fmla="*/ 0 w 11864472"/>
              <a:gd name="connsiteY4" fmla="*/ 4757947 h 5337669"/>
              <a:gd name="connsiteX5" fmla="*/ 0 w 11864472"/>
              <a:gd name="connsiteY5" fmla="*/ 2201927 h 5337669"/>
              <a:gd name="connsiteX0" fmla="*/ 0 w 11864472"/>
              <a:gd name="connsiteY0" fmla="*/ 1652 h 3137394"/>
              <a:gd name="connsiteX1" fmla="*/ 11864472 w 11864472"/>
              <a:gd name="connsiteY1" fmla="*/ 0 h 3137394"/>
              <a:gd name="connsiteX2" fmla="*/ 11855613 w 11864472"/>
              <a:gd name="connsiteY2" fmla="*/ 3135740 h 3137394"/>
              <a:gd name="connsiteX3" fmla="*/ 579722 w 11864472"/>
              <a:gd name="connsiteY3" fmla="*/ 3137394 h 3137394"/>
              <a:gd name="connsiteX4" fmla="*/ 0 w 11864472"/>
              <a:gd name="connsiteY4" fmla="*/ 2557672 h 3137394"/>
              <a:gd name="connsiteX5" fmla="*/ 0 w 11864472"/>
              <a:gd name="connsiteY5" fmla="*/ 1652 h 3137394"/>
              <a:gd name="connsiteX0" fmla="*/ 0 w 11864472"/>
              <a:gd name="connsiteY0" fmla="*/ 0 h 3420555"/>
              <a:gd name="connsiteX1" fmla="*/ 11864472 w 11864472"/>
              <a:gd name="connsiteY1" fmla="*/ 283161 h 3420555"/>
              <a:gd name="connsiteX2" fmla="*/ 11855613 w 11864472"/>
              <a:gd name="connsiteY2" fmla="*/ 3418901 h 3420555"/>
              <a:gd name="connsiteX3" fmla="*/ 579722 w 11864472"/>
              <a:gd name="connsiteY3" fmla="*/ 3420555 h 3420555"/>
              <a:gd name="connsiteX4" fmla="*/ 0 w 11864472"/>
              <a:gd name="connsiteY4" fmla="*/ 2840833 h 3420555"/>
              <a:gd name="connsiteX5" fmla="*/ 0 w 11864472"/>
              <a:gd name="connsiteY5" fmla="*/ 0 h 3420555"/>
              <a:gd name="connsiteX0" fmla="*/ 0 w 11864472"/>
              <a:gd name="connsiteY0" fmla="*/ 1652 h 3422207"/>
              <a:gd name="connsiteX1" fmla="*/ 11864472 w 11864472"/>
              <a:gd name="connsiteY1" fmla="*/ 0 h 3422207"/>
              <a:gd name="connsiteX2" fmla="*/ 11855613 w 11864472"/>
              <a:gd name="connsiteY2" fmla="*/ 3420553 h 3422207"/>
              <a:gd name="connsiteX3" fmla="*/ 579722 w 11864472"/>
              <a:gd name="connsiteY3" fmla="*/ 3422207 h 3422207"/>
              <a:gd name="connsiteX4" fmla="*/ 0 w 11864472"/>
              <a:gd name="connsiteY4" fmla="*/ 2842485 h 3422207"/>
              <a:gd name="connsiteX5" fmla="*/ 0 w 11864472"/>
              <a:gd name="connsiteY5" fmla="*/ 1652 h 3422207"/>
              <a:gd name="connsiteX0" fmla="*/ 0 w 11855613"/>
              <a:gd name="connsiteY0" fmla="*/ 0 h 3420555"/>
              <a:gd name="connsiteX1" fmla="*/ 11834492 w 11855613"/>
              <a:gd name="connsiteY1" fmla="*/ 58309 h 3420555"/>
              <a:gd name="connsiteX2" fmla="*/ 11855613 w 11855613"/>
              <a:gd name="connsiteY2" fmla="*/ 3418901 h 3420555"/>
              <a:gd name="connsiteX3" fmla="*/ 579722 w 11855613"/>
              <a:gd name="connsiteY3" fmla="*/ 3420555 h 3420555"/>
              <a:gd name="connsiteX4" fmla="*/ 0 w 11855613"/>
              <a:gd name="connsiteY4" fmla="*/ 2840833 h 3420555"/>
              <a:gd name="connsiteX5" fmla="*/ 0 w 11855613"/>
              <a:gd name="connsiteY5" fmla="*/ 0 h 3420555"/>
              <a:gd name="connsiteX0" fmla="*/ 0 w 11855613"/>
              <a:gd name="connsiteY0" fmla="*/ 1652 h 3362246"/>
              <a:gd name="connsiteX1" fmla="*/ 11834492 w 11855613"/>
              <a:gd name="connsiteY1" fmla="*/ 0 h 3362246"/>
              <a:gd name="connsiteX2" fmla="*/ 11855613 w 11855613"/>
              <a:gd name="connsiteY2" fmla="*/ 3360592 h 3362246"/>
              <a:gd name="connsiteX3" fmla="*/ 579722 w 11855613"/>
              <a:gd name="connsiteY3" fmla="*/ 3362246 h 3362246"/>
              <a:gd name="connsiteX4" fmla="*/ 0 w 11855613"/>
              <a:gd name="connsiteY4" fmla="*/ 2782524 h 3362246"/>
              <a:gd name="connsiteX5" fmla="*/ 0 w 11855613"/>
              <a:gd name="connsiteY5" fmla="*/ 1652 h 3362246"/>
              <a:gd name="connsiteX0" fmla="*/ 0 w 11864473"/>
              <a:gd name="connsiteY0" fmla="*/ 0 h 3360594"/>
              <a:gd name="connsiteX1" fmla="*/ 11864473 w 11864473"/>
              <a:gd name="connsiteY1" fmla="*/ 13338 h 3360594"/>
              <a:gd name="connsiteX2" fmla="*/ 11855613 w 11864473"/>
              <a:gd name="connsiteY2" fmla="*/ 3358940 h 3360594"/>
              <a:gd name="connsiteX3" fmla="*/ 579722 w 11864473"/>
              <a:gd name="connsiteY3" fmla="*/ 3360594 h 3360594"/>
              <a:gd name="connsiteX4" fmla="*/ 0 w 11864473"/>
              <a:gd name="connsiteY4" fmla="*/ 2780872 h 3360594"/>
              <a:gd name="connsiteX5" fmla="*/ 0 w 11864473"/>
              <a:gd name="connsiteY5" fmla="*/ 0 h 3360594"/>
              <a:gd name="connsiteX0" fmla="*/ 0 w 11864473"/>
              <a:gd name="connsiteY0" fmla="*/ 1652 h 3362246"/>
              <a:gd name="connsiteX1" fmla="*/ 11864473 w 11864473"/>
              <a:gd name="connsiteY1" fmla="*/ 0 h 3362246"/>
              <a:gd name="connsiteX2" fmla="*/ 11855613 w 11864473"/>
              <a:gd name="connsiteY2" fmla="*/ 3360592 h 3362246"/>
              <a:gd name="connsiteX3" fmla="*/ 579722 w 11864473"/>
              <a:gd name="connsiteY3" fmla="*/ 3362246 h 3362246"/>
              <a:gd name="connsiteX4" fmla="*/ 0 w 11864473"/>
              <a:gd name="connsiteY4" fmla="*/ 2782524 h 3362246"/>
              <a:gd name="connsiteX5" fmla="*/ 0 w 11864473"/>
              <a:gd name="connsiteY5" fmla="*/ 1652 h 3362246"/>
              <a:gd name="connsiteX0" fmla="*/ 0 w 11855629"/>
              <a:gd name="connsiteY0" fmla="*/ 1652 h 3362246"/>
              <a:gd name="connsiteX1" fmla="*/ 11459359 w 11855629"/>
              <a:gd name="connsiteY1" fmla="*/ 0 h 3362246"/>
              <a:gd name="connsiteX2" fmla="*/ 11855613 w 11855629"/>
              <a:gd name="connsiteY2" fmla="*/ 3360592 h 3362246"/>
              <a:gd name="connsiteX3" fmla="*/ 579722 w 11855629"/>
              <a:gd name="connsiteY3" fmla="*/ 3362246 h 3362246"/>
              <a:gd name="connsiteX4" fmla="*/ 0 w 11855629"/>
              <a:gd name="connsiteY4" fmla="*/ 2782524 h 3362246"/>
              <a:gd name="connsiteX5" fmla="*/ 0 w 11855629"/>
              <a:gd name="connsiteY5" fmla="*/ 1652 h 3362246"/>
              <a:gd name="connsiteX0" fmla="*/ 0 w 11459359"/>
              <a:gd name="connsiteY0" fmla="*/ 1652 h 3362246"/>
              <a:gd name="connsiteX1" fmla="*/ 11459359 w 11459359"/>
              <a:gd name="connsiteY1" fmla="*/ 0 h 3362246"/>
              <a:gd name="connsiteX2" fmla="*/ 11438924 w 11459359"/>
              <a:gd name="connsiteY2" fmla="*/ 3360592 h 3362246"/>
              <a:gd name="connsiteX3" fmla="*/ 579722 w 11459359"/>
              <a:gd name="connsiteY3" fmla="*/ 3362246 h 3362246"/>
              <a:gd name="connsiteX4" fmla="*/ 0 w 11459359"/>
              <a:gd name="connsiteY4" fmla="*/ 2782524 h 3362246"/>
              <a:gd name="connsiteX5" fmla="*/ 0 w 11459359"/>
              <a:gd name="connsiteY5" fmla="*/ 1652 h 3362246"/>
              <a:gd name="connsiteX0" fmla="*/ 0 w 11459359"/>
              <a:gd name="connsiteY0" fmla="*/ 1652 h 3362246"/>
              <a:gd name="connsiteX1" fmla="*/ 11459359 w 11459359"/>
              <a:gd name="connsiteY1" fmla="*/ 0 h 3362246"/>
              <a:gd name="connsiteX2" fmla="*/ 11438924 w 11459359"/>
              <a:gd name="connsiteY2" fmla="*/ 3360592 h 3362246"/>
              <a:gd name="connsiteX3" fmla="*/ 1584742 w 11459359"/>
              <a:gd name="connsiteY3" fmla="*/ 3362246 h 3362246"/>
              <a:gd name="connsiteX4" fmla="*/ 0 w 11459359"/>
              <a:gd name="connsiteY4" fmla="*/ 2782524 h 3362246"/>
              <a:gd name="connsiteX5" fmla="*/ 0 w 11459359"/>
              <a:gd name="connsiteY5" fmla="*/ 1652 h 3362246"/>
              <a:gd name="connsiteX0" fmla="*/ 0 w 11459359"/>
              <a:gd name="connsiteY0" fmla="*/ 1652 h 3360592"/>
              <a:gd name="connsiteX1" fmla="*/ 11459359 w 11459359"/>
              <a:gd name="connsiteY1" fmla="*/ 0 h 3360592"/>
              <a:gd name="connsiteX2" fmla="*/ 11438924 w 11459359"/>
              <a:gd name="connsiteY2" fmla="*/ 3360592 h 3360592"/>
              <a:gd name="connsiteX3" fmla="*/ 1188396 w 11459359"/>
              <a:gd name="connsiteY3" fmla="*/ 3358591 h 3360592"/>
              <a:gd name="connsiteX4" fmla="*/ 0 w 11459359"/>
              <a:gd name="connsiteY4" fmla="*/ 2782524 h 3360592"/>
              <a:gd name="connsiteX5" fmla="*/ 0 w 11459359"/>
              <a:gd name="connsiteY5" fmla="*/ 1652 h 3360592"/>
              <a:gd name="connsiteX0" fmla="*/ 0 w 11459359"/>
              <a:gd name="connsiteY0" fmla="*/ 1652 h 3360592"/>
              <a:gd name="connsiteX1" fmla="*/ 11459359 w 11459359"/>
              <a:gd name="connsiteY1" fmla="*/ 0 h 3360592"/>
              <a:gd name="connsiteX2" fmla="*/ 11438924 w 11459359"/>
              <a:gd name="connsiteY2" fmla="*/ 3360592 h 3360592"/>
              <a:gd name="connsiteX3" fmla="*/ 1188396 w 11459359"/>
              <a:gd name="connsiteY3" fmla="*/ 3358591 h 3360592"/>
              <a:gd name="connsiteX4" fmla="*/ 0 w 11459359"/>
              <a:gd name="connsiteY4" fmla="*/ 2946995 h 3360592"/>
              <a:gd name="connsiteX5" fmla="*/ 0 w 11459359"/>
              <a:gd name="connsiteY5" fmla="*/ 1652 h 3360592"/>
              <a:gd name="connsiteX0" fmla="*/ 0 w 11459359"/>
              <a:gd name="connsiteY0" fmla="*/ 1652 h 3360592"/>
              <a:gd name="connsiteX1" fmla="*/ 11459359 w 11459359"/>
              <a:gd name="connsiteY1" fmla="*/ 0 h 3360592"/>
              <a:gd name="connsiteX2" fmla="*/ 11438924 w 11459359"/>
              <a:gd name="connsiteY2" fmla="*/ 3360592 h 3360592"/>
              <a:gd name="connsiteX3" fmla="*/ 1188396 w 11459359"/>
              <a:gd name="connsiteY3" fmla="*/ 3358591 h 3360592"/>
              <a:gd name="connsiteX4" fmla="*/ 0 w 11459359"/>
              <a:gd name="connsiteY4" fmla="*/ 2946995 h 3360592"/>
              <a:gd name="connsiteX5" fmla="*/ 0 w 11459359"/>
              <a:gd name="connsiteY5" fmla="*/ 1652 h 3360592"/>
              <a:gd name="connsiteX0" fmla="*/ 0 w 11459359"/>
              <a:gd name="connsiteY0" fmla="*/ 1652 h 3360592"/>
              <a:gd name="connsiteX1" fmla="*/ 11459359 w 11459359"/>
              <a:gd name="connsiteY1" fmla="*/ 0 h 3360592"/>
              <a:gd name="connsiteX2" fmla="*/ 11438924 w 11459359"/>
              <a:gd name="connsiteY2" fmla="*/ 3360592 h 3360592"/>
              <a:gd name="connsiteX3" fmla="*/ 1188396 w 11459359"/>
              <a:gd name="connsiteY3" fmla="*/ 3358591 h 3360592"/>
              <a:gd name="connsiteX4" fmla="*/ 0 w 11459359"/>
              <a:gd name="connsiteY4" fmla="*/ 2946995 h 3360592"/>
              <a:gd name="connsiteX5" fmla="*/ 0 w 11459359"/>
              <a:gd name="connsiteY5" fmla="*/ 1652 h 33605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459359" h="3360592">
                <a:moveTo>
                  <a:pt x="0" y="1652"/>
                </a:moveTo>
                <a:lnTo>
                  <a:pt x="11459359" y="0"/>
                </a:lnTo>
                <a:cubicBezTo>
                  <a:pt x="11456406" y="1115201"/>
                  <a:pt x="11441877" y="2245391"/>
                  <a:pt x="11438924" y="3360592"/>
                </a:cubicBezTo>
                <a:lnTo>
                  <a:pt x="1188396" y="3358591"/>
                </a:lnTo>
                <a:cubicBezTo>
                  <a:pt x="848612" y="3356903"/>
                  <a:pt x="0" y="3267167"/>
                  <a:pt x="0" y="2946995"/>
                </a:cubicBezTo>
                <a:lnTo>
                  <a:pt x="0" y="1652"/>
                </a:lnTo>
                <a:close/>
              </a:path>
            </a:pathLst>
          </a:custGeom>
          <a:noFill/>
        </p:spPr>
        <p:txBody>
          <a:bodyPr/>
          <a:lstStyle>
            <a:lvl1pPr marL="0" indent="0">
              <a:buNone/>
              <a:defRPr sz="2400">
                <a:solidFill>
                  <a:schemeClr val="bg1"/>
                </a:solidFill>
              </a:defRPr>
            </a:lvl1pPr>
          </a:lstStyle>
          <a:p>
            <a:r>
              <a:rPr lang="en-US" altLang="ja-JP"/>
              <a:t>Click icon to add picture</a:t>
            </a:r>
            <a:endParaRPr lang="en-JP"/>
          </a:p>
        </p:txBody>
      </p:sp>
    </p:spTree>
    <p:extLst>
      <p:ext uri="{BB962C8B-B14F-4D97-AF65-F5344CB8AC3E}">
        <p14:creationId xmlns:p14="http://schemas.microsoft.com/office/powerpoint/2010/main" val="327902250"/>
      </p:ext>
    </p:extLst>
  </p:cSld>
  <p:clrMapOvr>
    <a:masterClrMapping/>
  </p:clrMapOvr>
  <p:transition spd="slow">
    <p:push dir="u"/>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Blank slide">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30A5DA52-BBAF-EA48-AEC6-EA08F428CF57}"/>
              </a:ext>
            </a:extLst>
          </p:cNvPr>
          <p:cNvSpPr>
            <a:spLocks noGrp="1"/>
          </p:cNvSpPr>
          <p:nvPr>
            <p:ph type="body" sz="quarter" idx="10" hasCustomPrompt="1"/>
          </p:nvPr>
        </p:nvSpPr>
        <p:spPr>
          <a:xfrm>
            <a:off x="300038" y="371959"/>
            <a:ext cx="11591925" cy="6044716"/>
          </a:xfrm>
          <a:prstGeom prst="rect">
            <a:avLst/>
          </a:prstGeom>
        </p:spPr>
        <p:txBody>
          <a:bodyPr anchor="ctr" anchorCtr="0"/>
          <a:lstStyle>
            <a:lvl1pPr marL="0" indent="0" algn="ctr">
              <a:lnSpc>
                <a:spcPct val="100000"/>
              </a:lnSpc>
              <a:buNone/>
              <a:defRPr sz="3000"/>
            </a:lvl1pPr>
          </a:lstStyle>
          <a:p>
            <a:pPr lvl="0"/>
            <a:r>
              <a:rPr lang="en-US"/>
              <a:t>Blank slide</a:t>
            </a:r>
            <a:endParaRPr lang="en-JP"/>
          </a:p>
        </p:txBody>
      </p:sp>
    </p:spTree>
    <p:extLst>
      <p:ext uri="{BB962C8B-B14F-4D97-AF65-F5344CB8AC3E}">
        <p14:creationId xmlns:p14="http://schemas.microsoft.com/office/powerpoint/2010/main" val="3065144506"/>
      </p:ext>
    </p:extLst>
  </p:cSld>
  <p:clrMapOvr>
    <a:masterClrMapping/>
  </p:clrMapOvr>
  <p:transition spd="slow">
    <p:push dir="u"/>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Advanced 3-Column Text">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65925D82-457F-D84D-B8DF-D8ADFD7E71DF}"/>
              </a:ext>
            </a:extLst>
          </p:cNvPr>
          <p:cNvSpPr>
            <a:spLocks noGrp="1"/>
          </p:cNvSpPr>
          <p:nvPr>
            <p:ph type="body" sz="quarter" idx="14" hasCustomPrompt="1"/>
          </p:nvPr>
        </p:nvSpPr>
        <p:spPr>
          <a:xfrm>
            <a:off x="311150" y="3178298"/>
            <a:ext cx="5708650" cy="272786"/>
          </a:xfrm>
          <a:prstGeom prst="rect">
            <a:avLst/>
          </a:prstGeom>
        </p:spPr>
        <p:txBody>
          <a:bodyPr tIns="0" rIns="0" bIns="0" numCol="1">
            <a:noAutofit/>
          </a:bodyPr>
          <a:lstStyle>
            <a:lvl1pPr marL="0" indent="0">
              <a:lnSpc>
                <a:spcPct val="100000"/>
              </a:lnSpc>
              <a:spcBef>
                <a:spcPts val="0"/>
              </a:spcBef>
              <a:spcAft>
                <a:spcPts val="600"/>
              </a:spcAft>
              <a:buNone/>
              <a:defRPr sz="18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Secondary Title</a:t>
            </a:r>
          </a:p>
        </p:txBody>
      </p:sp>
      <p:sp>
        <p:nvSpPr>
          <p:cNvPr id="12" name="Text Placeholder 6">
            <a:extLst>
              <a:ext uri="{FF2B5EF4-FFF2-40B4-BE49-F238E27FC236}">
                <a16:creationId xmlns:a16="http://schemas.microsoft.com/office/drawing/2014/main" id="{FD2406EE-A554-5348-AE6D-4D8B343E6201}"/>
              </a:ext>
            </a:extLst>
          </p:cNvPr>
          <p:cNvSpPr>
            <a:spLocks noGrp="1"/>
          </p:cNvSpPr>
          <p:nvPr>
            <p:ph type="body" sz="quarter" idx="15" hasCustomPrompt="1"/>
          </p:nvPr>
        </p:nvSpPr>
        <p:spPr>
          <a:xfrm>
            <a:off x="311149" y="3575904"/>
            <a:ext cx="3763545" cy="2840771"/>
          </a:xfrm>
          <a:prstGeom prst="rect">
            <a:avLst/>
          </a:prstGeom>
        </p:spPr>
        <p:txBody>
          <a:bodyPr tIns="0" rIns="0" bIns="0" numCol="1">
            <a:noAutofit/>
          </a:bodyPr>
          <a:lstStyle>
            <a:lvl1pPr marL="171450" indent="-171450">
              <a:lnSpc>
                <a:spcPct val="100000"/>
              </a:lnSpc>
              <a:spcBef>
                <a:spcPts val="0"/>
              </a:spcBef>
              <a:spcAft>
                <a:spcPts val="600"/>
              </a:spcAft>
              <a:buFont typeface="Arial" panose="020B0604020202020204" pitchFamily="34" charset="0"/>
              <a:buChar char="•"/>
              <a:defRPr sz="1400" b="0">
                <a:solidFill>
                  <a:schemeClr val="tx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Secondary text. </a:t>
            </a:r>
          </a:p>
        </p:txBody>
      </p:sp>
      <p:sp>
        <p:nvSpPr>
          <p:cNvPr id="17" name="Text Placeholder 6">
            <a:extLst>
              <a:ext uri="{FF2B5EF4-FFF2-40B4-BE49-F238E27FC236}">
                <a16:creationId xmlns:a16="http://schemas.microsoft.com/office/drawing/2014/main" id="{3BB454FD-9C16-FC47-B46E-6675394572BB}"/>
              </a:ext>
            </a:extLst>
          </p:cNvPr>
          <p:cNvSpPr>
            <a:spLocks noGrp="1"/>
          </p:cNvSpPr>
          <p:nvPr>
            <p:ph type="body" sz="quarter" idx="18" hasCustomPrompt="1"/>
          </p:nvPr>
        </p:nvSpPr>
        <p:spPr>
          <a:xfrm>
            <a:off x="4213726" y="3575904"/>
            <a:ext cx="3763545" cy="2840771"/>
          </a:xfrm>
          <a:prstGeom prst="rect">
            <a:avLst/>
          </a:prstGeom>
        </p:spPr>
        <p:txBody>
          <a:bodyPr tIns="0" rIns="0" bIns="0" numCol="1">
            <a:noAutofit/>
          </a:bodyPr>
          <a:lstStyle>
            <a:lvl1pPr marL="171450" indent="-171450">
              <a:lnSpc>
                <a:spcPct val="100000"/>
              </a:lnSpc>
              <a:spcBef>
                <a:spcPts val="0"/>
              </a:spcBef>
              <a:spcAft>
                <a:spcPts val="600"/>
              </a:spcAft>
              <a:buFont typeface="Arial" panose="020B0604020202020204" pitchFamily="34" charset="0"/>
              <a:buChar char="•"/>
              <a:defRPr sz="1400" b="0">
                <a:solidFill>
                  <a:schemeClr val="tx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Secondary text. </a:t>
            </a:r>
          </a:p>
        </p:txBody>
      </p:sp>
      <p:sp>
        <p:nvSpPr>
          <p:cNvPr id="18" name="Text Placeholder 6">
            <a:extLst>
              <a:ext uri="{FF2B5EF4-FFF2-40B4-BE49-F238E27FC236}">
                <a16:creationId xmlns:a16="http://schemas.microsoft.com/office/drawing/2014/main" id="{568F3A49-7287-1C4D-93C8-50E3C0B4F15A}"/>
              </a:ext>
            </a:extLst>
          </p:cNvPr>
          <p:cNvSpPr>
            <a:spLocks noGrp="1"/>
          </p:cNvSpPr>
          <p:nvPr>
            <p:ph type="body" sz="quarter" idx="19" hasCustomPrompt="1"/>
          </p:nvPr>
        </p:nvSpPr>
        <p:spPr>
          <a:xfrm>
            <a:off x="8099967" y="3575904"/>
            <a:ext cx="3763545" cy="2840771"/>
          </a:xfrm>
          <a:prstGeom prst="rect">
            <a:avLst/>
          </a:prstGeom>
        </p:spPr>
        <p:txBody>
          <a:bodyPr tIns="0" rIns="0" bIns="0" numCol="1">
            <a:noAutofit/>
          </a:bodyPr>
          <a:lstStyle>
            <a:lvl1pPr marL="171450" indent="-171450">
              <a:lnSpc>
                <a:spcPct val="100000"/>
              </a:lnSpc>
              <a:spcBef>
                <a:spcPts val="0"/>
              </a:spcBef>
              <a:spcAft>
                <a:spcPts val="600"/>
              </a:spcAft>
              <a:buFont typeface="Arial" panose="020B0604020202020204" pitchFamily="34" charset="0"/>
              <a:buChar char="•"/>
              <a:defRPr sz="1400" b="0">
                <a:solidFill>
                  <a:schemeClr val="tx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Secondary text. </a:t>
            </a:r>
          </a:p>
        </p:txBody>
      </p:sp>
      <p:sp>
        <p:nvSpPr>
          <p:cNvPr id="21" name="Footer Placeholder 8">
            <a:extLst>
              <a:ext uri="{FF2B5EF4-FFF2-40B4-BE49-F238E27FC236}">
                <a16:creationId xmlns:a16="http://schemas.microsoft.com/office/drawing/2014/main" id="{519BC59F-4516-0043-8BAC-F9FE45B6A9F4}"/>
              </a:ext>
            </a:extLst>
          </p:cNvPr>
          <p:cNvSpPr>
            <a:spLocks noGrp="1"/>
          </p:cNvSpPr>
          <p:nvPr>
            <p:ph type="ftr" sz="quarter" idx="3"/>
          </p:nvPr>
        </p:nvSpPr>
        <p:spPr>
          <a:xfrm>
            <a:off x="7766050" y="6523001"/>
            <a:ext cx="4114800" cy="196131"/>
          </a:xfrm>
          <a:prstGeom prst="rect">
            <a:avLst/>
          </a:prstGeom>
        </p:spPr>
        <p:txBody>
          <a:bodyPr vert="horz" lIns="91440" tIns="45720" rIns="0" bIns="45720" rtlCol="0" anchor="ctr"/>
          <a:lstStyle>
            <a:lvl1pPr algn="r">
              <a:defRPr sz="800" b="1" spc="100" baseline="0">
                <a:solidFill>
                  <a:schemeClr val="tx1"/>
                </a:solidFill>
              </a:defRPr>
            </a:lvl1pPr>
          </a:lstStyle>
          <a:p>
            <a:r>
              <a:rPr lang="en-JP"/>
              <a:t> </a:t>
            </a:r>
          </a:p>
        </p:txBody>
      </p:sp>
      <p:pic>
        <p:nvPicPr>
          <p:cNvPr id="14" name="Picture 13" descr="Takeda">
            <a:extLst>
              <a:ext uri="{FF2B5EF4-FFF2-40B4-BE49-F238E27FC236}">
                <a16:creationId xmlns:a16="http://schemas.microsoft.com/office/drawing/2014/main" id="{0E2D4ABB-BC5B-754B-B0DE-676246A385A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46331" y="-1615"/>
            <a:ext cx="1696232" cy="940780"/>
          </a:xfrm>
          <a:prstGeom prst="rect">
            <a:avLst/>
          </a:prstGeom>
        </p:spPr>
      </p:pic>
      <p:sp>
        <p:nvSpPr>
          <p:cNvPr id="24" name="タイトル プレースホルダ 1">
            <a:extLst>
              <a:ext uri="{FF2B5EF4-FFF2-40B4-BE49-F238E27FC236}">
                <a16:creationId xmlns:a16="http://schemas.microsoft.com/office/drawing/2014/main" id="{CC986DF6-9894-F144-B9DA-A9DBE0000AB8}"/>
              </a:ext>
            </a:extLst>
          </p:cNvPr>
          <p:cNvSpPr>
            <a:spLocks noGrp="1"/>
          </p:cNvSpPr>
          <p:nvPr>
            <p:ph type="title" hasCustomPrompt="1"/>
          </p:nvPr>
        </p:nvSpPr>
        <p:spPr>
          <a:xfrm>
            <a:off x="606078" y="161605"/>
            <a:ext cx="9940253" cy="685801"/>
          </a:xfrm>
          <a:prstGeom prst="rect">
            <a:avLst/>
          </a:prstGeom>
        </p:spPr>
        <p:txBody>
          <a:bodyPr vert="horz" lIns="0" tIns="0" rIns="0" bIns="0" rtlCol="0" anchor="ctr">
            <a:normAutofit/>
          </a:bodyPr>
          <a:lstStyle/>
          <a:p>
            <a:r>
              <a:rPr kumimoji="1" lang="en-US" altLang="ja-JP"/>
              <a:t>Click to add title</a:t>
            </a:r>
            <a:endParaRPr kumimoji="1" lang="ja-JP" altLang="en-US"/>
          </a:p>
        </p:txBody>
      </p:sp>
      <p:sp>
        <p:nvSpPr>
          <p:cNvPr id="23" name="Rectangle 22">
            <a:extLst>
              <a:ext uri="{FF2B5EF4-FFF2-40B4-BE49-F238E27FC236}">
                <a16:creationId xmlns:a16="http://schemas.microsoft.com/office/drawing/2014/main" id="{886528CE-2840-6C44-965A-04D8835743E3}"/>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a:solidFill>
                <a:schemeClr val="accent1"/>
              </a:solidFill>
            </a:endParaRPr>
          </a:p>
        </p:txBody>
      </p:sp>
      <p:sp>
        <p:nvSpPr>
          <p:cNvPr id="27" name="スライド番号プレースホルダ 5">
            <a:extLst>
              <a:ext uri="{FF2B5EF4-FFF2-40B4-BE49-F238E27FC236}">
                <a16:creationId xmlns:a16="http://schemas.microsoft.com/office/drawing/2014/main" id="{854E474F-30B0-604E-9699-287AC57CAAFA}"/>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8" name="Text Placeholder 6">
            <a:extLst>
              <a:ext uri="{FF2B5EF4-FFF2-40B4-BE49-F238E27FC236}">
                <a16:creationId xmlns:a16="http://schemas.microsoft.com/office/drawing/2014/main" id="{C9681050-C142-4F4F-B3C6-6F52F3C55CD6}"/>
              </a:ext>
            </a:extLst>
          </p:cNvPr>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Private and confidential. For internal use only.</a:t>
            </a:r>
          </a:p>
        </p:txBody>
      </p:sp>
      <p:sp>
        <p:nvSpPr>
          <p:cNvPr id="22" name="Text Placeholder 2">
            <a:extLst>
              <a:ext uri="{FF2B5EF4-FFF2-40B4-BE49-F238E27FC236}">
                <a16:creationId xmlns:a16="http://schemas.microsoft.com/office/drawing/2014/main" id="{110504E2-40F0-054E-8424-D247EF2CA216}"/>
              </a:ext>
            </a:extLst>
          </p:cNvPr>
          <p:cNvSpPr>
            <a:spLocks noGrp="1"/>
          </p:cNvSpPr>
          <p:nvPr>
            <p:ph type="body" sz="quarter" idx="20" hasCustomPrompt="1"/>
          </p:nvPr>
        </p:nvSpPr>
        <p:spPr>
          <a:xfrm>
            <a:off x="311151" y="1491373"/>
            <a:ext cx="11569700" cy="1464957"/>
          </a:xfrm>
        </p:spPr>
        <p:txBody>
          <a:bodyPr tIns="0" rIns="0" bIns="0" numCol="1" spcCol="126000">
            <a:noAutofit/>
          </a:bodyPr>
          <a:lstStyle>
            <a:lvl1pPr marL="0" indent="0">
              <a:lnSpc>
                <a:spcPct val="100000"/>
              </a:lnSpc>
              <a:spcBef>
                <a:spcPts val="0"/>
              </a:spcBef>
              <a:buNone/>
              <a:defRPr sz="1600" b="1"/>
            </a:lvl1pPr>
            <a:lvl2pPr marL="457068" indent="0">
              <a:buNone/>
              <a:defRPr sz="1800" b="1"/>
            </a:lvl2pPr>
            <a:lvl3pPr marL="914149" indent="0">
              <a:buNone/>
              <a:defRPr sz="1800" b="1"/>
            </a:lvl3pPr>
            <a:lvl4pPr marL="1371219" indent="0">
              <a:buNone/>
              <a:defRPr sz="1800" b="1"/>
            </a:lvl4pPr>
            <a:lvl5pPr marL="1828290" indent="0">
              <a:buNone/>
              <a:defRPr sz="1800" b="1"/>
            </a:lvl5pPr>
          </a:lstStyle>
          <a:p>
            <a:pPr lvl="0"/>
            <a:r>
              <a:rPr lang="en-US"/>
              <a:t>This is your Primary Text.</a:t>
            </a:r>
            <a:endParaRPr lang="en-JP"/>
          </a:p>
        </p:txBody>
      </p:sp>
      <p:sp>
        <p:nvSpPr>
          <p:cNvPr id="25" name="Text Placeholder 6">
            <a:extLst>
              <a:ext uri="{FF2B5EF4-FFF2-40B4-BE49-F238E27FC236}">
                <a16:creationId xmlns:a16="http://schemas.microsoft.com/office/drawing/2014/main" id="{073E75F2-7FFB-DC4C-8964-799372FCF583}"/>
              </a:ext>
            </a:extLst>
          </p:cNvPr>
          <p:cNvSpPr>
            <a:spLocks noGrp="1"/>
          </p:cNvSpPr>
          <p:nvPr>
            <p:ph type="body" sz="quarter" idx="21" hasCustomPrompt="1"/>
          </p:nvPr>
        </p:nvSpPr>
        <p:spPr>
          <a:xfrm>
            <a:off x="311150" y="1093767"/>
            <a:ext cx="11569700" cy="272786"/>
          </a:xfrm>
        </p:spPr>
        <p:txBody>
          <a:bodyPr tIns="0" rIns="0" bIns="0" numCol="1">
            <a:noAutofit/>
          </a:bodyPr>
          <a:lstStyle>
            <a:lvl1pPr marL="0" indent="0">
              <a:lnSpc>
                <a:spcPct val="100000"/>
              </a:lnSpc>
              <a:spcBef>
                <a:spcPts val="0"/>
              </a:spcBef>
              <a:spcAft>
                <a:spcPts val="600"/>
              </a:spcAft>
              <a:buNone/>
              <a:defRPr sz="20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Primary Title</a:t>
            </a:r>
          </a:p>
        </p:txBody>
      </p:sp>
    </p:spTree>
    <p:extLst>
      <p:ext uri="{BB962C8B-B14F-4D97-AF65-F5344CB8AC3E}">
        <p14:creationId xmlns:p14="http://schemas.microsoft.com/office/powerpoint/2010/main" val="2722010032"/>
      </p:ext>
    </p:extLst>
  </p:cSld>
  <p:clrMapOvr>
    <a:masterClrMapping/>
  </p:clrMapOvr>
  <p:transition spd="slow">
    <p:push dir="u"/>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Advanced 2/3 Image">
    <p:spTree>
      <p:nvGrpSpPr>
        <p:cNvPr id="1" name=""/>
        <p:cNvGrpSpPr/>
        <p:nvPr/>
      </p:nvGrpSpPr>
      <p:grpSpPr>
        <a:xfrm>
          <a:off x="0" y="0"/>
          <a:ext cx="0" cy="0"/>
          <a:chOff x="0" y="0"/>
          <a:chExt cx="0" cy="0"/>
        </a:xfrm>
      </p:grpSpPr>
      <p:sp>
        <p:nvSpPr>
          <p:cNvPr id="13" name="Picture Placeholder 9">
            <a:extLst>
              <a:ext uri="{FF2B5EF4-FFF2-40B4-BE49-F238E27FC236}">
                <a16:creationId xmlns:a16="http://schemas.microsoft.com/office/drawing/2014/main" id="{B3311DE3-EC35-4C49-805E-57AB2D90E99E}"/>
              </a:ext>
            </a:extLst>
          </p:cNvPr>
          <p:cNvSpPr>
            <a:spLocks noGrp="1"/>
          </p:cNvSpPr>
          <p:nvPr>
            <p:ph type="pic" sz="quarter" idx="10" hasCustomPrompt="1"/>
          </p:nvPr>
        </p:nvSpPr>
        <p:spPr>
          <a:xfrm>
            <a:off x="4210743" y="1093767"/>
            <a:ext cx="7988356" cy="5322908"/>
          </a:xfrm>
          <a:custGeom>
            <a:avLst/>
            <a:gdLst>
              <a:gd name="connsiteX0" fmla="*/ 0 w 10888662"/>
              <a:gd name="connsiteY0" fmla="*/ 579722 h 6442075"/>
              <a:gd name="connsiteX1" fmla="*/ 579722 w 10888662"/>
              <a:gd name="connsiteY1" fmla="*/ 0 h 6442075"/>
              <a:gd name="connsiteX2" fmla="*/ 10308940 w 10888662"/>
              <a:gd name="connsiteY2" fmla="*/ 0 h 6442075"/>
              <a:gd name="connsiteX3" fmla="*/ 10888662 w 10888662"/>
              <a:gd name="connsiteY3" fmla="*/ 579722 h 6442075"/>
              <a:gd name="connsiteX4" fmla="*/ 10888662 w 10888662"/>
              <a:gd name="connsiteY4" fmla="*/ 5862353 h 6442075"/>
              <a:gd name="connsiteX5" fmla="*/ 10308940 w 10888662"/>
              <a:gd name="connsiteY5" fmla="*/ 6442075 h 6442075"/>
              <a:gd name="connsiteX6" fmla="*/ 579722 w 10888662"/>
              <a:gd name="connsiteY6" fmla="*/ 6442075 h 6442075"/>
              <a:gd name="connsiteX7" fmla="*/ 0 w 10888662"/>
              <a:gd name="connsiteY7" fmla="*/ 5862353 h 6442075"/>
              <a:gd name="connsiteX8" fmla="*/ 0 w 10888662"/>
              <a:gd name="connsiteY8" fmla="*/ 579722 h 6442075"/>
              <a:gd name="connsiteX0" fmla="*/ 0 w 10888662"/>
              <a:gd name="connsiteY0" fmla="*/ 659657 h 6522010"/>
              <a:gd name="connsiteX1" fmla="*/ 10308940 w 10888662"/>
              <a:gd name="connsiteY1" fmla="*/ 79935 h 6522010"/>
              <a:gd name="connsiteX2" fmla="*/ 10888662 w 10888662"/>
              <a:gd name="connsiteY2" fmla="*/ 659657 h 6522010"/>
              <a:gd name="connsiteX3" fmla="*/ 10888662 w 10888662"/>
              <a:gd name="connsiteY3" fmla="*/ 5942288 h 6522010"/>
              <a:gd name="connsiteX4" fmla="*/ 10308940 w 10888662"/>
              <a:gd name="connsiteY4" fmla="*/ 6522010 h 6522010"/>
              <a:gd name="connsiteX5" fmla="*/ 579722 w 10888662"/>
              <a:gd name="connsiteY5" fmla="*/ 6522010 h 6522010"/>
              <a:gd name="connsiteX6" fmla="*/ 0 w 10888662"/>
              <a:gd name="connsiteY6" fmla="*/ 5942288 h 6522010"/>
              <a:gd name="connsiteX7" fmla="*/ 0 w 10888662"/>
              <a:gd name="connsiteY7" fmla="*/ 659657 h 6522010"/>
              <a:gd name="connsiteX0" fmla="*/ 0 w 10888662"/>
              <a:gd name="connsiteY0" fmla="*/ 579722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579722 h 6442075"/>
              <a:gd name="connsiteX0" fmla="*/ 0 w 10888662"/>
              <a:gd name="connsiteY0" fmla="*/ 129257 h 6569679"/>
              <a:gd name="connsiteX1" fmla="*/ 10308940 w 10888662"/>
              <a:gd name="connsiteY1" fmla="*/ 127604 h 6569679"/>
              <a:gd name="connsiteX2" fmla="*/ 10888662 w 10888662"/>
              <a:gd name="connsiteY2" fmla="*/ 707326 h 6569679"/>
              <a:gd name="connsiteX3" fmla="*/ 10888662 w 10888662"/>
              <a:gd name="connsiteY3" fmla="*/ 5989957 h 6569679"/>
              <a:gd name="connsiteX4" fmla="*/ 10308940 w 10888662"/>
              <a:gd name="connsiteY4" fmla="*/ 6569679 h 6569679"/>
              <a:gd name="connsiteX5" fmla="*/ 579722 w 10888662"/>
              <a:gd name="connsiteY5" fmla="*/ 6569679 h 6569679"/>
              <a:gd name="connsiteX6" fmla="*/ 0 w 10888662"/>
              <a:gd name="connsiteY6" fmla="*/ 5989957 h 6569679"/>
              <a:gd name="connsiteX7" fmla="*/ 0 w 10888662"/>
              <a:gd name="connsiteY7" fmla="*/ 129257 h 6569679"/>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9657299 w 10888662"/>
              <a:gd name="connsiteY4" fmla="*/ 55276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522010"/>
              <a:gd name="connsiteX1" fmla="*/ 10308940 w 10888662"/>
              <a:gd name="connsiteY1" fmla="*/ 0 h 6522010"/>
              <a:gd name="connsiteX2" fmla="*/ 10888662 w 10888662"/>
              <a:gd name="connsiteY2" fmla="*/ 579722 h 6522010"/>
              <a:gd name="connsiteX3" fmla="*/ 10888662 w 10888662"/>
              <a:gd name="connsiteY3" fmla="*/ 5862353 h 6522010"/>
              <a:gd name="connsiteX4" fmla="*/ 579722 w 10888662"/>
              <a:gd name="connsiteY4" fmla="*/ 6442075 h 6522010"/>
              <a:gd name="connsiteX5" fmla="*/ 0 w 10888662"/>
              <a:gd name="connsiteY5" fmla="*/ 5862353 h 6522010"/>
              <a:gd name="connsiteX6" fmla="*/ 0 w 10888662"/>
              <a:gd name="connsiteY6" fmla="*/ 1653 h 6522010"/>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579722 w 10888662"/>
              <a:gd name="connsiteY4" fmla="*/ 6442075 h 6442075"/>
              <a:gd name="connsiteX5" fmla="*/ 0 w 10888662"/>
              <a:gd name="connsiteY5" fmla="*/ 5862353 h 6442075"/>
              <a:gd name="connsiteX6" fmla="*/ 0 w 10888662"/>
              <a:gd name="connsiteY6" fmla="*/ 1653 h 6442075"/>
              <a:gd name="connsiteX0" fmla="*/ 0 w 10888662"/>
              <a:gd name="connsiteY0" fmla="*/ 1653 h 6585432"/>
              <a:gd name="connsiteX1" fmla="*/ 10308940 w 10888662"/>
              <a:gd name="connsiteY1" fmla="*/ 0 h 6585432"/>
              <a:gd name="connsiteX2" fmla="*/ 10888662 w 10888662"/>
              <a:gd name="connsiteY2" fmla="*/ 579722 h 6585432"/>
              <a:gd name="connsiteX3" fmla="*/ 10878151 w 10888662"/>
              <a:gd name="connsiteY3" fmla="*/ 6461442 h 6585432"/>
              <a:gd name="connsiteX4" fmla="*/ 579722 w 10888662"/>
              <a:gd name="connsiteY4" fmla="*/ 6442075 h 6585432"/>
              <a:gd name="connsiteX5" fmla="*/ 0 w 10888662"/>
              <a:gd name="connsiteY5" fmla="*/ 5862353 h 6585432"/>
              <a:gd name="connsiteX6" fmla="*/ 0 w 10888662"/>
              <a:gd name="connsiteY6" fmla="*/ 1653 h 6585432"/>
              <a:gd name="connsiteX0" fmla="*/ 0 w 10888662"/>
              <a:gd name="connsiteY0" fmla="*/ 1653 h 6577502"/>
              <a:gd name="connsiteX1" fmla="*/ 10308940 w 10888662"/>
              <a:gd name="connsiteY1" fmla="*/ 0 h 6577502"/>
              <a:gd name="connsiteX2" fmla="*/ 10888662 w 10888662"/>
              <a:gd name="connsiteY2" fmla="*/ 579722 h 6577502"/>
              <a:gd name="connsiteX3" fmla="*/ 10878151 w 10888662"/>
              <a:gd name="connsiteY3" fmla="*/ 6450932 h 6577502"/>
              <a:gd name="connsiteX4" fmla="*/ 579722 w 10888662"/>
              <a:gd name="connsiteY4" fmla="*/ 6442075 h 6577502"/>
              <a:gd name="connsiteX5" fmla="*/ 0 w 10888662"/>
              <a:gd name="connsiteY5" fmla="*/ 5862353 h 6577502"/>
              <a:gd name="connsiteX6" fmla="*/ 0 w 10888662"/>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0888662"/>
              <a:gd name="connsiteY0" fmla="*/ 1653 h 6450932"/>
              <a:gd name="connsiteX1" fmla="*/ 10308940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0999550"/>
              <a:gd name="connsiteY0" fmla="*/ 1653 h 6450932"/>
              <a:gd name="connsiteX1" fmla="*/ 10844968 w 10999550"/>
              <a:gd name="connsiteY1" fmla="*/ 0 h 6450932"/>
              <a:gd name="connsiteX2" fmla="*/ 10888662 w 10999550"/>
              <a:gd name="connsiteY2" fmla="*/ 579722 h 6450932"/>
              <a:gd name="connsiteX3" fmla="*/ 10878151 w 10999550"/>
              <a:gd name="connsiteY3" fmla="*/ 6450932 h 6450932"/>
              <a:gd name="connsiteX4" fmla="*/ 579722 w 10999550"/>
              <a:gd name="connsiteY4" fmla="*/ 6442075 h 6450932"/>
              <a:gd name="connsiteX5" fmla="*/ 0 w 10999550"/>
              <a:gd name="connsiteY5" fmla="*/ 5862353 h 6450932"/>
              <a:gd name="connsiteX6" fmla="*/ 0 w 10999550"/>
              <a:gd name="connsiteY6" fmla="*/ 1653 h 6450932"/>
              <a:gd name="connsiteX0" fmla="*/ 0 w 11022020"/>
              <a:gd name="connsiteY0" fmla="*/ 1653 h 6450932"/>
              <a:gd name="connsiteX1" fmla="*/ 10876499 w 11022020"/>
              <a:gd name="connsiteY1" fmla="*/ 0 h 6450932"/>
              <a:gd name="connsiteX2" fmla="*/ 10888662 w 11022020"/>
              <a:gd name="connsiteY2" fmla="*/ 579722 h 6450932"/>
              <a:gd name="connsiteX3" fmla="*/ 10878151 w 11022020"/>
              <a:gd name="connsiteY3" fmla="*/ 6450932 h 6450932"/>
              <a:gd name="connsiteX4" fmla="*/ 579722 w 11022020"/>
              <a:gd name="connsiteY4" fmla="*/ 6442075 h 6450932"/>
              <a:gd name="connsiteX5" fmla="*/ 0 w 11022020"/>
              <a:gd name="connsiteY5" fmla="*/ 5862353 h 6450932"/>
              <a:gd name="connsiteX6" fmla="*/ 0 w 11022020"/>
              <a:gd name="connsiteY6" fmla="*/ 1653 h 6450932"/>
              <a:gd name="connsiteX0" fmla="*/ 0 w 10888662"/>
              <a:gd name="connsiteY0" fmla="*/ 1653 h 6450932"/>
              <a:gd name="connsiteX1" fmla="*/ 10876499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2200990"/>
              <a:gd name="connsiteY0" fmla="*/ 1653 h 6450932"/>
              <a:gd name="connsiteX1" fmla="*/ 10876499 w 12200990"/>
              <a:gd name="connsiteY1" fmla="*/ 0 h 6450932"/>
              <a:gd name="connsiteX2" fmla="*/ 10878151 w 12200990"/>
              <a:gd name="connsiteY2" fmla="*/ 6450932 h 6450932"/>
              <a:gd name="connsiteX3" fmla="*/ 579722 w 12200990"/>
              <a:gd name="connsiteY3" fmla="*/ 6442075 h 6450932"/>
              <a:gd name="connsiteX4" fmla="*/ 0 w 12200990"/>
              <a:gd name="connsiteY4" fmla="*/ 5862353 h 6450932"/>
              <a:gd name="connsiteX5" fmla="*/ 0 w 12200990"/>
              <a:gd name="connsiteY5" fmla="*/ 1653 h 6450932"/>
              <a:gd name="connsiteX0" fmla="*/ 0 w 11640630"/>
              <a:gd name="connsiteY0" fmla="*/ 1653 h 6450932"/>
              <a:gd name="connsiteX1" fmla="*/ 10876499 w 11640630"/>
              <a:gd name="connsiteY1" fmla="*/ 0 h 6450932"/>
              <a:gd name="connsiteX2" fmla="*/ 10878151 w 11640630"/>
              <a:gd name="connsiteY2" fmla="*/ 6450932 h 6450932"/>
              <a:gd name="connsiteX3" fmla="*/ 579722 w 11640630"/>
              <a:gd name="connsiteY3" fmla="*/ 6442075 h 6450932"/>
              <a:gd name="connsiteX4" fmla="*/ 0 w 11640630"/>
              <a:gd name="connsiteY4" fmla="*/ 5862353 h 6450932"/>
              <a:gd name="connsiteX5" fmla="*/ 0 w 11640630"/>
              <a:gd name="connsiteY5" fmla="*/ 1653 h 6450932"/>
              <a:gd name="connsiteX0" fmla="*/ 0 w 10878151"/>
              <a:gd name="connsiteY0" fmla="*/ 1653 h 6450932"/>
              <a:gd name="connsiteX1" fmla="*/ 10876499 w 10878151"/>
              <a:gd name="connsiteY1" fmla="*/ 0 h 6450932"/>
              <a:gd name="connsiteX2" fmla="*/ 10878151 w 10878151"/>
              <a:gd name="connsiteY2" fmla="*/ 6450932 h 6450932"/>
              <a:gd name="connsiteX3" fmla="*/ 579722 w 10878151"/>
              <a:gd name="connsiteY3" fmla="*/ 6442075 h 6450932"/>
              <a:gd name="connsiteX4" fmla="*/ 0 w 10878151"/>
              <a:gd name="connsiteY4" fmla="*/ 5862353 h 6450932"/>
              <a:gd name="connsiteX5" fmla="*/ 0 w 10878151"/>
              <a:gd name="connsiteY5" fmla="*/ 1653 h 6450932"/>
              <a:gd name="connsiteX0" fmla="*/ 0 w 11843451"/>
              <a:gd name="connsiteY0" fmla="*/ 1653 h 6450932"/>
              <a:gd name="connsiteX1" fmla="*/ 11843451 w 11843451"/>
              <a:gd name="connsiteY1" fmla="*/ 0 h 6450932"/>
              <a:gd name="connsiteX2" fmla="*/ 10878151 w 11843451"/>
              <a:gd name="connsiteY2" fmla="*/ 6450932 h 6450932"/>
              <a:gd name="connsiteX3" fmla="*/ 579722 w 11843451"/>
              <a:gd name="connsiteY3" fmla="*/ 6442075 h 6450932"/>
              <a:gd name="connsiteX4" fmla="*/ 0 w 11843451"/>
              <a:gd name="connsiteY4" fmla="*/ 5862353 h 6450932"/>
              <a:gd name="connsiteX5" fmla="*/ 0 w 11843451"/>
              <a:gd name="connsiteY5" fmla="*/ 1653 h 6450932"/>
              <a:gd name="connsiteX0" fmla="*/ 0 w 11855613"/>
              <a:gd name="connsiteY0" fmla="*/ 1653 h 6450932"/>
              <a:gd name="connsiteX1" fmla="*/ 11843451 w 11855613"/>
              <a:gd name="connsiteY1" fmla="*/ 0 h 6450932"/>
              <a:gd name="connsiteX2" fmla="*/ 11855613 w 11855613"/>
              <a:gd name="connsiteY2" fmla="*/ 6450932 h 6450932"/>
              <a:gd name="connsiteX3" fmla="*/ 579722 w 11855613"/>
              <a:gd name="connsiteY3" fmla="*/ 6442075 h 6450932"/>
              <a:gd name="connsiteX4" fmla="*/ 0 w 11855613"/>
              <a:gd name="connsiteY4" fmla="*/ 5862353 h 6450932"/>
              <a:gd name="connsiteX5" fmla="*/ 0 w 11855613"/>
              <a:gd name="connsiteY5" fmla="*/ 1653 h 6450932"/>
              <a:gd name="connsiteX0" fmla="*/ 0 w 11864472"/>
              <a:gd name="connsiteY0" fmla="*/ 1653 h 6450932"/>
              <a:gd name="connsiteX1" fmla="*/ 11864472 w 11864472"/>
              <a:gd name="connsiteY1" fmla="*/ 0 h 6450932"/>
              <a:gd name="connsiteX2" fmla="*/ 11855613 w 11864472"/>
              <a:gd name="connsiteY2" fmla="*/ 6450932 h 6450932"/>
              <a:gd name="connsiteX3" fmla="*/ 579722 w 11864472"/>
              <a:gd name="connsiteY3" fmla="*/ 6442075 h 6450932"/>
              <a:gd name="connsiteX4" fmla="*/ 0 w 11864472"/>
              <a:gd name="connsiteY4" fmla="*/ 5862353 h 6450932"/>
              <a:gd name="connsiteX5" fmla="*/ 0 w 11864472"/>
              <a:gd name="connsiteY5" fmla="*/ 1653 h 6450932"/>
              <a:gd name="connsiteX0" fmla="*/ 0 w 11864472"/>
              <a:gd name="connsiteY0" fmla="*/ 1653 h 6442075"/>
              <a:gd name="connsiteX1" fmla="*/ 11864472 w 11864472"/>
              <a:gd name="connsiteY1" fmla="*/ 0 h 6442075"/>
              <a:gd name="connsiteX2" fmla="*/ 11855613 w 11864472"/>
              <a:gd name="connsiteY2" fmla="*/ 6440421 h 6442075"/>
              <a:gd name="connsiteX3" fmla="*/ 579722 w 11864472"/>
              <a:gd name="connsiteY3" fmla="*/ 6442075 h 6442075"/>
              <a:gd name="connsiteX4" fmla="*/ 0 w 11864472"/>
              <a:gd name="connsiteY4" fmla="*/ 5862353 h 6442075"/>
              <a:gd name="connsiteX5" fmla="*/ 0 w 11864472"/>
              <a:gd name="connsiteY5" fmla="*/ 1653 h 6442075"/>
              <a:gd name="connsiteX0" fmla="*/ 0 w 11855613"/>
              <a:gd name="connsiteY0" fmla="*/ 1653 h 6442075"/>
              <a:gd name="connsiteX1" fmla="*/ 8912928 w 11855613"/>
              <a:gd name="connsiteY1" fmla="*/ 0 h 6442075"/>
              <a:gd name="connsiteX2" fmla="*/ 11855613 w 11855613"/>
              <a:gd name="connsiteY2" fmla="*/ 6440421 h 6442075"/>
              <a:gd name="connsiteX3" fmla="*/ 579722 w 11855613"/>
              <a:gd name="connsiteY3" fmla="*/ 6442075 h 6442075"/>
              <a:gd name="connsiteX4" fmla="*/ 0 w 11855613"/>
              <a:gd name="connsiteY4" fmla="*/ 5862353 h 6442075"/>
              <a:gd name="connsiteX5" fmla="*/ 0 w 11855613"/>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74032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36077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1615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15642"/>
              <a:gd name="connsiteY0" fmla="*/ 1653 h 6442075"/>
              <a:gd name="connsiteX1" fmla="*/ 8912928 w 8915642"/>
              <a:gd name="connsiteY1" fmla="*/ 0 h 6442075"/>
              <a:gd name="connsiteX2" fmla="*/ 8915642 w 8915642"/>
              <a:gd name="connsiteY2" fmla="*/ 6440421 h 6442075"/>
              <a:gd name="connsiteX3" fmla="*/ 579722 w 8915642"/>
              <a:gd name="connsiteY3" fmla="*/ 6442075 h 6442075"/>
              <a:gd name="connsiteX4" fmla="*/ 0 w 8915642"/>
              <a:gd name="connsiteY4" fmla="*/ 5862353 h 6442075"/>
              <a:gd name="connsiteX5" fmla="*/ 0 w 8915642"/>
              <a:gd name="connsiteY5" fmla="*/ 1653 h 6442075"/>
              <a:gd name="connsiteX0" fmla="*/ 0 w 8915642"/>
              <a:gd name="connsiteY0" fmla="*/ 1 h 6633463"/>
              <a:gd name="connsiteX1" fmla="*/ 8912928 w 8915642"/>
              <a:gd name="connsiteY1" fmla="*/ 191388 h 6633463"/>
              <a:gd name="connsiteX2" fmla="*/ 8915642 w 8915642"/>
              <a:gd name="connsiteY2" fmla="*/ 6631809 h 6633463"/>
              <a:gd name="connsiteX3" fmla="*/ 579722 w 8915642"/>
              <a:gd name="connsiteY3" fmla="*/ 6633463 h 6633463"/>
              <a:gd name="connsiteX4" fmla="*/ 0 w 8915642"/>
              <a:gd name="connsiteY4" fmla="*/ 6053741 h 6633463"/>
              <a:gd name="connsiteX5" fmla="*/ 0 w 8915642"/>
              <a:gd name="connsiteY5" fmla="*/ 1 h 6633463"/>
              <a:gd name="connsiteX0" fmla="*/ 0 w 8933278"/>
              <a:gd name="connsiteY0" fmla="*/ 1653 h 6635115"/>
              <a:gd name="connsiteX1" fmla="*/ 8933248 w 8933278"/>
              <a:gd name="connsiteY1" fmla="*/ 0 h 6635115"/>
              <a:gd name="connsiteX2" fmla="*/ 8915642 w 8933278"/>
              <a:gd name="connsiteY2" fmla="*/ 6633461 h 6635115"/>
              <a:gd name="connsiteX3" fmla="*/ 579722 w 8933278"/>
              <a:gd name="connsiteY3" fmla="*/ 6635115 h 6635115"/>
              <a:gd name="connsiteX4" fmla="*/ 0 w 8933278"/>
              <a:gd name="connsiteY4" fmla="*/ 6055393 h 6635115"/>
              <a:gd name="connsiteX5" fmla="*/ 0 w 8933278"/>
              <a:gd name="connsiteY5" fmla="*/ 1653 h 6635115"/>
              <a:gd name="connsiteX0" fmla="*/ 0 w 8933323"/>
              <a:gd name="connsiteY0" fmla="*/ 1653 h 6645336"/>
              <a:gd name="connsiteX1" fmla="*/ 8933248 w 8933323"/>
              <a:gd name="connsiteY1" fmla="*/ 0 h 6645336"/>
              <a:gd name="connsiteX2" fmla="*/ 8927517 w 8933323"/>
              <a:gd name="connsiteY2" fmla="*/ 6645336 h 6645336"/>
              <a:gd name="connsiteX3" fmla="*/ 579722 w 8933323"/>
              <a:gd name="connsiteY3" fmla="*/ 6635115 h 6645336"/>
              <a:gd name="connsiteX4" fmla="*/ 0 w 8933323"/>
              <a:gd name="connsiteY4" fmla="*/ 6055393 h 6645336"/>
              <a:gd name="connsiteX5" fmla="*/ 0 w 8933323"/>
              <a:gd name="connsiteY5" fmla="*/ 1653 h 6645336"/>
              <a:gd name="connsiteX0" fmla="*/ 0 w 8927517"/>
              <a:gd name="connsiteY0" fmla="*/ 1653 h 6645336"/>
              <a:gd name="connsiteX1" fmla="*/ 7971347 w 8927517"/>
              <a:gd name="connsiteY1" fmla="*/ 0 h 6645336"/>
              <a:gd name="connsiteX2" fmla="*/ 8927517 w 8927517"/>
              <a:gd name="connsiteY2" fmla="*/ 6645336 h 6645336"/>
              <a:gd name="connsiteX3" fmla="*/ 579722 w 8927517"/>
              <a:gd name="connsiteY3" fmla="*/ 6635115 h 6645336"/>
              <a:gd name="connsiteX4" fmla="*/ 0 w 8927517"/>
              <a:gd name="connsiteY4" fmla="*/ 6055393 h 6645336"/>
              <a:gd name="connsiteX5" fmla="*/ 0 w 8927517"/>
              <a:gd name="connsiteY5" fmla="*/ 1653 h 6645336"/>
              <a:gd name="connsiteX0" fmla="*/ 0 w 7971422"/>
              <a:gd name="connsiteY0" fmla="*/ 1653 h 6645336"/>
              <a:gd name="connsiteX1" fmla="*/ 7971347 w 7971422"/>
              <a:gd name="connsiteY1" fmla="*/ 0 h 6645336"/>
              <a:gd name="connsiteX2" fmla="*/ 7965616 w 7971422"/>
              <a:gd name="connsiteY2" fmla="*/ 6645336 h 6645336"/>
              <a:gd name="connsiteX3" fmla="*/ 579722 w 7971422"/>
              <a:gd name="connsiteY3" fmla="*/ 6635115 h 6645336"/>
              <a:gd name="connsiteX4" fmla="*/ 0 w 7971422"/>
              <a:gd name="connsiteY4" fmla="*/ 6055393 h 6645336"/>
              <a:gd name="connsiteX5" fmla="*/ 0 w 7971422"/>
              <a:gd name="connsiteY5" fmla="*/ 1653 h 6645336"/>
              <a:gd name="connsiteX0" fmla="*/ 0 w 7971422"/>
              <a:gd name="connsiteY0" fmla="*/ 1301816 h 6645336"/>
              <a:gd name="connsiteX1" fmla="*/ 7971347 w 7971422"/>
              <a:gd name="connsiteY1" fmla="*/ 0 h 6645336"/>
              <a:gd name="connsiteX2" fmla="*/ 7965616 w 7971422"/>
              <a:gd name="connsiteY2" fmla="*/ 6645336 h 6645336"/>
              <a:gd name="connsiteX3" fmla="*/ 579722 w 7971422"/>
              <a:gd name="connsiteY3" fmla="*/ 6635115 h 6645336"/>
              <a:gd name="connsiteX4" fmla="*/ 0 w 7971422"/>
              <a:gd name="connsiteY4" fmla="*/ 6055393 h 6645336"/>
              <a:gd name="connsiteX5" fmla="*/ 0 w 7971422"/>
              <a:gd name="connsiteY5" fmla="*/ 1301816 h 6645336"/>
              <a:gd name="connsiteX0" fmla="*/ 0 w 7965616"/>
              <a:gd name="connsiteY0" fmla="*/ 1653 h 5345173"/>
              <a:gd name="connsiteX1" fmla="*/ 7957060 w 7965616"/>
              <a:gd name="connsiteY1" fmla="*/ 0 h 5345173"/>
              <a:gd name="connsiteX2" fmla="*/ 7965616 w 7965616"/>
              <a:gd name="connsiteY2" fmla="*/ 5345173 h 5345173"/>
              <a:gd name="connsiteX3" fmla="*/ 579722 w 7965616"/>
              <a:gd name="connsiteY3" fmla="*/ 5334952 h 5345173"/>
              <a:gd name="connsiteX4" fmla="*/ 0 w 7965616"/>
              <a:gd name="connsiteY4" fmla="*/ 4755230 h 5345173"/>
              <a:gd name="connsiteX5" fmla="*/ 0 w 7965616"/>
              <a:gd name="connsiteY5" fmla="*/ 1653 h 5345173"/>
              <a:gd name="connsiteX0" fmla="*/ 0 w 7971422"/>
              <a:gd name="connsiteY0" fmla="*/ 1653 h 5345173"/>
              <a:gd name="connsiteX1" fmla="*/ 7971347 w 7971422"/>
              <a:gd name="connsiteY1" fmla="*/ 0 h 5345173"/>
              <a:gd name="connsiteX2" fmla="*/ 7965616 w 7971422"/>
              <a:gd name="connsiteY2" fmla="*/ 5345173 h 5345173"/>
              <a:gd name="connsiteX3" fmla="*/ 579722 w 7971422"/>
              <a:gd name="connsiteY3" fmla="*/ 5334952 h 5345173"/>
              <a:gd name="connsiteX4" fmla="*/ 0 w 7971422"/>
              <a:gd name="connsiteY4" fmla="*/ 4755230 h 5345173"/>
              <a:gd name="connsiteX5" fmla="*/ 0 w 7971422"/>
              <a:gd name="connsiteY5" fmla="*/ 1653 h 5345173"/>
              <a:gd name="connsiteX0" fmla="*/ 0 w 7988356"/>
              <a:gd name="connsiteY0" fmla="*/ 187920 h 5345173"/>
              <a:gd name="connsiteX1" fmla="*/ 7988281 w 7988356"/>
              <a:gd name="connsiteY1" fmla="*/ 0 h 5345173"/>
              <a:gd name="connsiteX2" fmla="*/ 7982550 w 7988356"/>
              <a:gd name="connsiteY2" fmla="*/ 5345173 h 5345173"/>
              <a:gd name="connsiteX3" fmla="*/ 596656 w 7988356"/>
              <a:gd name="connsiteY3" fmla="*/ 5334952 h 5345173"/>
              <a:gd name="connsiteX4" fmla="*/ 16934 w 7988356"/>
              <a:gd name="connsiteY4" fmla="*/ 4755230 h 5345173"/>
              <a:gd name="connsiteX5" fmla="*/ 0 w 7988356"/>
              <a:gd name="connsiteY5" fmla="*/ 187920 h 5345173"/>
              <a:gd name="connsiteX0" fmla="*/ 0 w 7988356"/>
              <a:gd name="connsiteY0" fmla="*/ 210145 h 5345173"/>
              <a:gd name="connsiteX1" fmla="*/ 7988281 w 7988356"/>
              <a:gd name="connsiteY1" fmla="*/ 0 h 5345173"/>
              <a:gd name="connsiteX2" fmla="*/ 7982550 w 7988356"/>
              <a:gd name="connsiteY2" fmla="*/ 5345173 h 5345173"/>
              <a:gd name="connsiteX3" fmla="*/ 596656 w 7988356"/>
              <a:gd name="connsiteY3" fmla="*/ 5334952 h 5345173"/>
              <a:gd name="connsiteX4" fmla="*/ 16934 w 7988356"/>
              <a:gd name="connsiteY4" fmla="*/ 4755230 h 5345173"/>
              <a:gd name="connsiteX5" fmla="*/ 0 w 7988356"/>
              <a:gd name="connsiteY5" fmla="*/ 210145 h 5345173"/>
              <a:gd name="connsiteX0" fmla="*/ 0 w 7988356"/>
              <a:gd name="connsiteY0" fmla="*/ 0 h 5135028"/>
              <a:gd name="connsiteX1" fmla="*/ 7988281 w 7988356"/>
              <a:gd name="connsiteY1" fmla="*/ 7569 h 5135028"/>
              <a:gd name="connsiteX2" fmla="*/ 7982550 w 7988356"/>
              <a:gd name="connsiteY2" fmla="*/ 5135028 h 5135028"/>
              <a:gd name="connsiteX3" fmla="*/ 596656 w 7988356"/>
              <a:gd name="connsiteY3" fmla="*/ 5124807 h 5135028"/>
              <a:gd name="connsiteX4" fmla="*/ 16934 w 7988356"/>
              <a:gd name="connsiteY4" fmla="*/ 4545085 h 5135028"/>
              <a:gd name="connsiteX5" fmla="*/ 0 w 7988356"/>
              <a:gd name="connsiteY5" fmla="*/ 0 h 51350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988356" h="5135028">
                <a:moveTo>
                  <a:pt x="0" y="0"/>
                </a:moveTo>
                <a:lnTo>
                  <a:pt x="7988281" y="7569"/>
                </a:lnTo>
                <a:cubicBezTo>
                  <a:pt x="7989186" y="2154376"/>
                  <a:pt x="7981645" y="2988221"/>
                  <a:pt x="7982550" y="5135028"/>
                </a:cubicBezTo>
                <a:lnTo>
                  <a:pt x="596656" y="5124807"/>
                </a:lnTo>
                <a:cubicBezTo>
                  <a:pt x="276484" y="5124807"/>
                  <a:pt x="16934" y="4865257"/>
                  <a:pt x="16934" y="4545085"/>
                </a:cubicBezTo>
                <a:cubicBezTo>
                  <a:pt x="11289" y="3022648"/>
                  <a:pt x="5645" y="1522437"/>
                  <a:pt x="0" y="0"/>
                </a:cubicBezTo>
                <a:close/>
              </a:path>
            </a:pathLst>
          </a:custGeom>
          <a:noFill/>
        </p:spPr>
        <p:txBody>
          <a:bodyPr>
            <a:normAutofit/>
          </a:bodyPr>
          <a:lstStyle>
            <a:lvl1pPr marL="0" indent="0">
              <a:buNone/>
              <a:defRPr sz="1400">
                <a:solidFill>
                  <a:schemeClr val="tx1"/>
                </a:solidFill>
              </a:defRPr>
            </a:lvl1pPr>
          </a:lstStyle>
          <a:p>
            <a:r>
              <a:rPr lang="en-JP"/>
              <a:t>Insert Photo</a:t>
            </a:r>
          </a:p>
        </p:txBody>
      </p:sp>
      <p:sp>
        <p:nvSpPr>
          <p:cNvPr id="7" name="Text Placeholder 6">
            <a:extLst>
              <a:ext uri="{FF2B5EF4-FFF2-40B4-BE49-F238E27FC236}">
                <a16:creationId xmlns:a16="http://schemas.microsoft.com/office/drawing/2014/main" id="{65925D82-457F-D84D-B8DF-D8ADFD7E71DF}"/>
              </a:ext>
            </a:extLst>
          </p:cNvPr>
          <p:cNvSpPr>
            <a:spLocks noGrp="1"/>
          </p:cNvSpPr>
          <p:nvPr>
            <p:ph type="body" sz="quarter" idx="14" hasCustomPrompt="1"/>
          </p:nvPr>
        </p:nvSpPr>
        <p:spPr>
          <a:xfrm>
            <a:off x="311150" y="3178298"/>
            <a:ext cx="3751966" cy="272786"/>
          </a:xfrm>
          <a:prstGeom prst="rect">
            <a:avLst/>
          </a:prstGeom>
        </p:spPr>
        <p:txBody>
          <a:bodyPr tIns="0" rIns="0" bIns="0" numCol="1">
            <a:noAutofit/>
          </a:bodyPr>
          <a:lstStyle>
            <a:lvl1pPr marL="0" indent="0">
              <a:lnSpc>
                <a:spcPct val="100000"/>
              </a:lnSpc>
              <a:spcBef>
                <a:spcPts val="0"/>
              </a:spcBef>
              <a:spcAft>
                <a:spcPts val="600"/>
              </a:spcAft>
              <a:buNone/>
              <a:defRPr sz="18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Secondary Title</a:t>
            </a:r>
          </a:p>
        </p:txBody>
      </p:sp>
      <p:sp>
        <p:nvSpPr>
          <p:cNvPr id="12" name="Text Placeholder 6">
            <a:extLst>
              <a:ext uri="{FF2B5EF4-FFF2-40B4-BE49-F238E27FC236}">
                <a16:creationId xmlns:a16="http://schemas.microsoft.com/office/drawing/2014/main" id="{FD2406EE-A554-5348-AE6D-4D8B343E6201}"/>
              </a:ext>
            </a:extLst>
          </p:cNvPr>
          <p:cNvSpPr>
            <a:spLocks noGrp="1"/>
          </p:cNvSpPr>
          <p:nvPr>
            <p:ph type="body" sz="quarter" idx="15" hasCustomPrompt="1"/>
          </p:nvPr>
        </p:nvSpPr>
        <p:spPr>
          <a:xfrm>
            <a:off x="311150" y="3575904"/>
            <a:ext cx="3751966" cy="2840771"/>
          </a:xfrm>
          <a:prstGeom prst="rect">
            <a:avLst/>
          </a:prstGeom>
        </p:spPr>
        <p:txBody>
          <a:bodyPr tIns="0" rIns="0" bIns="0" numCol="1">
            <a:noAutofit/>
          </a:bodyPr>
          <a:lstStyle>
            <a:lvl1pPr marL="171450" indent="-171450">
              <a:lnSpc>
                <a:spcPct val="100000"/>
              </a:lnSpc>
              <a:spcBef>
                <a:spcPts val="0"/>
              </a:spcBef>
              <a:spcAft>
                <a:spcPts val="600"/>
              </a:spcAft>
              <a:buFont typeface="Arial" panose="020B0604020202020204" pitchFamily="34" charset="0"/>
              <a:buChar char="•"/>
              <a:defRPr sz="1400" b="0">
                <a:solidFill>
                  <a:schemeClr val="tx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Secondary text. </a:t>
            </a:r>
          </a:p>
        </p:txBody>
      </p:sp>
      <p:sp>
        <p:nvSpPr>
          <p:cNvPr id="20" name="Footer Placeholder 8">
            <a:extLst>
              <a:ext uri="{FF2B5EF4-FFF2-40B4-BE49-F238E27FC236}">
                <a16:creationId xmlns:a16="http://schemas.microsoft.com/office/drawing/2014/main" id="{E4ACE247-6DA5-F044-A880-12BDFE14907B}"/>
              </a:ext>
            </a:extLst>
          </p:cNvPr>
          <p:cNvSpPr>
            <a:spLocks noGrp="1"/>
          </p:cNvSpPr>
          <p:nvPr>
            <p:ph type="ftr" sz="quarter" idx="3"/>
          </p:nvPr>
        </p:nvSpPr>
        <p:spPr>
          <a:xfrm>
            <a:off x="7766050" y="6523001"/>
            <a:ext cx="4114800" cy="196131"/>
          </a:xfrm>
          <a:prstGeom prst="rect">
            <a:avLst/>
          </a:prstGeom>
        </p:spPr>
        <p:txBody>
          <a:bodyPr vert="horz" lIns="91440" tIns="45720" rIns="0" bIns="45720" rtlCol="0" anchor="ctr"/>
          <a:lstStyle>
            <a:lvl1pPr algn="r">
              <a:defRPr sz="800" b="1" spc="100" baseline="0">
                <a:solidFill>
                  <a:schemeClr val="tx1"/>
                </a:solidFill>
              </a:defRPr>
            </a:lvl1pPr>
          </a:lstStyle>
          <a:p>
            <a:r>
              <a:rPr lang="en-JP"/>
              <a:t> </a:t>
            </a:r>
          </a:p>
        </p:txBody>
      </p:sp>
      <p:pic>
        <p:nvPicPr>
          <p:cNvPr id="14" name="Picture 13" descr="Takeda">
            <a:extLst>
              <a:ext uri="{FF2B5EF4-FFF2-40B4-BE49-F238E27FC236}">
                <a16:creationId xmlns:a16="http://schemas.microsoft.com/office/drawing/2014/main" id="{1397373C-4723-444D-99E3-0FBCAFDAD4F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46331" y="-1615"/>
            <a:ext cx="1696232" cy="940780"/>
          </a:xfrm>
          <a:prstGeom prst="rect">
            <a:avLst/>
          </a:prstGeom>
        </p:spPr>
      </p:pic>
      <p:sp>
        <p:nvSpPr>
          <p:cNvPr id="22" name="タイトル プレースホルダ 1">
            <a:extLst>
              <a:ext uri="{FF2B5EF4-FFF2-40B4-BE49-F238E27FC236}">
                <a16:creationId xmlns:a16="http://schemas.microsoft.com/office/drawing/2014/main" id="{1545CFCD-ABA6-1349-9917-1DDD2762CB59}"/>
              </a:ext>
            </a:extLst>
          </p:cNvPr>
          <p:cNvSpPr>
            <a:spLocks noGrp="1"/>
          </p:cNvSpPr>
          <p:nvPr>
            <p:ph type="title" hasCustomPrompt="1"/>
          </p:nvPr>
        </p:nvSpPr>
        <p:spPr>
          <a:xfrm>
            <a:off x="606078" y="161605"/>
            <a:ext cx="9940253" cy="685801"/>
          </a:xfrm>
          <a:prstGeom prst="rect">
            <a:avLst/>
          </a:prstGeom>
        </p:spPr>
        <p:txBody>
          <a:bodyPr vert="horz" lIns="0" tIns="0" rIns="0" bIns="0" rtlCol="0" anchor="ctr">
            <a:normAutofit/>
          </a:bodyPr>
          <a:lstStyle/>
          <a:p>
            <a:r>
              <a:rPr kumimoji="1" lang="en-US" altLang="ja-JP"/>
              <a:t>Click to add title</a:t>
            </a:r>
            <a:endParaRPr kumimoji="1" lang="ja-JP" altLang="en-US"/>
          </a:p>
        </p:txBody>
      </p:sp>
      <p:sp>
        <p:nvSpPr>
          <p:cNvPr id="21" name="Rectangle 20">
            <a:extLst>
              <a:ext uri="{FF2B5EF4-FFF2-40B4-BE49-F238E27FC236}">
                <a16:creationId xmlns:a16="http://schemas.microsoft.com/office/drawing/2014/main" id="{97730F84-B57E-C441-B81C-A0677388FA64}"/>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a:solidFill>
                <a:schemeClr val="accent1"/>
              </a:solidFill>
            </a:endParaRPr>
          </a:p>
        </p:txBody>
      </p:sp>
      <p:sp>
        <p:nvSpPr>
          <p:cNvPr id="25" name="スライド番号プレースホルダ 5">
            <a:extLst>
              <a:ext uri="{FF2B5EF4-FFF2-40B4-BE49-F238E27FC236}">
                <a16:creationId xmlns:a16="http://schemas.microsoft.com/office/drawing/2014/main" id="{78815F79-70B9-A343-88C1-1B41F15106A1}"/>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6" name="Text Placeholder 6">
            <a:extLst>
              <a:ext uri="{FF2B5EF4-FFF2-40B4-BE49-F238E27FC236}">
                <a16:creationId xmlns:a16="http://schemas.microsoft.com/office/drawing/2014/main" id="{6ACFB15D-3880-FB46-8B5A-E057FE4C9B56}"/>
              </a:ext>
            </a:extLst>
          </p:cNvPr>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Private and confidential. For internal use only.</a:t>
            </a:r>
          </a:p>
        </p:txBody>
      </p:sp>
      <p:sp>
        <p:nvSpPr>
          <p:cNvPr id="17" name="Text Placeholder 2">
            <a:extLst>
              <a:ext uri="{FF2B5EF4-FFF2-40B4-BE49-F238E27FC236}">
                <a16:creationId xmlns:a16="http://schemas.microsoft.com/office/drawing/2014/main" id="{EF3CD883-F623-E54C-A27A-38B7EB957052}"/>
              </a:ext>
            </a:extLst>
          </p:cNvPr>
          <p:cNvSpPr>
            <a:spLocks noGrp="1"/>
          </p:cNvSpPr>
          <p:nvPr>
            <p:ph type="body" sz="quarter" idx="20" hasCustomPrompt="1"/>
          </p:nvPr>
        </p:nvSpPr>
        <p:spPr>
          <a:xfrm>
            <a:off x="311151" y="1491373"/>
            <a:ext cx="3751965" cy="1464957"/>
          </a:xfrm>
        </p:spPr>
        <p:txBody>
          <a:bodyPr tIns="0" rIns="0" bIns="0" numCol="1" spcCol="126000">
            <a:noAutofit/>
          </a:bodyPr>
          <a:lstStyle>
            <a:lvl1pPr marL="0" indent="0">
              <a:lnSpc>
                <a:spcPct val="100000"/>
              </a:lnSpc>
              <a:spcBef>
                <a:spcPts val="0"/>
              </a:spcBef>
              <a:buNone/>
              <a:defRPr sz="1600" b="1"/>
            </a:lvl1pPr>
            <a:lvl2pPr marL="457068" indent="0">
              <a:buNone/>
              <a:defRPr sz="1800" b="1"/>
            </a:lvl2pPr>
            <a:lvl3pPr marL="914149" indent="0">
              <a:buNone/>
              <a:defRPr sz="1800" b="1"/>
            </a:lvl3pPr>
            <a:lvl4pPr marL="1371219" indent="0">
              <a:buNone/>
              <a:defRPr sz="1800" b="1"/>
            </a:lvl4pPr>
            <a:lvl5pPr marL="1828290" indent="0">
              <a:buNone/>
              <a:defRPr sz="1800" b="1"/>
            </a:lvl5pPr>
          </a:lstStyle>
          <a:p>
            <a:pPr lvl="0"/>
            <a:r>
              <a:rPr lang="en-US"/>
              <a:t>This is your Primary Text.</a:t>
            </a:r>
            <a:endParaRPr lang="en-JP"/>
          </a:p>
        </p:txBody>
      </p:sp>
      <p:sp>
        <p:nvSpPr>
          <p:cNvPr id="18" name="Text Placeholder 6">
            <a:extLst>
              <a:ext uri="{FF2B5EF4-FFF2-40B4-BE49-F238E27FC236}">
                <a16:creationId xmlns:a16="http://schemas.microsoft.com/office/drawing/2014/main" id="{B2D601E3-CC68-7845-AAF4-3AD141198B4E}"/>
              </a:ext>
            </a:extLst>
          </p:cNvPr>
          <p:cNvSpPr>
            <a:spLocks noGrp="1"/>
          </p:cNvSpPr>
          <p:nvPr>
            <p:ph type="body" sz="quarter" idx="21" hasCustomPrompt="1"/>
          </p:nvPr>
        </p:nvSpPr>
        <p:spPr>
          <a:xfrm>
            <a:off x="311150" y="1093767"/>
            <a:ext cx="3751965" cy="272786"/>
          </a:xfrm>
        </p:spPr>
        <p:txBody>
          <a:bodyPr tIns="0" rIns="0" bIns="0" numCol="1">
            <a:noAutofit/>
          </a:bodyPr>
          <a:lstStyle>
            <a:lvl1pPr marL="0" indent="0">
              <a:lnSpc>
                <a:spcPct val="100000"/>
              </a:lnSpc>
              <a:spcBef>
                <a:spcPts val="0"/>
              </a:spcBef>
              <a:spcAft>
                <a:spcPts val="600"/>
              </a:spcAft>
              <a:buNone/>
              <a:defRPr sz="20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Primary Title</a:t>
            </a:r>
          </a:p>
        </p:txBody>
      </p:sp>
    </p:spTree>
    <p:extLst>
      <p:ext uri="{BB962C8B-B14F-4D97-AF65-F5344CB8AC3E}">
        <p14:creationId xmlns:p14="http://schemas.microsoft.com/office/powerpoint/2010/main" val="245179299"/>
      </p:ext>
    </p:extLst>
  </p:cSld>
  <p:clrMapOvr>
    <a:masterClrMapping/>
  </p:clrMapOvr>
  <p:transition spd="slow">
    <p:push dir="u"/>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Advanced 1/2 Image (Full Bleed)">
    <p:spTree>
      <p:nvGrpSpPr>
        <p:cNvPr id="1" name=""/>
        <p:cNvGrpSpPr/>
        <p:nvPr/>
      </p:nvGrpSpPr>
      <p:grpSpPr>
        <a:xfrm>
          <a:off x="0" y="0"/>
          <a:ext cx="0" cy="0"/>
          <a:chOff x="0" y="0"/>
          <a:chExt cx="0" cy="0"/>
        </a:xfrm>
      </p:grpSpPr>
      <p:sp>
        <p:nvSpPr>
          <p:cNvPr id="13" name="Picture Placeholder 9">
            <a:extLst>
              <a:ext uri="{FF2B5EF4-FFF2-40B4-BE49-F238E27FC236}">
                <a16:creationId xmlns:a16="http://schemas.microsoft.com/office/drawing/2014/main" id="{DA0F537B-2380-C640-8119-936AD7786464}"/>
              </a:ext>
            </a:extLst>
          </p:cNvPr>
          <p:cNvSpPr>
            <a:spLocks noGrp="1"/>
          </p:cNvSpPr>
          <p:nvPr>
            <p:ph type="pic" sz="quarter" idx="18" hasCustomPrompt="1"/>
          </p:nvPr>
        </p:nvSpPr>
        <p:spPr>
          <a:xfrm>
            <a:off x="6185454" y="-5494"/>
            <a:ext cx="6024384" cy="6863494"/>
          </a:xfrm>
          <a:custGeom>
            <a:avLst/>
            <a:gdLst>
              <a:gd name="connsiteX0" fmla="*/ 0 w 10888662"/>
              <a:gd name="connsiteY0" fmla="*/ 579722 h 6442075"/>
              <a:gd name="connsiteX1" fmla="*/ 579722 w 10888662"/>
              <a:gd name="connsiteY1" fmla="*/ 0 h 6442075"/>
              <a:gd name="connsiteX2" fmla="*/ 10308940 w 10888662"/>
              <a:gd name="connsiteY2" fmla="*/ 0 h 6442075"/>
              <a:gd name="connsiteX3" fmla="*/ 10888662 w 10888662"/>
              <a:gd name="connsiteY3" fmla="*/ 579722 h 6442075"/>
              <a:gd name="connsiteX4" fmla="*/ 10888662 w 10888662"/>
              <a:gd name="connsiteY4" fmla="*/ 5862353 h 6442075"/>
              <a:gd name="connsiteX5" fmla="*/ 10308940 w 10888662"/>
              <a:gd name="connsiteY5" fmla="*/ 6442075 h 6442075"/>
              <a:gd name="connsiteX6" fmla="*/ 579722 w 10888662"/>
              <a:gd name="connsiteY6" fmla="*/ 6442075 h 6442075"/>
              <a:gd name="connsiteX7" fmla="*/ 0 w 10888662"/>
              <a:gd name="connsiteY7" fmla="*/ 5862353 h 6442075"/>
              <a:gd name="connsiteX8" fmla="*/ 0 w 10888662"/>
              <a:gd name="connsiteY8" fmla="*/ 579722 h 6442075"/>
              <a:gd name="connsiteX0" fmla="*/ 0 w 10888662"/>
              <a:gd name="connsiteY0" fmla="*/ 659657 h 6522010"/>
              <a:gd name="connsiteX1" fmla="*/ 10308940 w 10888662"/>
              <a:gd name="connsiteY1" fmla="*/ 79935 h 6522010"/>
              <a:gd name="connsiteX2" fmla="*/ 10888662 w 10888662"/>
              <a:gd name="connsiteY2" fmla="*/ 659657 h 6522010"/>
              <a:gd name="connsiteX3" fmla="*/ 10888662 w 10888662"/>
              <a:gd name="connsiteY3" fmla="*/ 5942288 h 6522010"/>
              <a:gd name="connsiteX4" fmla="*/ 10308940 w 10888662"/>
              <a:gd name="connsiteY4" fmla="*/ 6522010 h 6522010"/>
              <a:gd name="connsiteX5" fmla="*/ 579722 w 10888662"/>
              <a:gd name="connsiteY5" fmla="*/ 6522010 h 6522010"/>
              <a:gd name="connsiteX6" fmla="*/ 0 w 10888662"/>
              <a:gd name="connsiteY6" fmla="*/ 5942288 h 6522010"/>
              <a:gd name="connsiteX7" fmla="*/ 0 w 10888662"/>
              <a:gd name="connsiteY7" fmla="*/ 659657 h 6522010"/>
              <a:gd name="connsiteX0" fmla="*/ 0 w 10888662"/>
              <a:gd name="connsiteY0" fmla="*/ 579722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579722 h 6442075"/>
              <a:gd name="connsiteX0" fmla="*/ 0 w 10888662"/>
              <a:gd name="connsiteY0" fmla="*/ 129257 h 6569679"/>
              <a:gd name="connsiteX1" fmla="*/ 10308940 w 10888662"/>
              <a:gd name="connsiteY1" fmla="*/ 127604 h 6569679"/>
              <a:gd name="connsiteX2" fmla="*/ 10888662 w 10888662"/>
              <a:gd name="connsiteY2" fmla="*/ 707326 h 6569679"/>
              <a:gd name="connsiteX3" fmla="*/ 10888662 w 10888662"/>
              <a:gd name="connsiteY3" fmla="*/ 5989957 h 6569679"/>
              <a:gd name="connsiteX4" fmla="*/ 10308940 w 10888662"/>
              <a:gd name="connsiteY4" fmla="*/ 6569679 h 6569679"/>
              <a:gd name="connsiteX5" fmla="*/ 579722 w 10888662"/>
              <a:gd name="connsiteY5" fmla="*/ 6569679 h 6569679"/>
              <a:gd name="connsiteX6" fmla="*/ 0 w 10888662"/>
              <a:gd name="connsiteY6" fmla="*/ 5989957 h 6569679"/>
              <a:gd name="connsiteX7" fmla="*/ 0 w 10888662"/>
              <a:gd name="connsiteY7" fmla="*/ 129257 h 6569679"/>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9657299 w 10888662"/>
              <a:gd name="connsiteY4" fmla="*/ 55276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522010"/>
              <a:gd name="connsiteX1" fmla="*/ 10308940 w 10888662"/>
              <a:gd name="connsiteY1" fmla="*/ 0 h 6522010"/>
              <a:gd name="connsiteX2" fmla="*/ 10888662 w 10888662"/>
              <a:gd name="connsiteY2" fmla="*/ 579722 h 6522010"/>
              <a:gd name="connsiteX3" fmla="*/ 10888662 w 10888662"/>
              <a:gd name="connsiteY3" fmla="*/ 5862353 h 6522010"/>
              <a:gd name="connsiteX4" fmla="*/ 579722 w 10888662"/>
              <a:gd name="connsiteY4" fmla="*/ 6442075 h 6522010"/>
              <a:gd name="connsiteX5" fmla="*/ 0 w 10888662"/>
              <a:gd name="connsiteY5" fmla="*/ 5862353 h 6522010"/>
              <a:gd name="connsiteX6" fmla="*/ 0 w 10888662"/>
              <a:gd name="connsiteY6" fmla="*/ 1653 h 6522010"/>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579722 w 10888662"/>
              <a:gd name="connsiteY4" fmla="*/ 6442075 h 6442075"/>
              <a:gd name="connsiteX5" fmla="*/ 0 w 10888662"/>
              <a:gd name="connsiteY5" fmla="*/ 5862353 h 6442075"/>
              <a:gd name="connsiteX6" fmla="*/ 0 w 10888662"/>
              <a:gd name="connsiteY6" fmla="*/ 1653 h 6442075"/>
              <a:gd name="connsiteX0" fmla="*/ 0 w 10888662"/>
              <a:gd name="connsiteY0" fmla="*/ 1653 h 6585432"/>
              <a:gd name="connsiteX1" fmla="*/ 10308940 w 10888662"/>
              <a:gd name="connsiteY1" fmla="*/ 0 h 6585432"/>
              <a:gd name="connsiteX2" fmla="*/ 10888662 w 10888662"/>
              <a:gd name="connsiteY2" fmla="*/ 579722 h 6585432"/>
              <a:gd name="connsiteX3" fmla="*/ 10878151 w 10888662"/>
              <a:gd name="connsiteY3" fmla="*/ 6461442 h 6585432"/>
              <a:gd name="connsiteX4" fmla="*/ 579722 w 10888662"/>
              <a:gd name="connsiteY4" fmla="*/ 6442075 h 6585432"/>
              <a:gd name="connsiteX5" fmla="*/ 0 w 10888662"/>
              <a:gd name="connsiteY5" fmla="*/ 5862353 h 6585432"/>
              <a:gd name="connsiteX6" fmla="*/ 0 w 10888662"/>
              <a:gd name="connsiteY6" fmla="*/ 1653 h 6585432"/>
              <a:gd name="connsiteX0" fmla="*/ 0 w 10888662"/>
              <a:gd name="connsiteY0" fmla="*/ 1653 h 6577502"/>
              <a:gd name="connsiteX1" fmla="*/ 10308940 w 10888662"/>
              <a:gd name="connsiteY1" fmla="*/ 0 h 6577502"/>
              <a:gd name="connsiteX2" fmla="*/ 10888662 w 10888662"/>
              <a:gd name="connsiteY2" fmla="*/ 579722 h 6577502"/>
              <a:gd name="connsiteX3" fmla="*/ 10878151 w 10888662"/>
              <a:gd name="connsiteY3" fmla="*/ 6450932 h 6577502"/>
              <a:gd name="connsiteX4" fmla="*/ 579722 w 10888662"/>
              <a:gd name="connsiteY4" fmla="*/ 6442075 h 6577502"/>
              <a:gd name="connsiteX5" fmla="*/ 0 w 10888662"/>
              <a:gd name="connsiteY5" fmla="*/ 5862353 h 6577502"/>
              <a:gd name="connsiteX6" fmla="*/ 0 w 10888662"/>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0888662"/>
              <a:gd name="connsiteY0" fmla="*/ 1653 h 6450932"/>
              <a:gd name="connsiteX1" fmla="*/ 10308940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0999550"/>
              <a:gd name="connsiteY0" fmla="*/ 1653 h 6450932"/>
              <a:gd name="connsiteX1" fmla="*/ 10844968 w 10999550"/>
              <a:gd name="connsiteY1" fmla="*/ 0 h 6450932"/>
              <a:gd name="connsiteX2" fmla="*/ 10888662 w 10999550"/>
              <a:gd name="connsiteY2" fmla="*/ 579722 h 6450932"/>
              <a:gd name="connsiteX3" fmla="*/ 10878151 w 10999550"/>
              <a:gd name="connsiteY3" fmla="*/ 6450932 h 6450932"/>
              <a:gd name="connsiteX4" fmla="*/ 579722 w 10999550"/>
              <a:gd name="connsiteY4" fmla="*/ 6442075 h 6450932"/>
              <a:gd name="connsiteX5" fmla="*/ 0 w 10999550"/>
              <a:gd name="connsiteY5" fmla="*/ 5862353 h 6450932"/>
              <a:gd name="connsiteX6" fmla="*/ 0 w 10999550"/>
              <a:gd name="connsiteY6" fmla="*/ 1653 h 6450932"/>
              <a:gd name="connsiteX0" fmla="*/ 0 w 11022020"/>
              <a:gd name="connsiteY0" fmla="*/ 1653 h 6450932"/>
              <a:gd name="connsiteX1" fmla="*/ 10876499 w 11022020"/>
              <a:gd name="connsiteY1" fmla="*/ 0 h 6450932"/>
              <a:gd name="connsiteX2" fmla="*/ 10888662 w 11022020"/>
              <a:gd name="connsiteY2" fmla="*/ 579722 h 6450932"/>
              <a:gd name="connsiteX3" fmla="*/ 10878151 w 11022020"/>
              <a:gd name="connsiteY3" fmla="*/ 6450932 h 6450932"/>
              <a:gd name="connsiteX4" fmla="*/ 579722 w 11022020"/>
              <a:gd name="connsiteY4" fmla="*/ 6442075 h 6450932"/>
              <a:gd name="connsiteX5" fmla="*/ 0 w 11022020"/>
              <a:gd name="connsiteY5" fmla="*/ 5862353 h 6450932"/>
              <a:gd name="connsiteX6" fmla="*/ 0 w 11022020"/>
              <a:gd name="connsiteY6" fmla="*/ 1653 h 6450932"/>
              <a:gd name="connsiteX0" fmla="*/ 0 w 10888662"/>
              <a:gd name="connsiteY0" fmla="*/ 1653 h 6450932"/>
              <a:gd name="connsiteX1" fmla="*/ 10876499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2200990"/>
              <a:gd name="connsiteY0" fmla="*/ 1653 h 6450932"/>
              <a:gd name="connsiteX1" fmla="*/ 10876499 w 12200990"/>
              <a:gd name="connsiteY1" fmla="*/ 0 h 6450932"/>
              <a:gd name="connsiteX2" fmla="*/ 10878151 w 12200990"/>
              <a:gd name="connsiteY2" fmla="*/ 6450932 h 6450932"/>
              <a:gd name="connsiteX3" fmla="*/ 579722 w 12200990"/>
              <a:gd name="connsiteY3" fmla="*/ 6442075 h 6450932"/>
              <a:gd name="connsiteX4" fmla="*/ 0 w 12200990"/>
              <a:gd name="connsiteY4" fmla="*/ 5862353 h 6450932"/>
              <a:gd name="connsiteX5" fmla="*/ 0 w 12200990"/>
              <a:gd name="connsiteY5" fmla="*/ 1653 h 6450932"/>
              <a:gd name="connsiteX0" fmla="*/ 0 w 11640630"/>
              <a:gd name="connsiteY0" fmla="*/ 1653 h 6450932"/>
              <a:gd name="connsiteX1" fmla="*/ 10876499 w 11640630"/>
              <a:gd name="connsiteY1" fmla="*/ 0 h 6450932"/>
              <a:gd name="connsiteX2" fmla="*/ 10878151 w 11640630"/>
              <a:gd name="connsiteY2" fmla="*/ 6450932 h 6450932"/>
              <a:gd name="connsiteX3" fmla="*/ 579722 w 11640630"/>
              <a:gd name="connsiteY3" fmla="*/ 6442075 h 6450932"/>
              <a:gd name="connsiteX4" fmla="*/ 0 w 11640630"/>
              <a:gd name="connsiteY4" fmla="*/ 5862353 h 6450932"/>
              <a:gd name="connsiteX5" fmla="*/ 0 w 11640630"/>
              <a:gd name="connsiteY5" fmla="*/ 1653 h 6450932"/>
              <a:gd name="connsiteX0" fmla="*/ 0 w 10878151"/>
              <a:gd name="connsiteY0" fmla="*/ 1653 h 6450932"/>
              <a:gd name="connsiteX1" fmla="*/ 10876499 w 10878151"/>
              <a:gd name="connsiteY1" fmla="*/ 0 h 6450932"/>
              <a:gd name="connsiteX2" fmla="*/ 10878151 w 10878151"/>
              <a:gd name="connsiteY2" fmla="*/ 6450932 h 6450932"/>
              <a:gd name="connsiteX3" fmla="*/ 579722 w 10878151"/>
              <a:gd name="connsiteY3" fmla="*/ 6442075 h 6450932"/>
              <a:gd name="connsiteX4" fmla="*/ 0 w 10878151"/>
              <a:gd name="connsiteY4" fmla="*/ 5862353 h 6450932"/>
              <a:gd name="connsiteX5" fmla="*/ 0 w 10878151"/>
              <a:gd name="connsiteY5" fmla="*/ 1653 h 6450932"/>
              <a:gd name="connsiteX0" fmla="*/ 0 w 11843451"/>
              <a:gd name="connsiteY0" fmla="*/ 1653 h 6450932"/>
              <a:gd name="connsiteX1" fmla="*/ 11843451 w 11843451"/>
              <a:gd name="connsiteY1" fmla="*/ 0 h 6450932"/>
              <a:gd name="connsiteX2" fmla="*/ 10878151 w 11843451"/>
              <a:gd name="connsiteY2" fmla="*/ 6450932 h 6450932"/>
              <a:gd name="connsiteX3" fmla="*/ 579722 w 11843451"/>
              <a:gd name="connsiteY3" fmla="*/ 6442075 h 6450932"/>
              <a:gd name="connsiteX4" fmla="*/ 0 w 11843451"/>
              <a:gd name="connsiteY4" fmla="*/ 5862353 h 6450932"/>
              <a:gd name="connsiteX5" fmla="*/ 0 w 11843451"/>
              <a:gd name="connsiteY5" fmla="*/ 1653 h 6450932"/>
              <a:gd name="connsiteX0" fmla="*/ 0 w 11855613"/>
              <a:gd name="connsiteY0" fmla="*/ 1653 h 6450932"/>
              <a:gd name="connsiteX1" fmla="*/ 11843451 w 11855613"/>
              <a:gd name="connsiteY1" fmla="*/ 0 h 6450932"/>
              <a:gd name="connsiteX2" fmla="*/ 11855613 w 11855613"/>
              <a:gd name="connsiteY2" fmla="*/ 6450932 h 6450932"/>
              <a:gd name="connsiteX3" fmla="*/ 579722 w 11855613"/>
              <a:gd name="connsiteY3" fmla="*/ 6442075 h 6450932"/>
              <a:gd name="connsiteX4" fmla="*/ 0 w 11855613"/>
              <a:gd name="connsiteY4" fmla="*/ 5862353 h 6450932"/>
              <a:gd name="connsiteX5" fmla="*/ 0 w 11855613"/>
              <a:gd name="connsiteY5" fmla="*/ 1653 h 6450932"/>
              <a:gd name="connsiteX0" fmla="*/ 0 w 11864472"/>
              <a:gd name="connsiteY0" fmla="*/ 1653 h 6450932"/>
              <a:gd name="connsiteX1" fmla="*/ 11864472 w 11864472"/>
              <a:gd name="connsiteY1" fmla="*/ 0 h 6450932"/>
              <a:gd name="connsiteX2" fmla="*/ 11855613 w 11864472"/>
              <a:gd name="connsiteY2" fmla="*/ 6450932 h 6450932"/>
              <a:gd name="connsiteX3" fmla="*/ 579722 w 11864472"/>
              <a:gd name="connsiteY3" fmla="*/ 6442075 h 6450932"/>
              <a:gd name="connsiteX4" fmla="*/ 0 w 11864472"/>
              <a:gd name="connsiteY4" fmla="*/ 5862353 h 6450932"/>
              <a:gd name="connsiteX5" fmla="*/ 0 w 11864472"/>
              <a:gd name="connsiteY5" fmla="*/ 1653 h 6450932"/>
              <a:gd name="connsiteX0" fmla="*/ 0 w 11864472"/>
              <a:gd name="connsiteY0" fmla="*/ 1653 h 6442075"/>
              <a:gd name="connsiteX1" fmla="*/ 11864472 w 11864472"/>
              <a:gd name="connsiteY1" fmla="*/ 0 h 6442075"/>
              <a:gd name="connsiteX2" fmla="*/ 11855613 w 11864472"/>
              <a:gd name="connsiteY2" fmla="*/ 6440421 h 6442075"/>
              <a:gd name="connsiteX3" fmla="*/ 579722 w 11864472"/>
              <a:gd name="connsiteY3" fmla="*/ 6442075 h 6442075"/>
              <a:gd name="connsiteX4" fmla="*/ 0 w 11864472"/>
              <a:gd name="connsiteY4" fmla="*/ 5862353 h 6442075"/>
              <a:gd name="connsiteX5" fmla="*/ 0 w 11864472"/>
              <a:gd name="connsiteY5" fmla="*/ 1653 h 6442075"/>
              <a:gd name="connsiteX0" fmla="*/ 0 w 11855613"/>
              <a:gd name="connsiteY0" fmla="*/ 1653 h 6442075"/>
              <a:gd name="connsiteX1" fmla="*/ 8912928 w 11855613"/>
              <a:gd name="connsiteY1" fmla="*/ 0 h 6442075"/>
              <a:gd name="connsiteX2" fmla="*/ 11855613 w 11855613"/>
              <a:gd name="connsiteY2" fmla="*/ 6440421 h 6442075"/>
              <a:gd name="connsiteX3" fmla="*/ 579722 w 11855613"/>
              <a:gd name="connsiteY3" fmla="*/ 6442075 h 6442075"/>
              <a:gd name="connsiteX4" fmla="*/ 0 w 11855613"/>
              <a:gd name="connsiteY4" fmla="*/ 5862353 h 6442075"/>
              <a:gd name="connsiteX5" fmla="*/ 0 w 11855613"/>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74032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36077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1615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15642"/>
              <a:gd name="connsiteY0" fmla="*/ 1653 h 6442075"/>
              <a:gd name="connsiteX1" fmla="*/ 8912928 w 8915642"/>
              <a:gd name="connsiteY1" fmla="*/ 0 h 6442075"/>
              <a:gd name="connsiteX2" fmla="*/ 8915642 w 8915642"/>
              <a:gd name="connsiteY2" fmla="*/ 6440421 h 6442075"/>
              <a:gd name="connsiteX3" fmla="*/ 579722 w 8915642"/>
              <a:gd name="connsiteY3" fmla="*/ 6442075 h 6442075"/>
              <a:gd name="connsiteX4" fmla="*/ 0 w 8915642"/>
              <a:gd name="connsiteY4" fmla="*/ 5862353 h 6442075"/>
              <a:gd name="connsiteX5" fmla="*/ 0 w 8915642"/>
              <a:gd name="connsiteY5" fmla="*/ 1653 h 6442075"/>
              <a:gd name="connsiteX0" fmla="*/ 0 w 8915642"/>
              <a:gd name="connsiteY0" fmla="*/ 1 h 6633463"/>
              <a:gd name="connsiteX1" fmla="*/ 8912928 w 8915642"/>
              <a:gd name="connsiteY1" fmla="*/ 191388 h 6633463"/>
              <a:gd name="connsiteX2" fmla="*/ 8915642 w 8915642"/>
              <a:gd name="connsiteY2" fmla="*/ 6631809 h 6633463"/>
              <a:gd name="connsiteX3" fmla="*/ 579722 w 8915642"/>
              <a:gd name="connsiteY3" fmla="*/ 6633463 h 6633463"/>
              <a:gd name="connsiteX4" fmla="*/ 0 w 8915642"/>
              <a:gd name="connsiteY4" fmla="*/ 6053741 h 6633463"/>
              <a:gd name="connsiteX5" fmla="*/ 0 w 8915642"/>
              <a:gd name="connsiteY5" fmla="*/ 1 h 6633463"/>
              <a:gd name="connsiteX0" fmla="*/ 0 w 8933278"/>
              <a:gd name="connsiteY0" fmla="*/ 1653 h 6635115"/>
              <a:gd name="connsiteX1" fmla="*/ 8933248 w 8933278"/>
              <a:gd name="connsiteY1" fmla="*/ 0 h 6635115"/>
              <a:gd name="connsiteX2" fmla="*/ 8915642 w 8933278"/>
              <a:gd name="connsiteY2" fmla="*/ 6633461 h 6635115"/>
              <a:gd name="connsiteX3" fmla="*/ 579722 w 8933278"/>
              <a:gd name="connsiteY3" fmla="*/ 6635115 h 6635115"/>
              <a:gd name="connsiteX4" fmla="*/ 0 w 8933278"/>
              <a:gd name="connsiteY4" fmla="*/ 6055393 h 6635115"/>
              <a:gd name="connsiteX5" fmla="*/ 0 w 8933278"/>
              <a:gd name="connsiteY5" fmla="*/ 1653 h 6635115"/>
              <a:gd name="connsiteX0" fmla="*/ 0 w 8933323"/>
              <a:gd name="connsiteY0" fmla="*/ 1653 h 6645336"/>
              <a:gd name="connsiteX1" fmla="*/ 8933248 w 8933323"/>
              <a:gd name="connsiteY1" fmla="*/ 0 h 6645336"/>
              <a:gd name="connsiteX2" fmla="*/ 8927517 w 8933323"/>
              <a:gd name="connsiteY2" fmla="*/ 6645336 h 6645336"/>
              <a:gd name="connsiteX3" fmla="*/ 579722 w 8933323"/>
              <a:gd name="connsiteY3" fmla="*/ 6635115 h 6645336"/>
              <a:gd name="connsiteX4" fmla="*/ 0 w 8933323"/>
              <a:gd name="connsiteY4" fmla="*/ 6055393 h 6645336"/>
              <a:gd name="connsiteX5" fmla="*/ 0 w 8933323"/>
              <a:gd name="connsiteY5" fmla="*/ 1653 h 6645336"/>
              <a:gd name="connsiteX0" fmla="*/ 0 w 8927517"/>
              <a:gd name="connsiteY0" fmla="*/ 1653 h 6645336"/>
              <a:gd name="connsiteX1" fmla="*/ 7971347 w 8927517"/>
              <a:gd name="connsiteY1" fmla="*/ 0 h 6645336"/>
              <a:gd name="connsiteX2" fmla="*/ 8927517 w 8927517"/>
              <a:gd name="connsiteY2" fmla="*/ 6645336 h 6645336"/>
              <a:gd name="connsiteX3" fmla="*/ 579722 w 8927517"/>
              <a:gd name="connsiteY3" fmla="*/ 6635115 h 6645336"/>
              <a:gd name="connsiteX4" fmla="*/ 0 w 8927517"/>
              <a:gd name="connsiteY4" fmla="*/ 6055393 h 6645336"/>
              <a:gd name="connsiteX5" fmla="*/ 0 w 8927517"/>
              <a:gd name="connsiteY5" fmla="*/ 1653 h 6645336"/>
              <a:gd name="connsiteX0" fmla="*/ 0 w 7971422"/>
              <a:gd name="connsiteY0" fmla="*/ 1653 h 6645336"/>
              <a:gd name="connsiteX1" fmla="*/ 7971347 w 7971422"/>
              <a:gd name="connsiteY1" fmla="*/ 0 h 6645336"/>
              <a:gd name="connsiteX2" fmla="*/ 7965616 w 7971422"/>
              <a:gd name="connsiteY2" fmla="*/ 6645336 h 6645336"/>
              <a:gd name="connsiteX3" fmla="*/ 579722 w 7971422"/>
              <a:gd name="connsiteY3" fmla="*/ 6635115 h 6645336"/>
              <a:gd name="connsiteX4" fmla="*/ 0 w 7971422"/>
              <a:gd name="connsiteY4" fmla="*/ 6055393 h 6645336"/>
              <a:gd name="connsiteX5" fmla="*/ 0 w 7971422"/>
              <a:gd name="connsiteY5" fmla="*/ 1653 h 6645336"/>
              <a:gd name="connsiteX0" fmla="*/ 0 w 7971422"/>
              <a:gd name="connsiteY0" fmla="*/ 1301816 h 6645336"/>
              <a:gd name="connsiteX1" fmla="*/ 7971347 w 7971422"/>
              <a:gd name="connsiteY1" fmla="*/ 0 h 6645336"/>
              <a:gd name="connsiteX2" fmla="*/ 7965616 w 7971422"/>
              <a:gd name="connsiteY2" fmla="*/ 6645336 h 6645336"/>
              <a:gd name="connsiteX3" fmla="*/ 579722 w 7971422"/>
              <a:gd name="connsiteY3" fmla="*/ 6635115 h 6645336"/>
              <a:gd name="connsiteX4" fmla="*/ 0 w 7971422"/>
              <a:gd name="connsiteY4" fmla="*/ 6055393 h 6645336"/>
              <a:gd name="connsiteX5" fmla="*/ 0 w 7971422"/>
              <a:gd name="connsiteY5" fmla="*/ 1301816 h 6645336"/>
              <a:gd name="connsiteX0" fmla="*/ 0 w 7965616"/>
              <a:gd name="connsiteY0" fmla="*/ 1653 h 5345173"/>
              <a:gd name="connsiteX1" fmla="*/ 7957060 w 7965616"/>
              <a:gd name="connsiteY1" fmla="*/ 0 h 5345173"/>
              <a:gd name="connsiteX2" fmla="*/ 7965616 w 7965616"/>
              <a:gd name="connsiteY2" fmla="*/ 5345173 h 5345173"/>
              <a:gd name="connsiteX3" fmla="*/ 579722 w 7965616"/>
              <a:gd name="connsiteY3" fmla="*/ 5334952 h 5345173"/>
              <a:gd name="connsiteX4" fmla="*/ 0 w 7965616"/>
              <a:gd name="connsiteY4" fmla="*/ 4755230 h 5345173"/>
              <a:gd name="connsiteX5" fmla="*/ 0 w 7965616"/>
              <a:gd name="connsiteY5" fmla="*/ 1653 h 5345173"/>
              <a:gd name="connsiteX0" fmla="*/ 0 w 7971422"/>
              <a:gd name="connsiteY0" fmla="*/ 1653 h 5345173"/>
              <a:gd name="connsiteX1" fmla="*/ 7971347 w 7971422"/>
              <a:gd name="connsiteY1" fmla="*/ 0 h 5345173"/>
              <a:gd name="connsiteX2" fmla="*/ 7965616 w 7971422"/>
              <a:gd name="connsiteY2" fmla="*/ 5345173 h 5345173"/>
              <a:gd name="connsiteX3" fmla="*/ 579722 w 7971422"/>
              <a:gd name="connsiteY3" fmla="*/ 5334952 h 5345173"/>
              <a:gd name="connsiteX4" fmla="*/ 0 w 7971422"/>
              <a:gd name="connsiteY4" fmla="*/ 4755230 h 5345173"/>
              <a:gd name="connsiteX5" fmla="*/ 0 w 7971422"/>
              <a:gd name="connsiteY5" fmla="*/ 1653 h 5345173"/>
              <a:gd name="connsiteX0" fmla="*/ 0 w 7988356"/>
              <a:gd name="connsiteY0" fmla="*/ 187920 h 5345173"/>
              <a:gd name="connsiteX1" fmla="*/ 7988281 w 7988356"/>
              <a:gd name="connsiteY1" fmla="*/ 0 h 5345173"/>
              <a:gd name="connsiteX2" fmla="*/ 7982550 w 7988356"/>
              <a:gd name="connsiteY2" fmla="*/ 5345173 h 5345173"/>
              <a:gd name="connsiteX3" fmla="*/ 596656 w 7988356"/>
              <a:gd name="connsiteY3" fmla="*/ 5334952 h 5345173"/>
              <a:gd name="connsiteX4" fmla="*/ 16934 w 7988356"/>
              <a:gd name="connsiteY4" fmla="*/ 4755230 h 5345173"/>
              <a:gd name="connsiteX5" fmla="*/ 0 w 7988356"/>
              <a:gd name="connsiteY5" fmla="*/ 187920 h 5345173"/>
              <a:gd name="connsiteX0" fmla="*/ 0 w 7988356"/>
              <a:gd name="connsiteY0" fmla="*/ 210145 h 5345173"/>
              <a:gd name="connsiteX1" fmla="*/ 7988281 w 7988356"/>
              <a:gd name="connsiteY1" fmla="*/ 0 h 5345173"/>
              <a:gd name="connsiteX2" fmla="*/ 7982550 w 7988356"/>
              <a:gd name="connsiteY2" fmla="*/ 5345173 h 5345173"/>
              <a:gd name="connsiteX3" fmla="*/ 596656 w 7988356"/>
              <a:gd name="connsiteY3" fmla="*/ 5334952 h 5345173"/>
              <a:gd name="connsiteX4" fmla="*/ 16934 w 7988356"/>
              <a:gd name="connsiteY4" fmla="*/ 4755230 h 5345173"/>
              <a:gd name="connsiteX5" fmla="*/ 0 w 7988356"/>
              <a:gd name="connsiteY5" fmla="*/ 210145 h 5345173"/>
              <a:gd name="connsiteX0" fmla="*/ 0 w 7988356"/>
              <a:gd name="connsiteY0" fmla="*/ 0 h 5135028"/>
              <a:gd name="connsiteX1" fmla="*/ 7988281 w 7988356"/>
              <a:gd name="connsiteY1" fmla="*/ 7569 h 5135028"/>
              <a:gd name="connsiteX2" fmla="*/ 7982550 w 7988356"/>
              <a:gd name="connsiteY2" fmla="*/ 5135028 h 5135028"/>
              <a:gd name="connsiteX3" fmla="*/ 596656 w 7988356"/>
              <a:gd name="connsiteY3" fmla="*/ 5124807 h 5135028"/>
              <a:gd name="connsiteX4" fmla="*/ 16934 w 7988356"/>
              <a:gd name="connsiteY4" fmla="*/ 4545085 h 5135028"/>
              <a:gd name="connsiteX5" fmla="*/ 0 w 7988356"/>
              <a:gd name="connsiteY5" fmla="*/ 0 h 5135028"/>
              <a:gd name="connsiteX0" fmla="*/ 0 w 7982550"/>
              <a:gd name="connsiteY0" fmla="*/ 0 h 5135028"/>
              <a:gd name="connsiteX1" fmla="*/ 6028853 w 7982550"/>
              <a:gd name="connsiteY1" fmla="*/ 7569 h 5135028"/>
              <a:gd name="connsiteX2" fmla="*/ 7982550 w 7982550"/>
              <a:gd name="connsiteY2" fmla="*/ 5135028 h 5135028"/>
              <a:gd name="connsiteX3" fmla="*/ 596656 w 7982550"/>
              <a:gd name="connsiteY3" fmla="*/ 5124807 h 5135028"/>
              <a:gd name="connsiteX4" fmla="*/ 16934 w 7982550"/>
              <a:gd name="connsiteY4" fmla="*/ 4545085 h 5135028"/>
              <a:gd name="connsiteX5" fmla="*/ 0 w 7982550"/>
              <a:gd name="connsiteY5" fmla="*/ 0 h 5135028"/>
              <a:gd name="connsiteX0" fmla="*/ 0 w 6037636"/>
              <a:gd name="connsiteY0" fmla="*/ 0 h 5135028"/>
              <a:gd name="connsiteX1" fmla="*/ 6028853 w 6037636"/>
              <a:gd name="connsiteY1" fmla="*/ 7569 h 5135028"/>
              <a:gd name="connsiteX2" fmla="*/ 6037636 w 6037636"/>
              <a:gd name="connsiteY2" fmla="*/ 5135028 h 5135028"/>
              <a:gd name="connsiteX3" fmla="*/ 596656 w 6037636"/>
              <a:gd name="connsiteY3" fmla="*/ 5124807 h 5135028"/>
              <a:gd name="connsiteX4" fmla="*/ 16934 w 6037636"/>
              <a:gd name="connsiteY4" fmla="*/ 4545085 h 5135028"/>
              <a:gd name="connsiteX5" fmla="*/ 0 w 6037636"/>
              <a:gd name="connsiteY5" fmla="*/ 0 h 5135028"/>
              <a:gd name="connsiteX0" fmla="*/ 0 w 6024384"/>
              <a:gd name="connsiteY0" fmla="*/ 0 h 6857810"/>
              <a:gd name="connsiteX1" fmla="*/ 6015601 w 6024384"/>
              <a:gd name="connsiteY1" fmla="*/ 1730351 h 6857810"/>
              <a:gd name="connsiteX2" fmla="*/ 6024384 w 6024384"/>
              <a:gd name="connsiteY2" fmla="*/ 6857810 h 6857810"/>
              <a:gd name="connsiteX3" fmla="*/ 583404 w 6024384"/>
              <a:gd name="connsiteY3" fmla="*/ 6847589 h 6857810"/>
              <a:gd name="connsiteX4" fmla="*/ 3682 w 6024384"/>
              <a:gd name="connsiteY4" fmla="*/ 6267867 h 6857810"/>
              <a:gd name="connsiteX5" fmla="*/ 0 w 6024384"/>
              <a:gd name="connsiteY5" fmla="*/ 0 h 6857810"/>
              <a:gd name="connsiteX0" fmla="*/ 0 w 6024384"/>
              <a:gd name="connsiteY0" fmla="*/ 5684 h 6863494"/>
              <a:gd name="connsiteX1" fmla="*/ 6002349 w 6024384"/>
              <a:gd name="connsiteY1" fmla="*/ 0 h 6863494"/>
              <a:gd name="connsiteX2" fmla="*/ 6024384 w 6024384"/>
              <a:gd name="connsiteY2" fmla="*/ 6863494 h 6863494"/>
              <a:gd name="connsiteX3" fmla="*/ 583404 w 6024384"/>
              <a:gd name="connsiteY3" fmla="*/ 6853273 h 6863494"/>
              <a:gd name="connsiteX4" fmla="*/ 3682 w 6024384"/>
              <a:gd name="connsiteY4" fmla="*/ 6273551 h 6863494"/>
              <a:gd name="connsiteX5" fmla="*/ 0 w 6024384"/>
              <a:gd name="connsiteY5" fmla="*/ 5684 h 68634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024384" h="6863494">
                <a:moveTo>
                  <a:pt x="0" y="5684"/>
                </a:moveTo>
                <a:lnTo>
                  <a:pt x="6002349" y="0"/>
                </a:lnTo>
                <a:cubicBezTo>
                  <a:pt x="6003254" y="2146807"/>
                  <a:pt x="6023479" y="4716687"/>
                  <a:pt x="6024384" y="6863494"/>
                </a:cubicBezTo>
                <a:lnTo>
                  <a:pt x="583404" y="6853273"/>
                </a:lnTo>
                <a:cubicBezTo>
                  <a:pt x="263232" y="6853273"/>
                  <a:pt x="3682" y="6593723"/>
                  <a:pt x="3682" y="6273551"/>
                </a:cubicBezTo>
                <a:cubicBezTo>
                  <a:pt x="-1963" y="4751114"/>
                  <a:pt x="5645" y="1528121"/>
                  <a:pt x="0" y="5684"/>
                </a:cubicBezTo>
                <a:close/>
              </a:path>
            </a:pathLst>
          </a:custGeom>
          <a:noFill/>
        </p:spPr>
        <p:txBody>
          <a:bodyPr>
            <a:normAutofit/>
          </a:bodyPr>
          <a:lstStyle>
            <a:lvl1pPr marL="0" indent="0">
              <a:buNone/>
              <a:defRPr sz="1400">
                <a:solidFill>
                  <a:schemeClr val="tx1"/>
                </a:solidFill>
              </a:defRPr>
            </a:lvl1pPr>
          </a:lstStyle>
          <a:p>
            <a:r>
              <a:rPr lang="en-JP"/>
              <a:t>Insert Photo</a:t>
            </a:r>
          </a:p>
        </p:txBody>
      </p:sp>
      <p:sp>
        <p:nvSpPr>
          <p:cNvPr id="7" name="Text Placeholder 6">
            <a:extLst>
              <a:ext uri="{FF2B5EF4-FFF2-40B4-BE49-F238E27FC236}">
                <a16:creationId xmlns:a16="http://schemas.microsoft.com/office/drawing/2014/main" id="{65925D82-457F-D84D-B8DF-D8ADFD7E71DF}"/>
              </a:ext>
            </a:extLst>
          </p:cNvPr>
          <p:cNvSpPr>
            <a:spLocks noGrp="1"/>
          </p:cNvSpPr>
          <p:nvPr>
            <p:ph type="body" sz="quarter" idx="14" hasCustomPrompt="1"/>
          </p:nvPr>
        </p:nvSpPr>
        <p:spPr>
          <a:xfrm>
            <a:off x="311150" y="3178298"/>
            <a:ext cx="5708650" cy="272786"/>
          </a:xfrm>
          <a:prstGeom prst="rect">
            <a:avLst/>
          </a:prstGeom>
        </p:spPr>
        <p:txBody>
          <a:bodyPr tIns="0" rIns="0" bIns="0" numCol="1">
            <a:noAutofit/>
          </a:bodyPr>
          <a:lstStyle>
            <a:lvl1pPr marL="0" indent="0">
              <a:lnSpc>
                <a:spcPct val="100000"/>
              </a:lnSpc>
              <a:spcBef>
                <a:spcPts val="0"/>
              </a:spcBef>
              <a:spcAft>
                <a:spcPts val="600"/>
              </a:spcAft>
              <a:buNone/>
              <a:defRPr sz="18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Secondary Title</a:t>
            </a:r>
          </a:p>
        </p:txBody>
      </p:sp>
      <p:sp>
        <p:nvSpPr>
          <p:cNvPr id="12" name="Text Placeholder 6">
            <a:extLst>
              <a:ext uri="{FF2B5EF4-FFF2-40B4-BE49-F238E27FC236}">
                <a16:creationId xmlns:a16="http://schemas.microsoft.com/office/drawing/2014/main" id="{FD2406EE-A554-5348-AE6D-4D8B343E6201}"/>
              </a:ext>
            </a:extLst>
          </p:cNvPr>
          <p:cNvSpPr>
            <a:spLocks noGrp="1"/>
          </p:cNvSpPr>
          <p:nvPr>
            <p:ph type="body" sz="quarter" idx="15" hasCustomPrompt="1"/>
          </p:nvPr>
        </p:nvSpPr>
        <p:spPr>
          <a:xfrm>
            <a:off x="311150" y="3575904"/>
            <a:ext cx="5708650" cy="2859620"/>
          </a:xfrm>
          <a:prstGeom prst="rect">
            <a:avLst/>
          </a:prstGeom>
        </p:spPr>
        <p:txBody>
          <a:bodyPr tIns="0" rIns="0" bIns="0" numCol="1">
            <a:noAutofit/>
          </a:bodyPr>
          <a:lstStyle>
            <a:lvl1pPr marL="171450" indent="-171450">
              <a:lnSpc>
                <a:spcPct val="100000"/>
              </a:lnSpc>
              <a:spcBef>
                <a:spcPts val="0"/>
              </a:spcBef>
              <a:spcAft>
                <a:spcPts val="600"/>
              </a:spcAft>
              <a:buFont typeface="Arial" panose="020B0604020202020204" pitchFamily="34" charset="0"/>
              <a:buChar char="•"/>
              <a:defRPr sz="1400" b="0">
                <a:solidFill>
                  <a:schemeClr val="tx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Secondary text. </a:t>
            </a:r>
          </a:p>
        </p:txBody>
      </p:sp>
      <p:sp>
        <p:nvSpPr>
          <p:cNvPr id="17" name="タイトル プレースホルダ 1">
            <a:extLst>
              <a:ext uri="{FF2B5EF4-FFF2-40B4-BE49-F238E27FC236}">
                <a16:creationId xmlns:a16="http://schemas.microsoft.com/office/drawing/2014/main" id="{86D6FEA8-06E4-474A-8491-CD1DDAE7D0D7}"/>
              </a:ext>
            </a:extLst>
          </p:cNvPr>
          <p:cNvSpPr>
            <a:spLocks noGrp="1"/>
          </p:cNvSpPr>
          <p:nvPr>
            <p:ph type="title" hasCustomPrompt="1"/>
          </p:nvPr>
        </p:nvSpPr>
        <p:spPr>
          <a:xfrm>
            <a:off x="606079" y="161605"/>
            <a:ext cx="5413722" cy="685801"/>
          </a:xfrm>
          <a:prstGeom prst="rect">
            <a:avLst/>
          </a:prstGeom>
        </p:spPr>
        <p:txBody>
          <a:bodyPr vert="horz" lIns="0" tIns="0" rIns="0" bIns="0" rtlCol="0" anchor="ctr">
            <a:normAutofit/>
          </a:bodyPr>
          <a:lstStyle/>
          <a:p>
            <a:r>
              <a:rPr kumimoji="1" lang="en-US" altLang="ja-JP"/>
              <a:t>Click to add title</a:t>
            </a:r>
            <a:endParaRPr kumimoji="1" lang="ja-JP" altLang="en-US"/>
          </a:p>
        </p:txBody>
      </p:sp>
      <p:sp>
        <p:nvSpPr>
          <p:cNvPr id="18" name="Rectangle 17">
            <a:extLst>
              <a:ext uri="{FF2B5EF4-FFF2-40B4-BE49-F238E27FC236}">
                <a16:creationId xmlns:a16="http://schemas.microsoft.com/office/drawing/2014/main" id="{CEDBCF76-3461-2245-8BB1-FA50AE27F6CA}"/>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a:solidFill>
                <a:schemeClr val="accent1"/>
              </a:solidFill>
            </a:endParaRPr>
          </a:p>
        </p:txBody>
      </p:sp>
      <p:sp>
        <p:nvSpPr>
          <p:cNvPr id="22" name="スライド番号プレースホルダ 5">
            <a:extLst>
              <a:ext uri="{FF2B5EF4-FFF2-40B4-BE49-F238E27FC236}">
                <a16:creationId xmlns:a16="http://schemas.microsoft.com/office/drawing/2014/main" id="{FB98B4FE-9AC1-D142-89B5-4D3791685BC1}"/>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3" name="Text Placeholder 6">
            <a:extLst>
              <a:ext uri="{FF2B5EF4-FFF2-40B4-BE49-F238E27FC236}">
                <a16:creationId xmlns:a16="http://schemas.microsoft.com/office/drawing/2014/main" id="{7D5A74AA-F0D3-9243-967D-FEA6F7A20BC7}"/>
              </a:ext>
            </a:extLst>
          </p:cNvPr>
          <p:cNvSpPr>
            <a:spLocks noGrp="1"/>
          </p:cNvSpPr>
          <p:nvPr>
            <p:ph type="body" sz="quarter" idx="16" hasCustomPrompt="1"/>
          </p:nvPr>
        </p:nvSpPr>
        <p:spPr>
          <a:xfrm>
            <a:off x="606078" y="6523001"/>
            <a:ext cx="5413722"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Private and confidential. For internal use only.</a:t>
            </a:r>
          </a:p>
        </p:txBody>
      </p:sp>
      <p:sp>
        <p:nvSpPr>
          <p:cNvPr id="19" name="Text Placeholder 2">
            <a:extLst>
              <a:ext uri="{FF2B5EF4-FFF2-40B4-BE49-F238E27FC236}">
                <a16:creationId xmlns:a16="http://schemas.microsoft.com/office/drawing/2014/main" id="{D16C870C-B0F9-5A43-81FD-66BD75CC33C7}"/>
              </a:ext>
            </a:extLst>
          </p:cNvPr>
          <p:cNvSpPr>
            <a:spLocks noGrp="1"/>
          </p:cNvSpPr>
          <p:nvPr>
            <p:ph type="body" sz="quarter" idx="20" hasCustomPrompt="1"/>
          </p:nvPr>
        </p:nvSpPr>
        <p:spPr>
          <a:xfrm>
            <a:off x="311151" y="1491373"/>
            <a:ext cx="5704886" cy="1464957"/>
          </a:xfrm>
        </p:spPr>
        <p:txBody>
          <a:bodyPr tIns="0" rIns="0" bIns="0" numCol="1" spcCol="126000">
            <a:noAutofit/>
          </a:bodyPr>
          <a:lstStyle>
            <a:lvl1pPr marL="0" indent="0">
              <a:lnSpc>
                <a:spcPct val="100000"/>
              </a:lnSpc>
              <a:spcBef>
                <a:spcPts val="0"/>
              </a:spcBef>
              <a:buNone/>
              <a:defRPr sz="1600" b="1"/>
            </a:lvl1pPr>
            <a:lvl2pPr marL="457068" indent="0">
              <a:buNone/>
              <a:defRPr sz="1800" b="1"/>
            </a:lvl2pPr>
            <a:lvl3pPr marL="914149" indent="0">
              <a:buNone/>
              <a:defRPr sz="1800" b="1"/>
            </a:lvl3pPr>
            <a:lvl4pPr marL="1371219" indent="0">
              <a:buNone/>
              <a:defRPr sz="1800" b="1"/>
            </a:lvl4pPr>
            <a:lvl5pPr marL="1828290" indent="0">
              <a:buNone/>
              <a:defRPr sz="1800" b="1"/>
            </a:lvl5pPr>
          </a:lstStyle>
          <a:p>
            <a:pPr lvl="0"/>
            <a:r>
              <a:rPr lang="en-US"/>
              <a:t>This is your Primary Text.</a:t>
            </a:r>
            <a:endParaRPr lang="en-JP"/>
          </a:p>
        </p:txBody>
      </p:sp>
      <p:sp>
        <p:nvSpPr>
          <p:cNvPr id="20" name="Text Placeholder 6">
            <a:extLst>
              <a:ext uri="{FF2B5EF4-FFF2-40B4-BE49-F238E27FC236}">
                <a16:creationId xmlns:a16="http://schemas.microsoft.com/office/drawing/2014/main" id="{C64E591A-1A88-9244-AC81-5B42BFE347C0}"/>
              </a:ext>
            </a:extLst>
          </p:cNvPr>
          <p:cNvSpPr>
            <a:spLocks noGrp="1"/>
          </p:cNvSpPr>
          <p:nvPr>
            <p:ph type="body" sz="quarter" idx="21" hasCustomPrompt="1"/>
          </p:nvPr>
        </p:nvSpPr>
        <p:spPr>
          <a:xfrm>
            <a:off x="311150" y="1093767"/>
            <a:ext cx="5704886" cy="272786"/>
          </a:xfrm>
        </p:spPr>
        <p:txBody>
          <a:bodyPr tIns="0" rIns="0" bIns="0" numCol="1">
            <a:noAutofit/>
          </a:bodyPr>
          <a:lstStyle>
            <a:lvl1pPr marL="0" indent="0">
              <a:lnSpc>
                <a:spcPct val="100000"/>
              </a:lnSpc>
              <a:spcBef>
                <a:spcPts val="0"/>
              </a:spcBef>
              <a:spcAft>
                <a:spcPts val="600"/>
              </a:spcAft>
              <a:buNone/>
              <a:defRPr sz="20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Primary Title</a:t>
            </a:r>
          </a:p>
        </p:txBody>
      </p:sp>
    </p:spTree>
    <p:extLst>
      <p:ext uri="{BB962C8B-B14F-4D97-AF65-F5344CB8AC3E}">
        <p14:creationId xmlns:p14="http://schemas.microsoft.com/office/powerpoint/2010/main" val="469590625"/>
      </p:ext>
    </p:extLst>
  </p:cSld>
  <p:clrMapOvr>
    <a:masterClrMapping/>
  </p:clrMapOvr>
  <p:transition spd="slow">
    <p:push dir="u"/>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Advanced 1/3 Image">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65925D82-457F-D84D-B8DF-D8ADFD7E71DF}"/>
              </a:ext>
            </a:extLst>
          </p:cNvPr>
          <p:cNvSpPr>
            <a:spLocks noGrp="1"/>
          </p:cNvSpPr>
          <p:nvPr>
            <p:ph type="body" sz="quarter" idx="14" hasCustomPrompt="1"/>
          </p:nvPr>
        </p:nvSpPr>
        <p:spPr>
          <a:xfrm>
            <a:off x="311150" y="3178298"/>
            <a:ext cx="7660042" cy="272786"/>
          </a:xfrm>
          <a:prstGeom prst="rect">
            <a:avLst/>
          </a:prstGeom>
        </p:spPr>
        <p:txBody>
          <a:bodyPr tIns="0" rIns="0" bIns="0" numCol="1">
            <a:noAutofit/>
          </a:bodyPr>
          <a:lstStyle>
            <a:lvl1pPr marL="0" indent="0">
              <a:lnSpc>
                <a:spcPct val="100000"/>
              </a:lnSpc>
              <a:spcBef>
                <a:spcPts val="0"/>
              </a:spcBef>
              <a:spcAft>
                <a:spcPts val="600"/>
              </a:spcAft>
              <a:buNone/>
              <a:defRPr sz="18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Secondary Title</a:t>
            </a:r>
          </a:p>
        </p:txBody>
      </p:sp>
      <p:sp>
        <p:nvSpPr>
          <p:cNvPr id="12" name="Text Placeholder 6">
            <a:extLst>
              <a:ext uri="{FF2B5EF4-FFF2-40B4-BE49-F238E27FC236}">
                <a16:creationId xmlns:a16="http://schemas.microsoft.com/office/drawing/2014/main" id="{FD2406EE-A554-5348-AE6D-4D8B343E6201}"/>
              </a:ext>
            </a:extLst>
          </p:cNvPr>
          <p:cNvSpPr>
            <a:spLocks noGrp="1"/>
          </p:cNvSpPr>
          <p:nvPr>
            <p:ph type="body" sz="quarter" idx="15" hasCustomPrompt="1"/>
          </p:nvPr>
        </p:nvSpPr>
        <p:spPr>
          <a:xfrm>
            <a:off x="311149" y="3575904"/>
            <a:ext cx="7663807" cy="2859621"/>
          </a:xfrm>
          <a:prstGeom prst="rect">
            <a:avLst/>
          </a:prstGeom>
        </p:spPr>
        <p:txBody>
          <a:bodyPr tIns="0" rIns="0" bIns="0" numCol="2" spcCol="126000">
            <a:noAutofit/>
          </a:bodyPr>
          <a:lstStyle>
            <a:lvl1pPr marL="171450" indent="-171450">
              <a:lnSpc>
                <a:spcPct val="100000"/>
              </a:lnSpc>
              <a:spcBef>
                <a:spcPts val="0"/>
              </a:spcBef>
              <a:spcAft>
                <a:spcPts val="600"/>
              </a:spcAft>
              <a:buFont typeface="Arial" panose="020B0604020202020204" pitchFamily="34" charset="0"/>
              <a:buChar char="•"/>
              <a:defRPr sz="1400" b="0">
                <a:solidFill>
                  <a:schemeClr val="tx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Secondary text.</a:t>
            </a:r>
          </a:p>
        </p:txBody>
      </p:sp>
      <p:sp>
        <p:nvSpPr>
          <p:cNvPr id="11" name="Picture Placeholder 9">
            <a:extLst>
              <a:ext uri="{FF2B5EF4-FFF2-40B4-BE49-F238E27FC236}">
                <a16:creationId xmlns:a16="http://schemas.microsoft.com/office/drawing/2014/main" id="{B54C5EE8-C42D-B549-B4D4-C0F00D68A42B}"/>
              </a:ext>
            </a:extLst>
          </p:cNvPr>
          <p:cNvSpPr>
            <a:spLocks noGrp="1"/>
          </p:cNvSpPr>
          <p:nvPr>
            <p:ph type="pic" sz="quarter" idx="18" hasCustomPrompt="1"/>
          </p:nvPr>
        </p:nvSpPr>
        <p:spPr>
          <a:xfrm>
            <a:off x="8136961" y="1093767"/>
            <a:ext cx="4069500" cy="5331536"/>
          </a:xfrm>
          <a:custGeom>
            <a:avLst/>
            <a:gdLst>
              <a:gd name="connsiteX0" fmla="*/ 0 w 10888662"/>
              <a:gd name="connsiteY0" fmla="*/ 579722 h 6442075"/>
              <a:gd name="connsiteX1" fmla="*/ 579722 w 10888662"/>
              <a:gd name="connsiteY1" fmla="*/ 0 h 6442075"/>
              <a:gd name="connsiteX2" fmla="*/ 10308940 w 10888662"/>
              <a:gd name="connsiteY2" fmla="*/ 0 h 6442075"/>
              <a:gd name="connsiteX3" fmla="*/ 10888662 w 10888662"/>
              <a:gd name="connsiteY3" fmla="*/ 579722 h 6442075"/>
              <a:gd name="connsiteX4" fmla="*/ 10888662 w 10888662"/>
              <a:gd name="connsiteY4" fmla="*/ 5862353 h 6442075"/>
              <a:gd name="connsiteX5" fmla="*/ 10308940 w 10888662"/>
              <a:gd name="connsiteY5" fmla="*/ 6442075 h 6442075"/>
              <a:gd name="connsiteX6" fmla="*/ 579722 w 10888662"/>
              <a:gd name="connsiteY6" fmla="*/ 6442075 h 6442075"/>
              <a:gd name="connsiteX7" fmla="*/ 0 w 10888662"/>
              <a:gd name="connsiteY7" fmla="*/ 5862353 h 6442075"/>
              <a:gd name="connsiteX8" fmla="*/ 0 w 10888662"/>
              <a:gd name="connsiteY8" fmla="*/ 579722 h 6442075"/>
              <a:gd name="connsiteX0" fmla="*/ 0 w 10888662"/>
              <a:gd name="connsiteY0" fmla="*/ 659657 h 6522010"/>
              <a:gd name="connsiteX1" fmla="*/ 10308940 w 10888662"/>
              <a:gd name="connsiteY1" fmla="*/ 79935 h 6522010"/>
              <a:gd name="connsiteX2" fmla="*/ 10888662 w 10888662"/>
              <a:gd name="connsiteY2" fmla="*/ 659657 h 6522010"/>
              <a:gd name="connsiteX3" fmla="*/ 10888662 w 10888662"/>
              <a:gd name="connsiteY3" fmla="*/ 5942288 h 6522010"/>
              <a:gd name="connsiteX4" fmla="*/ 10308940 w 10888662"/>
              <a:gd name="connsiteY4" fmla="*/ 6522010 h 6522010"/>
              <a:gd name="connsiteX5" fmla="*/ 579722 w 10888662"/>
              <a:gd name="connsiteY5" fmla="*/ 6522010 h 6522010"/>
              <a:gd name="connsiteX6" fmla="*/ 0 w 10888662"/>
              <a:gd name="connsiteY6" fmla="*/ 5942288 h 6522010"/>
              <a:gd name="connsiteX7" fmla="*/ 0 w 10888662"/>
              <a:gd name="connsiteY7" fmla="*/ 659657 h 6522010"/>
              <a:gd name="connsiteX0" fmla="*/ 0 w 10888662"/>
              <a:gd name="connsiteY0" fmla="*/ 579722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579722 h 6442075"/>
              <a:gd name="connsiteX0" fmla="*/ 0 w 10888662"/>
              <a:gd name="connsiteY0" fmla="*/ 129257 h 6569679"/>
              <a:gd name="connsiteX1" fmla="*/ 10308940 w 10888662"/>
              <a:gd name="connsiteY1" fmla="*/ 127604 h 6569679"/>
              <a:gd name="connsiteX2" fmla="*/ 10888662 w 10888662"/>
              <a:gd name="connsiteY2" fmla="*/ 707326 h 6569679"/>
              <a:gd name="connsiteX3" fmla="*/ 10888662 w 10888662"/>
              <a:gd name="connsiteY3" fmla="*/ 5989957 h 6569679"/>
              <a:gd name="connsiteX4" fmla="*/ 10308940 w 10888662"/>
              <a:gd name="connsiteY4" fmla="*/ 6569679 h 6569679"/>
              <a:gd name="connsiteX5" fmla="*/ 579722 w 10888662"/>
              <a:gd name="connsiteY5" fmla="*/ 6569679 h 6569679"/>
              <a:gd name="connsiteX6" fmla="*/ 0 w 10888662"/>
              <a:gd name="connsiteY6" fmla="*/ 5989957 h 6569679"/>
              <a:gd name="connsiteX7" fmla="*/ 0 w 10888662"/>
              <a:gd name="connsiteY7" fmla="*/ 129257 h 6569679"/>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9657299 w 10888662"/>
              <a:gd name="connsiteY4" fmla="*/ 55276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522010"/>
              <a:gd name="connsiteX1" fmla="*/ 10308940 w 10888662"/>
              <a:gd name="connsiteY1" fmla="*/ 0 h 6522010"/>
              <a:gd name="connsiteX2" fmla="*/ 10888662 w 10888662"/>
              <a:gd name="connsiteY2" fmla="*/ 579722 h 6522010"/>
              <a:gd name="connsiteX3" fmla="*/ 10888662 w 10888662"/>
              <a:gd name="connsiteY3" fmla="*/ 5862353 h 6522010"/>
              <a:gd name="connsiteX4" fmla="*/ 579722 w 10888662"/>
              <a:gd name="connsiteY4" fmla="*/ 6442075 h 6522010"/>
              <a:gd name="connsiteX5" fmla="*/ 0 w 10888662"/>
              <a:gd name="connsiteY5" fmla="*/ 5862353 h 6522010"/>
              <a:gd name="connsiteX6" fmla="*/ 0 w 10888662"/>
              <a:gd name="connsiteY6" fmla="*/ 1653 h 6522010"/>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579722 w 10888662"/>
              <a:gd name="connsiteY4" fmla="*/ 6442075 h 6442075"/>
              <a:gd name="connsiteX5" fmla="*/ 0 w 10888662"/>
              <a:gd name="connsiteY5" fmla="*/ 5862353 h 6442075"/>
              <a:gd name="connsiteX6" fmla="*/ 0 w 10888662"/>
              <a:gd name="connsiteY6" fmla="*/ 1653 h 6442075"/>
              <a:gd name="connsiteX0" fmla="*/ 0 w 10888662"/>
              <a:gd name="connsiteY0" fmla="*/ 1653 h 6585432"/>
              <a:gd name="connsiteX1" fmla="*/ 10308940 w 10888662"/>
              <a:gd name="connsiteY1" fmla="*/ 0 h 6585432"/>
              <a:gd name="connsiteX2" fmla="*/ 10888662 w 10888662"/>
              <a:gd name="connsiteY2" fmla="*/ 579722 h 6585432"/>
              <a:gd name="connsiteX3" fmla="*/ 10878151 w 10888662"/>
              <a:gd name="connsiteY3" fmla="*/ 6461442 h 6585432"/>
              <a:gd name="connsiteX4" fmla="*/ 579722 w 10888662"/>
              <a:gd name="connsiteY4" fmla="*/ 6442075 h 6585432"/>
              <a:gd name="connsiteX5" fmla="*/ 0 w 10888662"/>
              <a:gd name="connsiteY5" fmla="*/ 5862353 h 6585432"/>
              <a:gd name="connsiteX6" fmla="*/ 0 w 10888662"/>
              <a:gd name="connsiteY6" fmla="*/ 1653 h 6585432"/>
              <a:gd name="connsiteX0" fmla="*/ 0 w 10888662"/>
              <a:gd name="connsiteY0" fmla="*/ 1653 h 6577502"/>
              <a:gd name="connsiteX1" fmla="*/ 10308940 w 10888662"/>
              <a:gd name="connsiteY1" fmla="*/ 0 h 6577502"/>
              <a:gd name="connsiteX2" fmla="*/ 10888662 w 10888662"/>
              <a:gd name="connsiteY2" fmla="*/ 579722 h 6577502"/>
              <a:gd name="connsiteX3" fmla="*/ 10878151 w 10888662"/>
              <a:gd name="connsiteY3" fmla="*/ 6450932 h 6577502"/>
              <a:gd name="connsiteX4" fmla="*/ 579722 w 10888662"/>
              <a:gd name="connsiteY4" fmla="*/ 6442075 h 6577502"/>
              <a:gd name="connsiteX5" fmla="*/ 0 w 10888662"/>
              <a:gd name="connsiteY5" fmla="*/ 5862353 h 6577502"/>
              <a:gd name="connsiteX6" fmla="*/ 0 w 10888662"/>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0888662"/>
              <a:gd name="connsiteY0" fmla="*/ 1653 h 6450932"/>
              <a:gd name="connsiteX1" fmla="*/ 10308940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0999550"/>
              <a:gd name="connsiteY0" fmla="*/ 1653 h 6450932"/>
              <a:gd name="connsiteX1" fmla="*/ 10844968 w 10999550"/>
              <a:gd name="connsiteY1" fmla="*/ 0 h 6450932"/>
              <a:gd name="connsiteX2" fmla="*/ 10888662 w 10999550"/>
              <a:gd name="connsiteY2" fmla="*/ 579722 h 6450932"/>
              <a:gd name="connsiteX3" fmla="*/ 10878151 w 10999550"/>
              <a:gd name="connsiteY3" fmla="*/ 6450932 h 6450932"/>
              <a:gd name="connsiteX4" fmla="*/ 579722 w 10999550"/>
              <a:gd name="connsiteY4" fmla="*/ 6442075 h 6450932"/>
              <a:gd name="connsiteX5" fmla="*/ 0 w 10999550"/>
              <a:gd name="connsiteY5" fmla="*/ 5862353 h 6450932"/>
              <a:gd name="connsiteX6" fmla="*/ 0 w 10999550"/>
              <a:gd name="connsiteY6" fmla="*/ 1653 h 6450932"/>
              <a:gd name="connsiteX0" fmla="*/ 0 w 11022020"/>
              <a:gd name="connsiteY0" fmla="*/ 1653 h 6450932"/>
              <a:gd name="connsiteX1" fmla="*/ 10876499 w 11022020"/>
              <a:gd name="connsiteY1" fmla="*/ 0 h 6450932"/>
              <a:gd name="connsiteX2" fmla="*/ 10888662 w 11022020"/>
              <a:gd name="connsiteY2" fmla="*/ 579722 h 6450932"/>
              <a:gd name="connsiteX3" fmla="*/ 10878151 w 11022020"/>
              <a:gd name="connsiteY3" fmla="*/ 6450932 h 6450932"/>
              <a:gd name="connsiteX4" fmla="*/ 579722 w 11022020"/>
              <a:gd name="connsiteY4" fmla="*/ 6442075 h 6450932"/>
              <a:gd name="connsiteX5" fmla="*/ 0 w 11022020"/>
              <a:gd name="connsiteY5" fmla="*/ 5862353 h 6450932"/>
              <a:gd name="connsiteX6" fmla="*/ 0 w 11022020"/>
              <a:gd name="connsiteY6" fmla="*/ 1653 h 6450932"/>
              <a:gd name="connsiteX0" fmla="*/ 0 w 10888662"/>
              <a:gd name="connsiteY0" fmla="*/ 1653 h 6450932"/>
              <a:gd name="connsiteX1" fmla="*/ 10876499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2200990"/>
              <a:gd name="connsiteY0" fmla="*/ 1653 h 6450932"/>
              <a:gd name="connsiteX1" fmla="*/ 10876499 w 12200990"/>
              <a:gd name="connsiteY1" fmla="*/ 0 h 6450932"/>
              <a:gd name="connsiteX2" fmla="*/ 10878151 w 12200990"/>
              <a:gd name="connsiteY2" fmla="*/ 6450932 h 6450932"/>
              <a:gd name="connsiteX3" fmla="*/ 579722 w 12200990"/>
              <a:gd name="connsiteY3" fmla="*/ 6442075 h 6450932"/>
              <a:gd name="connsiteX4" fmla="*/ 0 w 12200990"/>
              <a:gd name="connsiteY4" fmla="*/ 5862353 h 6450932"/>
              <a:gd name="connsiteX5" fmla="*/ 0 w 12200990"/>
              <a:gd name="connsiteY5" fmla="*/ 1653 h 6450932"/>
              <a:gd name="connsiteX0" fmla="*/ 0 w 11640630"/>
              <a:gd name="connsiteY0" fmla="*/ 1653 h 6450932"/>
              <a:gd name="connsiteX1" fmla="*/ 10876499 w 11640630"/>
              <a:gd name="connsiteY1" fmla="*/ 0 h 6450932"/>
              <a:gd name="connsiteX2" fmla="*/ 10878151 w 11640630"/>
              <a:gd name="connsiteY2" fmla="*/ 6450932 h 6450932"/>
              <a:gd name="connsiteX3" fmla="*/ 579722 w 11640630"/>
              <a:gd name="connsiteY3" fmla="*/ 6442075 h 6450932"/>
              <a:gd name="connsiteX4" fmla="*/ 0 w 11640630"/>
              <a:gd name="connsiteY4" fmla="*/ 5862353 h 6450932"/>
              <a:gd name="connsiteX5" fmla="*/ 0 w 11640630"/>
              <a:gd name="connsiteY5" fmla="*/ 1653 h 6450932"/>
              <a:gd name="connsiteX0" fmla="*/ 0 w 10878151"/>
              <a:gd name="connsiteY0" fmla="*/ 1653 h 6450932"/>
              <a:gd name="connsiteX1" fmla="*/ 10876499 w 10878151"/>
              <a:gd name="connsiteY1" fmla="*/ 0 h 6450932"/>
              <a:gd name="connsiteX2" fmla="*/ 10878151 w 10878151"/>
              <a:gd name="connsiteY2" fmla="*/ 6450932 h 6450932"/>
              <a:gd name="connsiteX3" fmla="*/ 579722 w 10878151"/>
              <a:gd name="connsiteY3" fmla="*/ 6442075 h 6450932"/>
              <a:gd name="connsiteX4" fmla="*/ 0 w 10878151"/>
              <a:gd name="connsiteY4" fmla="*/ 5862353 h 6450932"/>
              <a:gd name="connsiteX5" fmla="*/ 0 w 10878151"/>
              <a:gd name="connsiteY5" fmla="*/ 1653 h 6450932"/>
              <a:gd name="connsiteX0" fmla="*/ 0 w 11843451"/>
              <a:gd name="connsiteY0" fmla="*/ 1653 h 6450932"/>
              <a:gd name="connsiteX1" fmla="*/ 11843451 w 11843451"/>
              <a:gd name="connsiteY1" fmla="*/ 0 h 6450932"/>
              <a:gd name="connsiteX2" fmla="*/ 10878151 w 11843451"/>
              <a:gd name="connsiteY2" fmla="*/ 6450932 h 6450932"/>
              <a:gd name="connsiteX3" fmla="*/ 579722 w 11843451"/>
              <a:gd name="connsiteY3" fmla="*/ 6442075 h 6450932"/>
              <a:gd name="connsiteX4" fmla="*/ 0 w 11843451"/>
              <a:gd name="connsiteY4" fmla="*/ 5862353 h 6450932"/>
              <a:gd name="connsiteX5" fmla="*/ 0 w 11843451"/>
              <a:gd name="connsiteY5" fmla="*/ 1653 h 6450932"/>
              <a:gd name="connsiteX0" fmla="*/ 0 w 11855613"/>
              <a:gd name="connsiteY0" fmla="*/ 1653 h 6450932"/>
              <a:gd name="connsiteX1" fmla="*/ 11843451 w 11855613"/>
              <a:gd name="connsiteY1" fmla="*/ 0 h 6450932"/>
              <a:gd name="connsiteX2" fmla="*/ 11855613 w 11855613"/>
              <a:gd name="connsiteY2" fmla="*/ 6450932 h 6450932"/>
              <a:gd name="connsiteX3" fmla="*/ 579722 w 11855613"/>
              <a:gd name="connsiteY3" fmla="*/ 6442075 h 6450932"/>
              <a:gd name="connsiteX4" fmla="*/ 0 w 11855613"/>
              <a:gd name="connsiteY4" fmla="*/ 5862353 h 6450932"/>
              <a:gd name="connsiteX5" fmla="*/ 0 w 11855613"/>
              <a:gd name="connsiteY5" fmla="*/ 1653 h 6450932"/>
              <a:gd name="connsiteX0" fmla="*/ 0 w 11864472"/>
              <a:gd name="connsiteY0" fmla="*/ 1653 h 6450932"/>
              <a:gd name="connsiteX1" fmla="*/ 11864472 w 11864472"/>
              <a:gd name="connsiteY1" fmla="*/ 0 h 6450932"/>
              <a:gd name="connsiteX2" fmla="*/ 11855613 w 11864472"/>
              <a:gd name="connsiteY2" fmla="*/ 6450932 h 6450932"/>
              <a:gd name="connsiteX3" fmla="*/ 579722 w 11864472"/>
              <a:gd name="connsiteY3" fmla="*/ 6442075 h 6450932"/>
              <a:gd name="connsiteX4" fmla="*/ 0 w 11864472"/>
              <a:gd name="connsiteY4" fmla="*/ 5862353 h 6450932"/>
              <a:gd name="connsiteX5" fmla="*/ 0 w 11864472"/>
              <a:gd name="connsiteY5" fmla="*/ 1653 h 6450932"/>
              <a:gd name="connsiteX0" fmla="*/ 0 w 11864472"/>
              <a:gd name="connsiteY0" fmla="*/ 1653 h 6442075"/>
              <a:gd name="connsiteX1" fmla="*/ 11864472 w 11864472"/>
              <a:gd name="connsiteY1" fmla="*/ 0 h 6442075"/>
              <a:gd name="connsiteX2" fmla="*/ 11855613 w 11864472"/>
              <a:gd name="connsiteY2" fmla="*/ 6440421 h 6442075"/>
              <a:gd name="connsiteX3" fmla="*/ 579722 w 11864472"/>
              <a:gd name="connsiteY3" fmla="*/ 6442075 h 6442075"/>
              <a:gd name="connsiteX4" fmla="*/ 0 w 11864472"/>
              <a:gd name="connsiteY4" fmla="*/ 5862353 h 6442075"/>
              <a:gd name="connsiteX5" fmla="*/ 0 w 11864472"/>
              <a:gd name="connsiteY5" fmla="*/ 1653 h 6442075"/>
              <a:gd name="connsiteX0" fmla="*/ 0 w 11855613"/>
              <a:gd name="connsiteY0" fmla="*/ 1653 h 6442075"/>
              <a:gd name="connsiteX1" fmla="*/ 8912928 w 11855613"/>
              <a:gd name="connsiteY1" fmla="*/ 0 h 6442075"/>
              <a:gd name="connsiteX2" fmla="*/ 11855613 w 11855613"/>
              <a:gd name="connsiteY2" fmla="*/ 6440421 h 6442075"/>
              <a:gd name="connsiteX3" fmla="*/ 579722 w 11855613"/>
              <a:gd name="connsiteY3" fmla="*/ 6442075 h 6442075"/>
              <a:gd name="connsiteX4" fmla="*/ 0 w 11855613"/>
              <a:gd name="connsiteY4" fmla="*/ 5862353 h 6442075"/>
              <a:gd name="connsiteX5" fmla="*/ 0 w 11855613"/>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74032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36077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1615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15642"/>
              <a:gd name="connsiteY0" fmla="*/ 1653 h 6442075"/>
              <a:gd name="connsiteX1" fmla="*/ 8912928 w 8915642"/>
              <a:gd name="connsiteY1" fmla="*/ 0 h 6442075"/>
              <a:gd name="connsiteX2" fmla="*/ 8915642 w 8915642"/>
              <a:gd name="connsiteY2" fmla="*/ 6440421 h 6442075"/>
              <a:gd name="connsiteX3" fmla="*/ 579722 w 8915642"/>
              <a:gd name="connsiteY3" fmla="*/ 6442075 h 6442075"/>
              <a:gd name="connsiteX4" fmla="*/ 0 w 8915642"/>
              <a:gd name="connsiteY4" fmla="*/ 5862353 h 6442075"/>
              <a:gd name="connsiteX5" fmla="*/ 0 w 8915642"/>
              <a:gd name="connsiteY5" fmla="*/ 1653 h 6442075"/>
              <a:gd name="connsiteX0" fmla="*/ 0 w 8915642"/>
              <a:gd name="connsiteY0" fmla="*/ 1 h 6633463"/>
              <a:gd name="connsiteX1" fmla="*/ 8912928 w 8915642"/>
              <a:gd name="connsiteY1" fmla="*/ 191388 h 6633463"/>
              <a:gd name="connsiteX2" fmla="*/ 8915642 w 8915642"/>
              <a:gd name="connsiteY2" fmla="*/ 6631809 h 6633463"/>
              <a:gd name="connsiteX3" fmla="*/ 579722 w 8915642"/>
              <a:gd name="connsiteY3" fmla="*/ 6633463 h 6633463"/>
              <a:gd name="connsiteX4" fmla="*/ 0 w 8915642"/>
              <a:gd name="connsiteY4" fmla="*/ 6053741 h 6633463"/>
              <a:gd name="connsiteX5" fmla="*/ 0 w 8915642"/>
              <a:gd name="connsiteY5" fmla="*/ 1 h 6633463"/>
              <a:gd name="connsiteX0" fmla="*/ 0 w 8933278"/>
              <a:gd name="connsiteY0" fmla="*/ 1653 h 6635115"/>
              <a:gd name="connsiteX1" fmla="*/ 8933248 w 8933278"/>
              <a:gd name="connsiteY1" fmla="*/ 0 h 6635115"/>
              <a:gd name="connsiteX2" fmla="*/ 8915642 w 8933278"/>
              <a:gd name="connsiteY2" fmla="*/ 6633461 h 6635115"/>
              <a:gd name="connsiteX3" fmla="*/ 579722 w 8933278"/>
              <a:gd name="connsiteY3" fmla="*/ 6635115 h 6635115"/>
              <a:gd name="connsiteX4" fmla="*/ 0 w 8933278"/>
              <a:gd name="connsiteY4" fmla="*/ 6055393 h 6635115"/>
              <a:gd name="connsiteX5" fmla="*/ 0 w 8933278"/>
              <a:gd name="connsiteY5" fmla="*/ 1653 h 6635115"/>
              <a:gd name="connsiteX0" fmla="*/ 0 w 8933323"/>
              <a:gd name="connsiteY0" fmla="*/ 1653 h 6645336"/>
              <a:gd name="connsiteX1" fmla="*/ 8933248 w 8933323"/>
              <a:gd name="connsiteY1" fmla="*/ 0 h 6645336"/>
              <a:gd name="connsiteX2" fmla="*/ 8927517 w 8933323"/>
              <a:gd name="connsiteY2" fmla="*/ 6645336 h 6645336"/>
              <a:gd name="connsiteX3" fmla="*/ 579722 w 8933323"/>
              <a:gd name="connsiteY3" fmla="*/ 6635115 h 6645336"/>
              <a:gd name="connsiteX4" fmla="*/ 0 w 8933323"/>
              <a:gd name="connsiteY4" fmla="*/ 6055393 h 6645336"/>
              <a:gd name="connsiteX5" fmla="*/ 0 w 8933323"/>
              <a:gd name="connsiteY5" fmla="*/ 1653 h 6645336"/>
              <a:gd name="connsiteX0" fmla="*/ 0 w 8927517"/>
              <a:gd name="connsiteY0" fmla="*/ 1653 h 6645336"/>
              <a:gd name="connsiteX1" fmla="*/ 7971347 w 8927517"/>
              <a:gd name="connsiteY1" fmla="*/ 0 h 6645336"/>
              <a:gd name="connsiteX2" fmla="*/ 8927517 w 8927517"/>
              <a:gd name="connsiteY2" fmla="*/ 6645336 h 6645336"/>
              <a:gd name="connsiteX3" fmla="*/ 579722 w 8927517"/>
              <a:gd name="connsiteY3" fmla="*/ 6635115 h 6645336"/>
              <a:gd name="connsiteX4" fmla="*/ 0 w 8927517"/>
              <a:gd name="connsiteY4" fmla="*/ 6055393 h 6645336"/>
              <a:gd name="connsiteX5" fmla="*/ 0 w 8927517"/>
              <a:gd name="connsiteY5" fmla="*/ 1653 h 6645336"/>
              <a:gd name="connsiteX0" fmla="*/ 0 w 7971422"/>
              <a:gd name="connsiteY0" fmla="*/ 1653 h 6645336"/>
              <a:gd name="connsiteX1" fmla="*/ 7971347 w 7971422"/>
              <a:gd name="connsiteY1" fmla="*/ 0 h 6645336"/>
              <a:gd name="connsiteX2" fmla="*/ 7965616 w 7971422"/>
              <a:gd name="connsiteY2" fmla="*/ 6645336 h 6645336"/>
              <a:gd name="connsiteX3" fmla="*/ 579722 w 7971422"/>
              <a:gd name="connsiteY3" fmla="*/ 6635115 h 6645336"/>
              <a:gd name="connsiteX4" fmla="*/ 0 w 7971422"/>
              <a:gd name="connsiteY4" fmla="*/ 6055393 h 6645336"/>
              <a:gd name="connsiteX5" fmla="*/ 0 w 7971422"/>
              <a:gd name="connsiteY5" fmla="*/ 1653 h 6645336"/>
              <a:gd name="connsiteX0" fmla="*/ 0 w 7971422"/>
              <a:gd name="connsiteY0" fmla="*/ 1301816 h 6645336"/>
              <a:gd name="connsiteX1" fmla="*/ 7971347 w 7971422"/>
              <a:gd name="connsiteY1" fmla="*/ 0 h 6645336"/>
              <a:gd name="connsiteX2" fmla="*/ 7965616 w 7971422"/>
              <a:gd name="connsiteY2" fmla="*/ 6645336 h 6645336"/>
              <a:gd name="connsiteX3" fmla="*/ 579722 w 7971422"/>
              <a:gd name="connsiteY3" fmla="*/ 6635115 h 6645336"/>
              <a:gd name="connsiteX4" fmla="*/ 0 w 7971422"/>
              <a:gd name="connsiteY4" fmla="*/ 6055393 h 6645336"/>
              <a:gd name="connsiteX5" fmla="*/ 0 w 7971422"/>
              <a:gd name="connsiteY5" fmla="*/ 1301816 h 6645336"/>
              <a:gd name="connsiteX0" fmla="*/ 0 w 7965616"/>
              <a:gd name="connsiteY0" fmla="*/ 1653 h 5345173"/>
              <a:gd name="connsiteX1" fmla="*/ 7957060 w 7965616"/>
              <a:gd name="connsiteY1" fmla="*/ 0 h 5345173"/>
              <a:gd name="connsiteX2" fmla="*/ 7965616 w 7965616"/>
              <a:gd name="connsiteY2" fmla="*/ 5345173 h 5345173"/>
              <a:gd name="connsiteX3" fmla="*/ 579722 w 7965616"/>
              <a:gd name="connsiteY3" fmla="*/ 5334952 h 5345173"/>
              <a:gd name="connsiteX4" fmla="*/ 0 w 7965616"/>
              <a:gd name="connsiteY4" fmla="*/ 4755230 h 5345173"/>
              <a:gd name="connsiteX5" fmla="*/ 0 w 7965616"/>
              <a:gd name="connsiteY5" fmla="*/ 1653 h 5345173"/>
              <a:gd name="connsiteX0" fmla="*/ 0 w 7971422"/>
              <a:gd name="connsiteY0" fmla="*/ 1653 h 5345173"/>
              <a:gd name="connsiteX1" fmla="*/ 7971347 w 7971422"/>
              <a:gd name="connsiteY1" fmla="*/ 0 h 5345173"/>
              <a:gd name="connsiteX2" fmla="*/ 7965616 w 7971422"/>
              <a:gd name="connsiteY2" fmla="*/ 5345173 h 5345173"/>
              <a:gd name="connsiteX3" fmla="*/ 579722 w 7971422"/>
              <a:gd name="connsiteY3" fmla="*/ 5334952 h 5345173"/>
              <a:gd name="connsiteX4" fmla="*/ 0 w 7971422"/>
              <a:gd name="connsiteY4" fmla="*/ 4755230 h 5345173"/>
              <a:gd name="connsiteX5" fmla="*/ 0 w 7971422"/>
              <a:gd name="connsiteY5" fmla="*/ 1653 h 5345173"/>
              <a:gd name="connsiteX0" fmla="*/ 0 w 7988356"/>
              <a:gd name="connsiteY0" fmla="*/ 187920 h 5345173"/>
              <a:gd name="connsiteX1" fmla="*/ 7988281 w 7988356"/>
              <a:gd name="connsiteY1" fmla="*/ 0 h 5345173"/>
              <a:gd name="connsiteX2" fmla="*/ 7982550 w 7988356"/>
              <a:gd name="connsiteY2" fmla="*/ 5345173 h 5345173"/>
              <a:gd name="connsiteX3" fmla="*/ 596656 w 7988356"/>
              <a:gd name="connsiteY3" fmla="*/ 5334952 h 5345173"/>
              <a:gd name="connsiteX4" fmla="*/ 16934 w 7988356"/>
              <a:gd name="connsiteY4" fmla="*/ 4755230 h 5345173"/>
              <a:gd name="connsiteX5" fmla="*/ 0 w 7988356"/>
              <a:gd name="connsiteY5" fmla="*/ 187920 h 5345173"/>
              <a:gd name="connsiteX0" fmla="*/ 0 w 7988356"/>
              <a:gd name="connsiteY0" fmla="*/ 210145 h 5345173"/>
              <a:gd name="connsiteX1" fmla="*/ 7988281 w 7988356"/>
              <a:gd name="connsiteY1" fmla="*/ 0 h 5345173"/>
              <a:gd name="connsiteX2" fmla="*/ 7982550 w 7988356"/>
              <a:gd name="connsiteY2" fmla="*/ 5345173 h 5345173"/>
              <a:gd name="connsiteX3" fmla="*/ 596656 w 7988356"/>
              <a:gd name="connsiteY3" fmla="*/ 5334952 h 5345173"/>
              <a:gd name="connsiteX4" fmla="*/ 16934 w 7988356"/>
              <a:gd name="connsiteY4" fmla="*/ 4755230 h 5345173"/>
              <a:gd name="connsiteX5" fmla="*/ 0 w 7988356"/>
              <a:gd name="connsiteY5" fmla="*/ 210145 h 5345173"/>
              <a:gd name="connsiteX0" fmla="*/ 0 w 7988356"/>
              <a:gd name="connsiteY0" fmla="*/ 0 h 5135028"/>
              <a:gd name="connsiteX1" fmla="*/ 7988281 w 7988356"/>
              <a:gd name="connsiteY1" fmla="*/ 7569 h 5135028"/>
              <a:gd name="connsiteX2" fmla="*/ 7982550 w 7988356"/>
              <a:gd name="connsiteY2" fmla="*/ 5135028 h 5135028"/>
              <a:gd name="connsiteX3" fmla="*/ 596656 w 7988356"/>
              <a:gd name="connsiteY3" fmla="*/ 5124807 h 5135028"/>
              <a:gd name="connsiteX4" fmla="*/ 16934 w 7988356"/>
              <a:gd name="connsiteY4" fmla="*/ 4545085 h 5135028"/>
              <a:gd name="connsiteX5" fmla="*/ 0 w 7988356"/>
              <a:gd name="connsiteY5" fmla="*/ 0 h 5135028"/>
              <a:gd name="connsiteX0" fmla="*/ 0 w 7982550"/>
              <a:gd name="connsiteY0" fmla="*/ 0 h 5135028"/>
              <a:gd name="connsiteX1" fmla="*/ 6028853 w 7982550"/>
              <a:gd name="connsiteY1" fmla="*/ 7569 h 5135028"/>
              <a:gd name="connsiteX2" fmla="*/ 7982550 w 7982550"/>
              <a:gd name="connsiteY2" fmla="*/ 5135028 h 5135028"/>
              <a:gd name="connsiteX3" fmla="*/ 596656 w 7982550"/>
              <a:gd name="connsiteY3" fmla="*/ 5124807 h 5135028"/>
              <a:gd name="connsiteX4" fmla="*/ 16934 w 7982550"/>
              <a:gd name="connsiteY4" fmla="*/ 4545085 h 5135028"/>
              <a:gd name="connsiteX5" fmla="*/ 0 w 7982550"/>
              <a:gd name="connsiteY5" fmla="*/ 0 h 5135028"/>
              <a:gd name="connsiteX0" fmla="*/ 0 w 6037636"/>
              <a:gd name="connsiteY0" fmla="*/ 0 h 5135028"/>
              <a:gd name="connsiteX1" fmla="*/ 6028853 w 6037636"/>
              <a:gd name="connsiteY1" fmla="*/ 7569 h 5135028"/>
              <a:gd name="connsiteX2" fmla="*/ 6037636 w 6037636"/>
              <a:gd name="connsiteY2" fmla="*/ 5135028 h 5135028"/>
              <a:gd name="connsiteX3" fmla="*/ 596656 w 6037636"/>
              <a:gd name="connsiteY3" fmla="*/ 5124807 h 5135028"/>
              <a:gd name="connsiteX4" fmla="*/ 16934 w 6037636"/>
              <a:gd name="connsiteY4" fmla="*/ 4545085 h 5135028"/>
              <a:gd name="connsiteX5" fmla="*/ 0 w 6037636"/>
              <a:gd name="connsiteY5" fmla="*/ 0 h 5135028"/>
              <a:gd name="connsiteX0" fmla="*/ 0 w 6028853"/>
              <a:gd name="connsiteY0" fmla="*/ 0 h 5124807"/>
              <a:gd name="connsiteX1" fmla="*/ 6028853 w 6028853"/>
              <a:gd name="connsiteY1" fmla="*/ 7569 h 5124807"/>
              <a:gd name="connsiteX2" fmla="*/ 4063693 w 6028853"/>
              <a:gd name="connsiteY2" fmla="*/ 5105999 h 5124807"/>
              <a:gd name="connsiteX3" fmla="*/ 596656 w 6028853"/>
              <a:gd name="connsiteY3" fmla="*/ 5124807 h 5124807"/>
              <a:gd name="connsiteX4" fmla="*/ 16934 w 6028853"/>
              <a:gd name="connsiteY4" fmla="*/ 4545085 h 5124807"/>
              <a:gd name="connsiteX5" fmla="*/ 0 w 6028853"/>
              <a:gd name="connsiteY5" fmla="*/ 0 h 5124807"/>
              <a:gd name="connsiteX0" fmla="*/ 0 w 4069500"/>
              <a:gd name="connsiteY0" fmla="*/ 0 h 5124807"/>
              <a:gd name="connsiteX1" fmla="*/ 4069425 w 4069500"/>
              <a:gd name="connsiteY1" fmla="*/ 7569 h 5124807"/>
              <a:gd name="connsiteX2" fmla="*/ 4063693 w 4069500"/>
              <a:gd name="connsiteY2" fmla="*/ 5105999 h 5124807"/>
              <a:gd name="connsiteX3" fmla="*/ 596656 w 4069500"/>
              <a:gd name="connsiteY3" fmla="*/ 5124807 h 5124807"/>
              <a:gd name="connsiteX4" fmla="*/ 16934 w 4069500"/>
              <a:gd name="connsiteY4" fmla="*/ 4545085 h 5124807"/>
              <a:gd name="connsiteX5" fmla="*/ 0 w 4069500"/>
              <a:gd name="connsiteY5" fmla="*/ 0 h 5124807"/>
              <a:gd name="connsiteX0" fmla="*/ 0 w 4069500"/>
              <a:gd name="connsiteY0" fmla="*/ 6946 h 5131753"/>
              <a:gd name="connsiteX1" fmla="*/ 4069425 w 4069500"/>
              <a:gd name="connsiteY1" fmla="*/ 0 h 5131753"/>
              <a:gd name="connsiteX2" fmla="*/ 4063693 w 4069500"/>
              <a:gd name="connsiteY2" fmla="*/ 5112945 h 5131753"/>
              <a:gd name="connsiteX3" fmla="*/ 596656 w 4069500"/>
              <a:gd name="connsiteY3" fmla="*/ 5131753 h 5131753"/>
              <a:gd name="connsiteX4" fmla="*/ 16934 w 4069500"/>
              <a:gd name="connsiteY4" fmla="*/ 4552031 h 5131753"/>
              <a:gd name="connsiteX5" fmla="*/ 0 w 4069500"/>
              <a:gd name="connsiteY5" fmla="*/ 6946 h 51317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069500" h="5131753">
                <a:moveTo>
                  <a:pt x="0" y="6946"/>
                </a:moveTo>
                <a:lnTo>
                  <a:pt x="4069425" y="0"/>
                </a:lnTo>
                <a:cubicBezTo>
                  <a:pt x="4070330" y="2146807"/>
                  <a:pt x="4062788" y="2966138"/>
                  <a:pt x="4063693" y="5112945"/>
                </a:cubicBezTo>
                <a:lnTo>
                  <a:pt x="596656" y="5131753"/>
                </a:lnTo>
                <a:cubicBezTo>
                  <a:pt x="276484" y="5131753"/>
                  <a:pt x="16934" y="4872203"/>
                  <a:pt x="16934" y="4552031"/>
                </a:cubicBezTo>
                <a:cubicBezTo>
                  <a:pt x="11289" y="3029594"/>
                  <a:pt x="5645" y="1529383"/>
                  <a:pt x="0" y="6946"/>
                </a:cubicBezTo>
                <a:close/>
              </a:path>
            </a:pathLst>
          </a:custGeom>
          <a:noFill/>
        </p:spPr>
        <p:txBody>
          <a:bodyPr>
            <a:normAutofit/>
          </a:bodyPr>
          <a:lstStyle>
            <a:lvl1pPr marL="0" indent="0">
              <a:buNone/>
              <a:defRPr sz="1400">
                <a:solidFill>
                  <a:schemeClr val="tx1"/>
                </a:solidFill>
              </a:defRPr>
            </a:lvl1pPr>
          </a:lstStyle>
          <a:p>
            <a:r>
              <a:rPr lang="en-JP"/>
              <a:t>Insert Photo</a:t>
            </a:r>
          </a:p>
        </p:txBody>
      </p:sp>
      <p:pic>
        <p:nvPicPr>
          <p:cNvPr id="14" name="Picture 13" descr="Takeda">
            <a:extLst>
              <a:ext uri="{FF2B5EF4-FFF2-40B4-BE49-F238E27FC236}">
                <a16:creationId xmlns:a16="http://schemas.microsoft.com/office/drawing/2014/main" id="{334C6D4B-D00D-0346-BC97-8DCE371C280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46331" y="-1615"/>
            <a:ext cx="1696232" cy="940780"/>
          </a:xfrm>
          <a:prstGeom prst="rect">
            <a:avLst/>
          </a:prstGeom>
        </p:spPr>
      </p:pic>
      <p:sp>
        <p:nvSpPr>
          <p:cNvPr id="17" name="タイトル プレースホルダ 1">
            <a:extLst>
              <a:ext uri="{FF2B5EF4-FFF2-40B4-BE49-F238E27FC236}">
                <a16:creationId xmlns:a16="http://schemas.microsoft.com/office/drawing/2014/main" id="{CCEDFD04-9A53-9241-851E-1D01DC555ACC}"/>
              </a:ext>
            </a:extLst>
          </p:cNvPr>
          <p:cNvSpPr>
            <a:spLocks noGrp="1"/>
          </p:cNvSpPr>
          <p:nvPr>
            <p:ph type="title" hasCustomPrompt="1"/>
          </p:nvPr>
        </p:nvSpPr>
        <p:spPr>
          <a:xfrm>
            <a:off x="606078" y="161605"/>
            <a:ext cx="9940253" cy="685801"/>
          </a:xfrm>
          <a:prstGeom prst="rect">
            <a:avLst/>
          </a:prstGeom>
        </p:spPr>
        <p:txBody>
          <a:bodyPr vert="horz" lIns="0" tIns="0" rIns="0" bIns="0" rtlCol="0" anchor="ctr">
            <a:normAutofit/>
          </a:bodyPr>
          <a:lstStyle/>
          <a:p>
            <a:r>
              <a:rPr kumimoji="1" lang="en-US" altLang="ja-JP"/>
              <a:t>Click to add title</a:t>
            </a:r>
            <a:endParaRPr kumimoji="1" lang="ja-JP" altLang="en-US"/>
          </a:p>
        </p:txBody>
      </p:sp>
      <p:sp>
        <p:nvSpPr>
          <p:cNvPr id="20" name="Footer Placeholder 8">
            <a:extLst>
              <a:ext uri="{FF2B5EF4-FFF2-40B4-BE49-F238E27FC236}">
                <a16:creationId xmlns:a16="http://schemas.microsoft.com/office/drawing/2014/main" id="{1E1D8887-7EAE-1A40-9285-7C632FEAA8BF}"/>
              </a:ext>
            </a:extLst>
          </p:cNvPr>
          <p:cNvSpPr>
            <a:spLocks noGrp="1"/>
          </p:cNvSpPr>
          <p:nvPr>
            <p:ph type="ftr" sz="quarter" idx="3"/>
          </p:nvPr>
        </p:nvSpPr>
        <p:spPr>
          <a:xfrm>
            <a:off x="7766050" y="6523001"/>
            <a:ext cx="4114800" cy="196131"/>
          </a:xfrm>
          <a:prstGeom prst="rect">
            <a:avLst/>
          </a:prstGeom>
        </p:spPr>
        <p:txBody>
          <a:bodyPr vert="horz" lIns="91440" tIns="45720" rIns="0" bIns="45720" rtlCol="0" anchor="ctr"/>
          <a:lstStyle>
            <a:lvl1pPr algn="r">
              <a:defRPr sz="800" b="1" spc="100" baseline="0">
                <a:solidFill>
                  <a:schemeClr val="tx1"/>
                </a:solidFill>
              </a:defRPr>
            </a:lvl1pPr>
          </a:lstStyle>
          <a:p>
            <a:r>
              <a:rPr lang="en-JP"/>
              <a:t> </a:t>
            </a:r>
          </a:p>
        </p:txBody>
      </p:sp>
      <p:sp>
        <p:nvSpPr>
          <p:cNvPr id="23" name="Rectangle 22">
            <a:extLst>
              <a:ext uri="{FF2B5EF4-FFF2-40B4-BE49-F238E27FC236}">
                <a16:creationId xmlns:a16="http://schemas.microsoft.com/office/drawing/2014/main" id="{365B3EBD-E4F5-8E40-B07A-C04F3B1E7F2C}"/>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a:solidFill>
                <a:schemeClr val="accent1"/>
              </a:solidFill>
            </a:endParaRPr>
          </a:p>
        </p:txBody>
      </p:sp>
      <p:sp>
        <p:nvSpPr>
          <p:cNvPr id="26" name="スライド番号プレースホルダ 5">
            <a:extLst>
              <a:ext uri="{FF2B5EF4-FFF2-40B4-BE49-F238E27FC236}">
                <a16:creationId xmlns:a16="http://schemas.microsoft.com/office/drawing/2014/main" id="{3D5D14EF-A351-224D-8142-E1BEE44BBC99}"/>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7" name="Text Placeholder 6">
            <a:extLst>
              <a:ext uri="{FF2B5EF4-FFF2-40B4-BE49-F238E27FC236}">
                <a16:creationId xmlns:a16="http://schemas.microsoft.com/office/drawing/2014/main" id="{4D0A49B6-0BCC-C545-BF97-504B63062FEC}"/>
              </a:ext>
            </a:extLst>
          </p:cNvPr>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Private and confidential. For internal use only.</a:t>
            </a:r>
          </a:p>
        </p:txBody>
      </p:sp>
      <p:sp>
        <p:nvSpPr>
          <p:cNvPr id="15" name="Text Placeholder 2">
            <a:extLst>
              <a:ext uri="{FF2B5EF4-FFF2-40B4-BE49-F238E27FC236}">
                <a16:creationId xmlns:a16="http://schemas.microsoft.com/office/drawing/2014/main" id="{D82FCE78-36AB-904B-98A8-CE3FFB1555E3}"/>
              </a:ext>
            </a:extLst>
          </p:cNvPr>
          <p:cNvSpPr>
            <a:spLocks noGrp="1"/>
          </p:cNvSpPr>
          <p:nvPr>
            <p:ph type="body" sz="quarter" idx="20" hasCustomPrompt="1"/>
          </p:nvPr>
        </p:nvSpPr>
        <p:spPr>
          <a:xfrm>
            <a:off x="311150" y="1491373"/>
            <a:ext cx="7660041" cy="1464957"/>
          </a:xfrm>
        </p:spPr>
        <p:txBody>
          <a:bodyPr tIns="0" rIns="0" bIns="0" numCol="1" spcCol="126000">
            <a:noAutofit/>
          </a:bodyPr>
          <a:lstStyle>
            <a:lvl1pPr marL="0" indent="0">
              <a:lnSpc>
                <a:spcPct val="100000"/>
              </a:lnSpc>
              <a:spcBef>
                <a:spcPts val="0"/>
              </a:spcBef>
              <a:buNone/>
              <a:defRPr sz="1600" b="1"/>
            </a:lvl1pPr>
            <a:lvl2pPr marL="457068" indent="0">
              <a:buNone/>
              <a:defRPr sz="1800" b="1"/>
            </a:lvl2pPr>
            <a:lvl3pPr marL="914149" indent="0">
              <a:buNone/>
              <a:defRPr sz="1800" b="1"/>
            </a:lvl3pPr>
            <a:lvl4pPr marL="1371219" indent="0">
              <a:buNone/>
              <a:defRPr sz="1800" b="1"/>
            </a:lvl4pPr>
            <a:lvl5pPr marL="1828290" indent="0">
              <a:buNone/>
              <a:defRPr sz="1800" b="1"/>
            </a:lvl5pPr>
          </a:lstStyle>
          <a:p>
            <a:pPr lvl="0"/>
            <a:r>
              <a:rPr lang="en-US"/>
              <a:t>This is your Primary Text.</a:t>
            </a:r>
            <a:endParaRPr lang="en-JP"/>
          </a:p>
        </p:txBody>
      </p:sp>
      <p:sp>
        <p:nvSpPr>
          <p:cNvPr id="18" name="Text Placeholder 6">
            <a:extLst>
              <a:ext uri="{FF2B5EF4-FFF2-40B4-BE49-F238E27FC236}">
                <a16:creationId xmlns:a16="http://schemas.microsoft.com/office/drawing/2014/main" id="{72ECF95F-F25E-8248-A0F3-BB1749A1B406}"/>
              </a:ext>
            </a:extLst>
          </p:cNvPr>
          <p:cNvSpPr>
            <a:spLocks noGrp="1"/>
          </p:cNvSpPr>
          <p:nvPr>
            <p:ph type="body" sz="quarter" idx="21" hasCustomPrompt="1"/>
          </p:nvPr>
        </p:nvSpPr>
        <p:spPr>
          <a:xfrm>
            <a:off x="311149" y="1093767"/>
            <a:ext cx="7660041" cy="272786"/>
          </a:xfrm>
        </p:spPr>
        <p:txBody>
          <a:bodyPr tIns="0" rIns="0" bIns="0" numCol="1">
            <a:noAutofit/>
          </a:bodyPr>
          <a:lstStyle>
            <a:lvl1pPr marL="0" indent="0">
              <a:lnSpc>
                <a:spcPct val="100000"/>
              </a:lnSpc>
              <a:spcBef>
                <a:spcPts val="0"/>
              </a:spcBef>
              <a:spcAft>
                <a:spcPts val="600"/>
              </a:spcAft>
              <a:buNone/>
              <a:defRPr sz="20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Primary Title</a:t>
            </a:r>
          </a:p>
        </p:txBody>
      </p:sp>
    </p:spTree>
    <p:extLst>
      <p:ext uri="{BB962C8B-B14F-4D97-AF65-F5344CB8AC3E}">
        <p14:creationId xmlns:p14="http://schemas.microsoft.com/office/powerpoint/2010/main" val="2840519416"/>
      </p:ext>
    </p:extLst>
  </p:cSld>
  <p:clrMapOvr>
    <a:masterClrMapping/>
  </p:clrMapOvr>
  <p:transition spd="slow">
    <p:push dir="u"/>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19" name="Footer Placeholder 8">
            <a:extLst>
              <a:ext uri="{FF2B5EF4-FFF2-40B4-BE49-F238E27FC236}">
                <a16:creationId xmlns:a16="http://schemas.microsoft.com/office/drawing/2014/main" id="{CDA06C55-0643-C148-AAB1-C4BB26FD7B26}"/>
              </a:ext>
            </a:extLst>
          </p:cNvPr>
          <p:cNvSpPr>
            <a:spLocks noGrp="1"/>
          </p:cNvSpPr>
          <p:nvPr>
            <p:ph type="ftr" sz="quarter" idx="3"/>
          </p:nvPr>
        </p:nvSpPr>
        <p:spPr>
          <a:xfrm>
            <a:off x="7766050" y="6523001"/>
            <a:ext cx="4114800" cy="196131"/>
          </a:xfrm>
          <a:prstGeom prst="rect">
            <a:avLst/>
          </a:prstGeom>
        </p:spPr>
        <p:txBody>
          <a:bodyPr vert="horz" lIns="0" tIns="0" rIns="0" bIns="0" rtlCol="0" anchor="ctr"/>
          <a:lstStyle>
            <a:lvl1pPr algn="r">
              <a:defRPr sz="800" b="1" spc="100" baseline="0">
                <a:solidFill>
                  <a:schemeClr val="tx1"/>
                </a:solidFill>
              </a:defRPr>
            </a:lvl1pPr>
          </a:lstStyle>
          <a:p>
            <a:r>
              <a:rPr lang="en-JP"/>
              <a:t> </a:t>
            </a:r>
          </a:p>
        </p:txBody>
      </p:sp>
      <p:pic>
        <p:nvPicPr>
          <p:cNvPr id="14" name="Picture 13" descr="Takeda">
            <a:extLst>
              <a:ext uri="{FF2B5EF4-FFF2-40B4-BE49-F238E27FC236}">
                <a16:creationId xmlns:a16="http://schemas.microsoft.com/office/drawing/2014/main" id="{A75F5BF7-D49E-8A49-AE81-CB31E57D5A7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46331" y="-1615"/>
            <a:ext cx="1696232" cy="940780"/>
          </a:xfrm>
          <a:prstGeom prst="rect">
            <a:avLst/>
          </a:prstGeom>
        </p:spPr>
      </p:pic>
      <p:sp>
        <p:nvSpPr>
          <p:cNvPr id="22" name="タイトル プレースホルダ 1">
            <a:extLst>
              <a:ext uri="{FF2B5EF4-FFF2-40B4-BE49-F238E27FC236}">
                <a16:creationId xmlns:a16="http://schemas.microsoft.com/office/drawing/2014/main" id="{86D2E5B8-9E2B-DB46-A55A-5F26569C4F99}"/>
              </a:ext>
            </a:extLst>
          </p:cNvPr>
          <p:cNvSpPr>
            <a:spLocks noGrp="1"/>
          </p:cNvSpPr>
          <p:nvPr>
            <p:ph type="title" hasCustomPrompt="1"/>
          </p:nvPr>
        </p:nvSpPr>
        <p:spPr>
          <a:xfrm>
            <a:off x="606078" y="161605"/>
            <a:ext cx="9940253" cy="685801"/>
          </a:xfrm>
          <a:prstGeom prst="rect">
            <a:avLst/>
          </a:prstGeom>
        </p:spPr>
        <p:txBody>
          <a:bodyPr vert="horz" lIns="0" tIns="0" rIns="0" bIns="0" rtlCol="0" anchor="ctr">
            <a:normAutofit/>
          </a:bodyPr>
          <a:lstStyle/>
          <a:p>
            <a:r>
              <a:rPr kumimoji="1" lang="en-US" altLang="ja-JP"/>
              <a:t>Click to add title</a:t>
            </a:r>
            <a:endParaRPr kumimoji="1" lang="ja-JP" altLang="en-US"/>
          </a:p>
        </p:txBody>
      </p:sp>
      <p:sp>
        <p:nvSpPr>
          <p:cNvPr id="20" name="スライド番号プレースホルダ 5">
            <a:extLst>
              <a:ext uri="{FF2B5EF4-FFF2-40B4-BE49-F238E27FC236}">
                <a16:creationId xmlns:a16="http://schemas.microsoft.com/office/drawing/2014/main" id="{51A4825E-63A1-564F-BC3A-FBC167ECE5EB}"/>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1" name="Rectangle 20">
            <a:extLst>
              <a:ext uri="{FF2B5EF4-FFF2-40B4-BE49-F238E27FC236}">
                <a16:creationId xmlns:a16="http://schemas.microsoft.com/office/drawing/2014/main" id="{FCF9CDB0-5730-E246-B31F-F5963CF8EFDC}"/>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a:solidFill>
                <a:schemeClr val="accent1"/>
              </a:solidFill>
            </a:endParaRPr>
          </a:p>
        </p:txBody>
      </p:sp>
      <p:sp>
        <p:nvSpPr>
          <p:cNvPr id="24" name="Text Placeholder 6">
            <a:extLst>
              <a:ext uri="{FF2B5EF4-FFF2-40B4-BE49-F238E27FC236}">
                <a16:creationId xmlns:a16="http://schemas.microsoft.com/office/drawing/2014/main" id="{44EB3013-FCB4-1B4E-A9F2-FD57CF727CCC}"/>
              </a:ext>
            </a:extLst>
          </p:cNvPr>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Private and confidential. For internal use only.</a:t>
            </a:r>
          </a:p>
        </p:txBody>
      </p:sp>
    </p:spTree>
    <p:extLst>
      <p:ext uri="{BB962C8B-B14F-4D97-AF65-F5344CB8AC3E}">
        <p14:creationId xmlns:p14="http://schemas.microsoft.com/office/powerpoint/2010/main" val="335297542"/>
      </p:ext>
    </p:extLst>
  </p:cSld>
  <p:clrMapOvr>
    <a:masterClrMapping/>
  </p:clrMapOvr>
  <p:transition spd="slow">
    <p:push dir="u"/>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Advanced 1/3 Image (Full Bleed)">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65925D82-457F-D84D-B8DF-D8ADFD7E71DF}"/>
              </a:ext>
            </a:extLst>
          </p:cNvPr>
          <p:cNvSpPr>
            <a:spLocks noGrp="1"/>
          </p:cNvSpPr>
          <p:nvPr>
            <p:ph type="body" sz="quarter" idx="14" hasCustomPrompt="1"/>
          </p:nvPr>
        </p:nvSpPr>
        <p:spPr>
          <a:xfrm>
            <a:off x="311150" y="3178298"/>
            <a:ext cx="5708650" cy="272786"/>
          </a:xfrm>
          <a:prstGeom prst="rect">
            <a:avLst/>
          </a:prstGeom>
        </p:spPr>
        <p:txBody>
          <a:bodyPr tIns="0" rIns="0" bIns="0" numCol="1">
            <a:noAutofit/>
          </a:bodyPr>
          <a:lstStyle>
            <a:lvl1pPr marL="0" indent="0">
              <a:lnSpc>
                <a:spcPct val="100000"/>
              </a:lnSpc>
              <a:spcBef>
                <a:spcPts val="0"/>
              </a:spcBef>
              <a:spcAft>
                <a:spcPts val="600"/>
              </a:spcAft>
              <a:buNone/>
              <a:defRPr sz="18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Secondary Title</a:t>
            </a:r>
          </a:p>
        </p:txBody>
      </p:sp>
      <p:sp>
        <p:nvSpPr>
          <p:cNvPr id="12" name="Text Placeholder 6">
            <a:extLst>
              <a:ext uri="{FF2B5EF4-FFF2-40B4-BE49-F238E27FC236}">
                <a16:creationId xmlns:a16="http://schemas.microsoft.com/office/drawing/2014/main" id="{FD2406EE-A554-5348-AE6D-4D8B343E6201}"/>
              </a:ext>
            </a:extLst>
          </p:cNvPr>
          <p:cNvSpPr>
            <a:spLocks noGrp="1"/>
          </p:cNvSpPr>
          <p:nvPr>
            <p:ph type="body" sz="quarter" idx="15" hasCustomPrompt="1"/>
          </p:nvPr>
        </p:nvSpPr>
        <p:spPr>
          <a:xfrm>
            <a:off x="311149" y="3575904"/>
            <a:ext cx="7663807" cy="2859621"/>
          </a:xfrm>
          <a:prstGeom prst="rect">
            <a:avLst/>
          </a:prstGeom>
        </p:spPr>
        <p:txBody>
          <a:bodyPr tIns="0" rIns="0" bIns="0" numCol="2" spcCol="126000">
            <a:noAutofit/>
          </a:bodyPr>
          <a:lstStyle>
            <a:lvl1pPr marL="171450" indent="-171450">
              <a:lnSpc>
                <a:spcPct val="100000"/>
              </a:lnSpc>
              <a:spcBef>
                <a:spcPts val="0"/>
              </a:spcBef>
              <a:spcAft>
                <a:spcPts val="600"/>
              </a:spcAft>
              <a:buFont typeface="Arial" panose="020B0604020202020204" pitchFamily="34" charset="0"/>
              <a:buChar char="•"/>
              <a:defRPr sz="1400" b="0">
                <a:solidFill>
                  <a:schemeClr val="tx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Secondary text.</a:t>
            </a:r>
          </a:p>
        </p:txBody>
      </p:sp>
      <p:sp>
        <p:nvSpPr>
          <p:cNvPr id="11" name="Picture Placeholder 9">
            <a:extLst>
              <a:ext uri="{FF2B5EF4-FFF2-40B4-BE49-F238E27FC236}">
                <a16:creationId xmlns:a16="http://schemas.microsoft.com/office/drawing/2014/main" id="{B54C5EE8-C42D-B549-B4D4-C0F00D68A42B}"/>
              </a:ext>
            </a:extLst>
          </p:cNvPr>
          <p:cNvSpPr>
            <a:spLocks noGrp="1"/>
          </p:cNvSpPr>
          <p:nvPr>
            <p:ph type="pic" sz="quarter" idx="18" hasCustomPrompt="1"/>
          </p:nvPr>
        </p:nvSpPr>
        <p:spPr>
          <a:xfrm>
            <a:off x="8123708" y="-1378"/>
            <a:ext cx="4076946" cy="6860842"/>
          </a:xfrm>
          <a:custGeom>
            <a:avLst/>
            <a:gdLst>
              <a:gd name="connsiteX0" fmla="*/ 0 w 10888662"/>
              <a:gd name="connsiteY0" fmla="*/ 579722 h 6442075"/>
              <a:gd name="connsiteX1" fmla="*/ 579722 w 10888662"/>
              <a:gd name="connsiteY1" fmla="*/ 0 h 6442075"/>
              <a:gd name="connsiteX2" fmla="*/ 10308940 w 10888662"/>
              <a:gd name="connsiteY2" fmla="*/ 0 h 6442075"/>
              <a:gd name="connsiteX3" fmla="*/ 10888662 w 10888662"/>
              <a:gd name="connsiteY3" fmla="*/ 579722 h 6442075"/>
              <a:gd name="connsiteX4" fmla="*/ 10888662 w 10888662"/>
              <a:gd name="connsiteY4" fmla="*/ 5862353 h 6442075"/>
              <a:gd name="connsiteX5" fmla="*/ 10308940 w 10888662"/>
              <a:gd name="connsiteY5" fmla="*/ 6442075 h 6442075"/>
              <a:gd name="connsiteX6" fmla="*/ 579722 w 10888662"/>
              <a:gd name="connsiteY6" fmla="*/ 6442075 h 6442075"/>
              <a:gd name="connsiteX7" fmla="*/ 0 w 10888662"/>
              <a:gd name="connsiteY7" fmla="*/ 5862353 h 6442075"/>
              <a:gd name="connsiteX8" fmla="*/ 0 w 10888662"/>
              <a:gd name="connsiteY8" fmla="*/ 579722 h 6442075"/>
              <a:gd name="connsiteX0" fmla="*/ 0 w 10888662"/>
              <a:gd name="connsiteY0" fmla="*/ 659657 h 6522010"/>
              <a:gd name="connsiteX1" fmla="*/ 10308940 w 10888662"/>
              <a:gd name="connsiteY1" fmla="*/ 79935 h 6522010"/>
              <a:gd name="connsiteX2" fmla="*/ 10888662 w 10888662"/>
              <a:gd name="connsiteY2" fmla="*/ 659657 h 6522010"/>
              <a:gd name="connsiteX3" fmla="*/ 10888662 w 10888662"/>
              <a:gd name="connsiteY3" fmla="*/ 5942288 h 6522010"/>
              <a:gd name="connsiteX4" fmla="*/ 10308940 w 10888662"/>
              <a:gd name="connsiteY4" fmla="*/ 6522010 h 6522010"/>
              <a:gd name="connsiteX5" fmla="*/ 579722 w 10888662"/>
              <a:gd name="connsiteY5" fmla="*/ 6522010 h 6522010"/>
              <a:gd name="connsiteX6" fmla="*/ 0 w 10888662"/>
              <a:gd name="connsiteY6" fmla="*/ 5942288 h 6522010"/>
              <a:gd name="connsiteX7" fmla="*/ 0 w 10888662"/>
              <a:gd name="connsiteY7" fmla="*/ 659657 h 6522010"/>
              <a:gd name="connsiteX0" fmla="*/ 0 w 10888662"/>
              <a:gd name="connsiteY0" fmla="*/ 579722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579722 h 6442075"/>
              <a:gd name="connsiteX0" fmla="*/ 0 w 10888662"/>
              <a:gd name="connsiteY0" fmla="*/ 129257 h 6569679"/>
              <a:gd name="connsiteX1" fmla="*/ 10308940 w 10888662"/>
              <a:gd name="connsiteY1" fmla="*/ 127604 h 6569679"/>
              <a:gd name="connsiteX2" fmla="*/ 10888662 w 10888662"/>
              <a:gd name="connsiteY2" fmla="*/ 707326 h 6569679"/>
              <a:gd name="connsiteX3" fmla="*/ 10888662 w 10888662"/>
              <a:gd name="connsiteY3" fmla="*/ 5989957 h 6569679"/>
              <a:gd name="connsiteX4" fmla="*/ 10308940 w 10888662"/>
              <a:gd name="connsiteY4" fmla="*/ 6569679 h 6569679"/>
              <a:gd name="connsiteX5" fmla="*/ 579722 w 10888662"/>
              <a:gd name="connsiteY5" fmla="*/ 6569679 h 6569679"/>
              <a:gd name="connsiteX6" fmla="*/ 0 w 10888662"/>
              <a:gd name="connsiteY6" fmla="*/ 5989957 h 6569679"/>
              <a:gd name="connsiteX7" fmla="*/ 0 w 10888662"/>
              <a:gd name="connsiteY7" fmla="*/ 129257 h 6569679"/>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9657299 w 10888662"/>
              <a:gd name="connsiteY4" fmla="*/ 55276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522010"/>
              <a:gd name="connsiteX1" fmla="*/ 10308940 w 10888662"/>
              <a:gd name="connsiteY1" fmla="*/ 0 h 6522010"/>
              <a:gd name="connsiteX2" fmla="*/ 10888662 w 10888662"/>
              <a:gd name="connsiteY2" fmla="*/ 579722 h 6522010"/>
              <a:gd name="connsiteX3" fmla="*/ 10888662 w 10888662"/>
              <a:gd name="connsiteY3" fmla="*/ 5862353 h 6522010"/>
              <a:gd name="connsiteX4" fmla="*/ 579722 w 10888662"/>
              <a:gd name="connsiteY4" fmla="*/ 6442075 h 6522010"/>
              <a:gd name="connsiteX5" fmla="*/ 0 w 10888662"/>
              <a:gd name="connsiteY5" fmla="*/ 5862353 h 6522010"/>
              <a:gd name="connsiteX6" fmla="*/ 0 w 10888662"/>
              <a:gd name="connsiteY6" fmla="*/ 1653 h 6522010"/>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579722 w 10888662"/>
              <a:gd name="connsiteY4" fmla="*/ 6442075 h 6442075"/>
              <a:gd name="connsiteX5" fmla="*/ 0 w 10888662"/>
              <a:gd name="connsiteY5" fmla="*/ 5862353 h 6442075"/>
              <a:gd name="connsiteX6" fmla="*/ 0 w 10888662"/>
              <a:gd name="connsiteY6" fmla="*/ 1653 h 6442075"/>
              <a:gd name="connsiteX0" fmla="*/ 0 w 10888662"/>
              <a:gd name="connsiteY0" fmla="*/ 1653 h 6585432"/>
              <a:gd name="connsiteX1" fmla="*/ 10308940 w 10888662"/>
              <a:gd name="connsiteY1" fmla="*/ 0 h 6585432"/>
              <a:gd name="connsiteX2" fmla="*/ 10888662 w 10888662"/>
              <a:gd name="connsiteY2" fmla="*/ 579722 h 6585432"/>
              <a:gd name="connsiteX3" fmla="*/ 10878151 w 10888662"/>
              <a:gd name="connsiteY3" fmla="*/ 6461442 h 6585432"/>
              <a:gd name="connsiteX4" fmla="*/ 579722 w 10888662"/>
              <a:gd name="connsiteY4" fmla="*/ 6442075 h 6585432"/>
              <a:gd name="connsiteX5" fmla="*/ 0 w 10888662"/>
              <a:gd name="connsiteY5" fmla="*/ 5862353 h 6585432"/>
              <a:gd name="connsiteX6" fmla="*/ 0 w 10888662"/>
              <a:gd name="connsiteY6" fmla="*/ 1653 h 6585432"/>
              <a:gd name="connsiteX0" fmla="*/ 0 w 10888662"/>
              <a:gd name="connsiteY0" fmla="*/ 1653 h 6577502"/>
              <a:gd name="connsiteX1" fmla="*/ 10308940 w 10888662"/>
              <a:gd name="connsiteY1" fmla="*/ 0 h 6577502"/>
              <a:gd name="connsiteX2" fmla="*/ 10888662 w 10888662"/>
              <a:gd name="connsiteY2" fmla="*/ 579722 h 6577502"/>
              <a:gd name="connsiteX3" fmla="*/ 10878151 w 10888662"/>
              <a:gd name="connsiteY3" fmla="*/ 6450932 h 6577502"/>
              <a:gd name="connsiteX4" fmla="*/ 579722 w 10888662"/>
              <a:gd name="connsiteY4" fmla="*/ 6442075 h 6577502"/>
              <a:gd name="connsiteX5" fmla="*/ 0 w 10888662"/>
              <a:gd name="connsiteY5" fmla="*/ 5862353 h 6577502"/>
              <a:gd name="connsiteX6" fmla="*/ 0 w 10888662"/>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0888662"/>
              <a:gd name="connsiteY0" fmla="*/ 1653 h 6450932"/>
              <a:gd name="connsiteX1" fmla="*/ 10308940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0999550"/>
              <a:gd name="connsiteY0" fmla="*/ 1653 h 6450932"/>
              <a:gd name="connsiteX1" fmla="*/ 10844968 w 10999550"/>
              <a:gd name="connsiteY1" fmla="*/ 0 h 6450932"/>
              <a:gd name="connsiteX2" fmla="*/ 10888662 w 10999550"/>
              <a:gd name="connsiteY2" fmla="*/ 579722 h 6450932"/>
              <a:gd name="connsiteX3" fmla="*/ 10878151 w 10999550"/>
              <a:gd name="connsiteY3" fmla="*/ 6450932 h 6450932"/>
              <a:gd name="connsiteX4" fmla="*/ 579722 w 10999550"/>
              <a:gd name="connsiteY4" fmla="*/ 6442075 h 6450932"/>
              <a:gd name="connsiteX5" fmla="*/ 0 w 10999550"/>
              <a:gd name="connsiteY5" fmla="*/ 5862353 h 6450932"/>
              <a:gd name="connsiteX6" fmla="*/ 0 w 10999550"/>
              <a:gd name="connsiteY6" fmla="*/ 1653 h 6450932"/>
              <a:gd name="connsiteX0" fmla="*/ 0 w 11022020"/>
              <a:gd name="connsiteY0" fmla="*/ 1653 h 6450932"/>
              <a:gd name="connsiteX1" fmla="*/ 10876499 w 11022020"/>
              <a:gd name="connsiteY1" fmla="*/ 0 h 6450932"/>
              <a:gd name="connsiteX2" fmla="*/ 10888662 w 11022020"/>
              <a:gd name="connsiteY2" fmla="*/ 579722 h 6450932"/>
              <a:gd name="connsiteX3" fmla="*/ 10878151 w 11022020"/>
              <a:gd name="connsiteY3" fmla="*/ 6450932 h 6450932"/>
              <a:gd name="connsiteX4" fmla="*/ 579722 w 11022020"/>
              <a:gd name="connsiteY4" fmla="*/ 6442075 h 6450932"/>
              <a:gd name="connsiteX5" fmla="*/ 0 w 11022020"/>
              <a:gd name="connsiteY5" fmla="*/ 5862353 h 6450932"/>
              <a:gd name="connsiteX6" fmla="*/ 0 w 11022020"/>
              <a:gd name="connsiteY6" fmla="*/ 1653 h 6450932"/>
              <a:gd name="connsiteX0" fmla="*/ 0 w 10888662"/>
              <a:gd name="connsiteY0" fmla="*/ 1653 h 6450932"/>
              <a:gd name="connsiteX1" fmla="*/ 10876499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2200990"/>
              <a:gd name="connsiteY0" fmla="*/ 1653 h 6450932"/>
              <a:gd name="connsiteX1" fmla="*/ 10876499 w 12200990"/>
              <a:gd name="connsiteY1" fmla="*/ 0 h 6450932"/>
              <a:gd name="connsiteX2" fmla="*/ 10878151 w 12200990"/>
              <a:gd name="connsiteY2" fmla="*/ 6450932 h 6450932"/>
              <a:gd name="connsiteX3" fmla="*/ 579722 w 12200990"/>
              <a:gd name="connsiteY3" fmla="*/ 6442075 h 6450932"/>
              <a:gd name="connsiteX4" fmla="*/ 0 w 12200990"/>
              <a:gd name="connsiteY4" fmla="*/ 5862353 h 6450932"/>
              <a:gd name="connsiteX5" fmla="*/ 0 w 12200990"/>
              <a:gd name="connsiteY5" fmla="*/ 1653 h 6450932"/>
              <a:gd name="connsiteX0" fmla="*/ 0 w 11640630"/>
              <a:gd name="connsiteY0" fmla="*/ 1653 h 6450932"/>
              <a:gd name="connsiteX1" fmla="*/ 10876499 w 11640630"/>
              <a:gd name="connsiteY1" fmla="*/ 0 h 6450932"/>
              <a:gd name="connsiteX2" fmla="*/ 10878151 w 11640630"/>
              <a:gd name="connsiteY2" fmla="*/ 6450932 h 6450932"/>
              <a:gd name="connsiteX3" fmla="*/ 579722 w 11640630"/>
              <a:gd name="connsiteY3" fmla="*/ 6442075 h 6450932"/>
              <a:gd name="connsiteX4" fmla="*/ 0 w 11640630"/>
              <a:gd name="connsiteY4" fmla="*/ 5862353 h 6450932"/>
              <a:gd name="connsiteX5" fmla="*/ 0 w 11640630"/>
              <a:gd name="connsiteY5" fmla="*/ 1653 h 6450932"/>
              <a:gd name="connsiteX0" fmla="*/ 0 w 10878151"/>
              <a:gd name="connsiteY0" fmla="*/ 1653 h 6450932"/>
              <a:gd name="connsiteX1" fmla="*/ 10876499 w 10878151"/>
              <a:gd name="connsiteY1" fmla="*/ 0 h 6450932"/>
              <a:gd name="connsiteX2" fmla="*/ 10878151 w 10878151"/>
              <a:gd name="connsiteY2" fmla="*/ 6450932 h 6450932"/>
              <a:gd name="connsiteX3" fmla="*/ 579722 w 10878151"/>
              <a:gd name="connsiteY3" fmla="*/ 6442075 h 6450932"/>
              <a:gd name="connsiteX4" fmla="*/ 0 w 10878151"/>
              <a:gd name="connsiteY4" fmla="*/ 5862353 h 6450932"/>
              <a:gd name="connsiteX5" fmla="*/ 0 w 10878151"/>
              <a:gd name="connsiteY5" fmla="*/ 1653 h 6450932"/>
              <a:gd name="connsiteX0" fmla="*/ 0 w 11843451"/>
              <a:gd name="connsiteY0" fmla="*/ 1653 h 6450932"/>
              <a:gd name="connsiteX1" fmla="*/ 11843451 w 11843451"/>
              <a:gd name="connsiteY1" fmla="*/ 0 h 6450932"/>
              <a:gd name="connsiteX2" fmla="*/ 10878151 w 11843451"/>
              <a:gd name="connsiteY2" fmla="*/ 6450932 h 6450932"/>
              <a:gd name="connsiteX3" fmla="*/ 579722 w 11843451"/>
              <a:gd name="connsiteY3" fmla="*/ 6442075 h 6450932"/>
              <a:gd name="connsiteX4" fmla="*/ 0 w 11843451"/>
              <a:gd name="connsiteY4" fmla="*/ 5862353 h 6450932"/>
              <a:gd name="connsiteX5" fmla="*/ 0 w 11843451"/>
              <a:gd name="connsiteY5" fmla="*/ 1653 h 6450932"/>
              <a:gd name="connsiteX0" fmla="*/ 0 w 11855613"/>
              <a:gd name="connsiteY0" fmla="*/ 1653 h 6450932"/>
              <a:gd name="connsiteX1" fmla="*/ 11843451 w 11855613"/>
              <a:gd name="connsiteY1" fmla="*/ 0 h 6450932"/>
              <a:gd name="connsiteX2" fmla="*/ 11855613 w 11855613"/>
              <a:gd name="connsiteY2" fmla="*/ 6450932 h 6450932"/>
              <a:gd name="connsiteX3" fmla="*/ 579722 w 11855613"/>
              <a:gd name="connsiteY3" fmla="*/ 6442075 h 6450932"/>
              <a:gd name="connsiteX4" fmla="*/ 0 w 11855613"/>
              <a:gd name="connsiteY4" fmla="*/ 5862353 h 6450932"/>
              <a:gd name="connsiteX5" fmla="*/ 0 w 11855613"/>
              <a:gd name="connsiteY5" fmla="*/ 1653 h 6450932"/>
              <a:gd name="connsiteX0" fmla="*/ 0 w 11864472"/>
              <a:gd name="connsiteY0" fmla="*/ 1653 h 6450932"/>
              <a:gd name="connsiteX1" fmla="*/ 11864472 w 11864472"/>
              <a:gd name="connsiteY1" fmla="*/ 0 h 6450932"/>
              <a:gd name="connsiteX2" fmla="*/ 11855613 w 11864472"/>
              <a:gd name="connsiteY2" fmla="*/ 6450932 h 6450932"/>
              <a:gd name="connsiteX3" fmla="*/ 579722 w 11864472"/>
              <a:gd name="connsiteY3" fmla="*/ 6442075 h 6450932"/>
              <a:gd name="connsiteX4" fmla="*/ 0 w 11864472"/>
              <a:gd name="connsiteY4" fmla="*/ 5862353 h 6450932"/>
              <a:gd name="connsiteX5" fmla="*/ 0 w 11864472"/>
              <a:gd name="connsiteY5" fmla="*/ 1653 h 6450932"/>
              <a:gd name="connsiteX0" fmla="*/ 0 w 11864472"/>
              <a:gd name="connsiteY0" fmla="*/ 1653 h 6442075"/>
              <a:gd name="connsiteX1" fmla="*/ 11864472 w 11864472"/>
              <a:gd name="connsiteY1" fmla="*/ 0 h 6442075"/>
              <a:gd name="connsiteX2" fmla="*/ 11855613 w 11864472"/>
              <a:gd name="connsiteY2" fmla="*/ 6440421 h 6442075"/>
              <a:gd name="connsiteX3" fmla="*/ 579722 w 11864472"/>
              <a:gd name="connsiteY3" fmla="*/ 6442075 h 6442075"/>
              <a:gd name="connsiteX4" fmla="*/ 0 w 11864472"/>
              <a:gd name="connsiteY4" fmla="*/ 5862353 h 6442075"/>
              <a:gd name="connsiteX5" fmla="*/ 0 w 11864472"/>
              <a:gd name="connsiteY5" fmla="*/ 1653 h 6442075"/>
              <a:gd name="connsiteX0" fmla="*/ 0 w 11855613"/>
              <a:gd name="connsiteY0" fmla="*/ 1653 h 6442075"/>
              <a:gd name="connsiteX1" fmla="*/ 8912928 w 11855613"/>
              <a:gd name="connsiteY1" fmla="*/ 0 h 6442075"/>
              <a:gd name="connsiteX2" fmla="*/ 11855613 w 11855613"/>
              <a:gd name="connsiteY2" fmla="*/ 6440421 h 6442075"/>
              <a:gd name="connsiteX3" fmla="*/ 579722 w 11855613"/>
              <a:gd name="connsiteY3" fmla="*/ 6442075 h 6442075"/>
              <a:gd name="connsiteX4" fmla="*/ 0 w 11855613"/>
              <a:gd name="connsiteY4" fmla="*/ 5862353 h 6442075"/>
              <a:gd name="connsiteX5" fmla="*/ 0 w 11855613"/>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74032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36077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1615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15642"/>
              <a:gd name="connsiteY0" fmla="*/ 1653 h 6442075"/>
              <a:gd name="connsiteX1" fmla="*/ 8912928 w 8915642"/>
              <a:gd name="connsiteY1" fmla="*/ 0 h 6442075"/>
              <a:gd name="connsiteX2" fmla="*/ 8915642 w 8915642"/>
              <a:gd name="connsiteY2" fmla="*/ 6440421 h 6442075"/>
              <a:gd name="connsiteX3" fmla="*/ 579722 w 8915642"/>
              <a:gd name="connsiteY3" fmla="*/ 6442075 h 6442075"/>
              <a:gd name="connsiteX4" fmla="*/ 0 w 8915642"/>
              <a:gd name="connsiteY4" fmla="*/ 5862353 h 6442075"/>
              <a:gd name="connsiteX5" fmla="*/ 0 w 8915642"/>
              <a:gd name="connsiteY5" fmla="*/ 1653 h 6442075"/>
              <a:gd name="connsiteX0" fmla="*/ 0 w 8915642"/>
              <a:gd name="connsiteY0" fmla="*/ 1 h 6633463"/>
              <a:gd name="connsiteX1" fmla="*/ 8912928 w 8915642"/>
              <a:gd name="connsiteY1" fmla="*/ 191388 h 6633463"/>
              <a:gd name="connsiteX2" fmla="*/ 8915642 w 8915642"/>
              <a:gd name="connsiteY2" fmla="*/ 6631809 h 6633463"/>
              <a:gd name="connsiteX3" fmla="*/ 579722 w 8915642"/>
              <a:gd name="connsiteY3" fmla="*/ 6633463 h 6633463"/>
              <a:gd name="connsiteX4" fmla="*/ 0 w 8915642"/>
              <a:gd name="connsiteY4" fmla="*/ 6053741 h 6633463"/>
              <a:gd name="connsiteX5" fmla="*/ 0 w 8915642"/>
              <a:gd name="connsiteY5" fmla="*/ 1 h 6633463"/>
              <a:gd name="connsiteX0" fmla="*/ 0 w 8933278"/>
              <a:gd name="connsiteY0" fmla="*/ 1653 h 6635115"/>
              <a:gd name="connsiteX1" fmla="*/ 8933248 w 8933278"/>
              <a:gd name="connsiteY1" fmla="*/ 0 h 6635115"/>
              <a:gd name="connsiteX2" fmla="*/ 8915642 w 8933278"/>
              <a:gd name="connsiteY2" fmla="*/ 6633461 h 6635115"/>
              <a:gd name="connsiteX3" fmla="*/ 579722 w 8933278"/>
              <a:gd name="connsiteY3" fmla="*/ 6635115 h 6635115"/>
              <a:gd name="connsiteX4" fmla="*/ 0 w 8933278"/>
              <a:gd name="connsiteY4" fmla="*/ 6055393 h 6635115"/>
              <a:gd name="connsiteX5" fmla="*/ 0 w 8933278"/>
              <a:gd name="connsiteY5" fmla="*/ 1653 h 6635115"/>
              <a:gd name="connsiteX0" fmla="*/ 0 w 8933323"/>
              <a:gd name="connsiteY0" fmla="*/ 1653 h 6645336"/>
              <a:gd name="connsiteX1" fmla="*/ 8933248 w 8933323"/>
              <a:gd name="connsiteY1" fmla="*/ 0 h 6645336"/>
              <a:gd name="connsiteX2" fmla="*/ 8927517 w 8933323"/>
              <a:gd name="connsiteY2" fmla="*/ 6645336 h 6645336"/>
              <a:gd name="connsiteX3" fmla="*/ 579722 w 8933323"/>
              <a:gd name="connsiteY3" fmla="*/ 6635115 h 6645336"/>
              <a:gd name="connsiteX4" fmla="*/ 0 w 8933323"/>
              <a:gd name="connsiteY4" fmla="*/ 6055393 h 6645336"/>
              <a:gd name="connsiteX5" fmla="*/ 0 w 8933323"/>
              <a:gd name="connsiteY5" fmla="*/ 1653 h 6645336"/>
              <a:gd name="connsiteX0" fmla="*/ 0 w 8927517"/>
              <a:gd name="connsiteY0" fmla="*/ 1653 h 6645336"/>
              <a:gd name="connsiteX1" fmla="*/ 7971347 w 8927517"/>
              <a:gd name="connsiteY1" fmla="*/ 0 h 6645336"/>
              <a:gd name="connsiteX2" fmla="*/ 8927517 w 8927517"/>
              <a:gd name="connsiteY2" fmla="*/ 6645336 h 6645336"/>
              <a:gd name="connsiteX3" fmla="*/ 579722 w 8927517"/>
              <a:gd name="connsiteY3" fmla="*/ 6635115 h 6645336"/>
              <a:gd name="connsiteX4" fmla="*/ 0 w 8927517"/>
              <a:gd name="connsiteY4" fmla="*/ 6055393 h 6645336"/>
              <a:gd name="connsiteX5" fmla="*/ 0 w 8927517"/>
              <a:gd name="connsiteY5" fmla="*/ 1653 h 6645336"/>
              <a:gd name="connsiteX0" fmla="*/ 0 w 7971422"/>
              <a:gd name="connsiteY0" fmla="*/ 1653 h 6645336"/>
              <a:gd name="connsiteX1" fmla="*/ 7971347 w 7971422"/>
              <a:gd name="connsiteY1" fmla="*/ 0 h 6645336"/>
              <a:gd name="connsiteX2" fmla="*/ 7965616 w 7971422"/>
              <a:gd name="connsiteY2" fmla="*/ 6645336 h 6645336"/>
              <a:gd name="connsiteX3" fmla="*/ 579722 w 7971422"/>
              <a:gd name="connsiteY3" fmla="*/ 6635115 h 6645336"/>
              <a:gd name="connsiteX4" fmla="*/ 0 w 7971422"/>
              <a:gd name="connsiteY4" fmla="*/ 6055393 h 6645336"/>
              <a:gd name="connsiteX5" fmla="*/ 0 w 7971422"/>
              <a:gd name="connsiteY5" fmla="*/ 1653 h 6645336"/>
              <a:gd name="connsiteX0" fmla="*/ 0 w 7971422"/>
              <a:gd name="connsiteY0" fmla="*/ 1301816 h 6645336"/>
              <a:gd name="connsiteX1" fmla="*/ 7971347 w 7971422"/>
              <a:gd name="connsiteY1" fmla="*/ 0 h 6645336"/>
              <a:gd name="connsiteX2" fmla="*/ 7965616 w 7971422"/>
              <a:gd name="connsiteY2" fmla="*/ 6645336 h 6645336"/>
              <a:gd name="connsiteX3" fmla="*/ 579722 w 7971422"/>
              <a:gd name="connsiteY3" fmla="*/ 6635115 h 6645336"/>
              <a:gd name="connsiteX4" fmla="*/ 0 w 7971422"/>
              <a:gd name="connsiteY4" fmla="*/ 6055393 h 6645336"/>
              <a:gd name="connsiteX5" fmla="*/ 0 w 7971422"/>
              <a:gd name="connsiteY5" fmla="*/ 1301816 h 6645336"/>
              <a:gd name="connsiteX0" fmla="*/ 0 w 7965616"/>
              <a:gd name="connsiteY0" fmla="*/ 1653 h 5345173"/>
              <a:gd name="connsiteX1" fmla="*/ 7957060 w 7965616"/>
              <a:gd name="connsiteY1" fmla="*/ 0 h 5345173"/>
              <a:gd name="connsiteX2" fmla="*/ 7965616 w 7965616"/>
              <a:gd name="connsiteY2" fmla="*/ 5345173 h 5345173"/>
              <a:gd name="connsiteX3" fmla="*/ 579722 w 7965616"/>
              <a:gd name="connsiteY3" fmla="*/ 5334952 h 5345173"/>
              <a:gd name="connsiteX4" fmla="*/ 0 w 7965616"/>
              <a:gd name="connsiteY4" fmla="*/ 4755230 h 5345173"/>
              <a:gd name="connsiteX5" fmla="*/ 0 w 7965616"/>
              <a:gd name="connsiteY5" fmla="*/ 1653 h 5345173"/>
              <a:gd name="connsiteX0" fmla="*/ 0 w 7971422"/>
              <a:gd name="connsiteY0" fmla="*/ 1653 h 5345173"/>
              <a:gd name="connsiteX1" fmla="*/ 7971347 w 7971422"/>
              <a:gd name="connsiteY1" fmla="*/ 0 h 5345173"/>
              <a:gd name="connsiteX2" fmla="*/ 7965616 w 7971422"/>
              <a:gd name="connsiteY2" fmla="*/ 5345173 h 5345173"/>
              <a:gd name="connsiteX3" fmla="*/ 579722 w 7971422"/>
              <a:gd name="connsiteY3" fmla="*/ 5334952 h 5345173"/>
              <a:gd name="connsiteX4" fmla="*/ 0 w 7971422"/>
              <a:gd name="connsiteY4" fmla="*/ 4755230 h 5345173"/>
              <a:gd name="connsiteX5" fmla="*/ 0 w 7971422"/>
              <a:gd name="connsiteY5" fmla="*/ 1653 h 5345173"/>
              <a:gd name="connsiteX0" fmla="*/ 0 w 7988356"/>
              <a:gd name="connsiteY0" fmla="*/ 187920 h 5345173"/>
              <a:gd name="connsiteX1" fmla="*/ 7988281 w 7988356"/>
              <a:gd name="connsiteY1" fmla="*/ 0 h 5345173"/>
              <a:gd name="connsiteX2" fmla="*/ 7982550 w 7988356"/>
              <a:gd name="connsiteY2" fmla="*/ 5345173 h 5345173"/>
              <a:gd name="connsiteX3" fmla="*/ 596656 w 7988356"/>
              <a:gd name="connsiteY3" fmla="*/ 5334952 h 5345173"/>
              <a:gd name="connsiteX4" fmla="*/ 16934 w 7988356"/>
              <a:gd name="connsiteY4" fmla="*/ 4755230 h 5345173"/>
              <a:gd name="connsiteX5" fmla="*/ 0 w 7988356"/>
              <a:gd name="connsiteY5" fmla="*/ 187920 h 5345173"/>
              <a:gd name="connsiteX0" fmla="*/ 0 w 7988356"/>
              <a:gd name="connsiteY0" fmla="*/ 210145 h 5345173"/>
              <a:gd name="connsiteX1" fmla="*/ 7988281 w 7988356"/>
              <a:gd name="connsiteY1" fmla="*/ 0 h 5345173"/>
              <a:gd name="connsiteX2" fmla="*/ 7982550 w 7988356"/>
              <a:gd name="connsiteY2" fmla="*/ 5345173 h 5345173"/>
              <a:gd name="connsiteX3" fmla="*/ 596656 w 7988356"/>
              <a:gd name="connsiteY3" fmla="*/ 5334952 h 5345173"/>
              <a:gd name="connsiteX4" fmla="*/ 16934 w 7988356"/>
              <a:gd name="connsiteY4" fmla="*/ 4755230 h 5345173"/>
              <a:gd name="connsiteX5" fmla="*/ 0 w 7988356"/>
              <a:gd name="connsiteY5" fmla="*/ 210145 h 5345173"/>
              <a:gd name="connsiteX0" fmla="*/ 0 w 7988356"/>
              <a:gd name="connsiteY0" fmla="*/ 0 h 5135028"/>
              <a:gd name="connsiteX1" fmla="*/ 7988281 w 7988356"/>
              <a:gd name="connsiteY1" fmla="*/ 7569 h 5135028"/>
              <a:gd name="connsiteX2" fmla="*/ 7982550 w 7988356"/>
              <a:gd name="connsiteY2" fmla="*/ 5135028 h 5135028"/>
              <a:gd name="connsiteX3" fmla="*/ 596656 w 7988356"/>
              <a:gd name="connsiteY3" fmla="*/ 5124807 h 5135028"/>
              <a:gd name="connsiteX4" fmla="*/ 16934 w 7988356"/>
              <a:gd name="connsiteY4" fmla="*/ 4545085 h 5135028"/>
              <a:gd name="connsiteX5" fmla="*/ 0 w 7988356"/>
              <a:gd name="connsiteY5" fmla="*/ 0 h 5135028"/>
              <a:gd name="connsiteX0" fmla="*/ 0 w 7982550"/>
              <a:gd name="connsiteY0" fmla="*/ 0 h 5135028"/>
              <a:gd name="connsiteX1" fmla="*/ 6028853 w 7982550"/>
              <a:gd name="connsiteY1" fmla="*/ 7569 h 5135028"/>
              <a:gd name="connsiteX2" fmla="*/ 7982550 w 7982550"/>
              <a:gd name="connsiteY2" fmla="*/ 5135028 h 5135028"/>
              <a:gd name="connsiteX3" fmla="*/ 596656 w 7982550"/>
              <a:gd name="connsiteY3" fmla="*/ 5124807 h 5135028"/>
              <a:gd name="connsiteX4" fmla="*/ 16934 w 7982550"/>
              <a:gd name="connsiteY4" fmla="*/ 4545085 h 5135028"/>
              <a:gd name="connsiteX5" fmla="*/ 0 w 7982550"/>
              <a:gd name="connsiteY5" fmla="*/ 0 h 5135028"/>
              <a:gd name="connsiteX0" fmla="*/ 0 w 6037636"/>
              <a:gd name="connsiteY0" fmla="*/ 0 h 5135028"/>
              <a:gd name="connsiteX1" fmla="*/ 6028853 w 6037636"/>
              <a:gd name="connsiteY1" fmla="*/ 7569 h 5135028"/>
              <a:gd name="connsiteX2" fmla="*/ 6037636 w 6037636"/>
              <a:gd name="connsiteY2" fmla="*/ 5135028 h 5135028"/>
              <a:gd name="connsiteX3" fmla="*/ 596656 w 6037636"/>
              <a:gd name="connsiteY3" fmla="*/ 5124807 h 5135028"/>
              <a:gd name="connsiteX4" fmla="*/ 16934 w 6037636"/>
              <a:gd name="connsiteY4" fmla="*/ 4545085 h 5135028"/>
              <a:gd name="connsiteX5" fmla="*/ 0 w 6037636"/>
              <a:gd name="connsiteY5" fmla="*/ 0 h 5135028"/>
              <a:gd name="connsiteX0" fmla="*/ 0 w 6028853"/>
              <a:gd name="connsiteY0" fmla="*/ 0 h 5124807"/>
              <a:gd name="connsiteX1" fmla="*/ 6028853 w 6028853"/>
              <a:gd name="connsiteY1" fmla="*/ 7569 h 5124807"/>
              <a:gd name="connsiteX2" fmla="*/ 4063693 w 6028853"/>
              <a:gd name="connsiteY2" fmla="*/ 5105999 h 5124807"/>
              <a:gd name="connsiteX3" fmla="*/ 596656 w 6028853"/>
              <a:gd name="connsiteY3" fmla="*/ 5124807 h 5124807"/>
              <a:gd name="connsiteX4" fmla="*/ 16934 w 6028853"/>
              <a:gd name="connsiteY4" fmla="*/ 4545085 h 5124807"/>
              <a:gd name="connsiteX5" fmla="*/ 0 w 6028853"/>
              <a:gd name="connsiteY5" fmla="*/ 0 h 5124807"/>
              <a:gd name="connsiteX0" fmla="*/ 0 w 4069500"/>
              <a:gd name="connsiteY0" fmla="*/ 0 h 5124807"/>
              <a:gd name="connsiteX1" fmla="*/ 4069425 w 4069500"/>
              <a:gd name="connsiteY1" fmla="*/ 7569 h 5124807"/>
              <a:gd name="connsiteX2" fmla="*/ 4063693 w 4069500"/>
              <a:gd name="connsiteY2" fmla="*/ 5105999 h 5124807"/>
              <a:gd name="connsiteX3" fmla="*/ 596656 w 4069500"/>
              <a:gd name="connsiteY3" fmla="*/ 5124807 h 5124807"/>
              <a:gd name="connsiteX4" fmla="*/ 16934 w 4069500"/>
              <a:gd name="connsiteY4" fmla="*/ 4545085 h 5124807"/>
              <a:gd name="connsiteX5" fmla="*/ 0 w 4069500"/>
              <a:gd name="connsiteY5" fmla="*/ 0 h 5124807"/>
              <a:gd name="connsiteX0" fmla="*/ 0 w 4069500"/>
              <a:gd name="connsiteY0" fmla="*/ 6946 h 5131753"/>
              <a:gd name="connsiteX1" fmla="*/ 4069425 w 4069500"/>
              <a:gd name="connsiteY1" fmla="*/ 0 h 5131753"/>
              <a:gd name="connsiteX2" fmla="*/ 4063693 w 4069500"/>
              <a:gd name="connsiteY2" fmla="*/ 5112945 h 5131753"/>
              <a:gd name="connsiteX3" fmla="*/ 596656 w 4069500"/>
              <a:gd name="connsiteY3" fmla="*/ 5131753 h 5131753"/>
              <a:gd name="connsiteX4" fmla="*/ 16934 w 4069500"/>
              <a:gd name="connsiteY4" fmla="*/ 4552031 h 5131753"/>
              <a:gd name="connsiteX5" fmla="*/ 0 w 4069500"/>
              <a:gd name="connsiteY5" fmla="*/ 6946 h 5131753"/>
              <a:gd name="connsiteX0" fmla="*/ 0 w 4082753"/>
              <a:gd name="connsiteY0" fmla="*/ 2 h 6874096"/>
              <a:gd name="connsiteX1" fmla="*/ 4082678 w 4082753"/>
              <a:gd name="connsiteY1" fmla="*/ 1742343 h 6874096"/>
              <a:gd name="connsiteX2" fmla="*/ 4076946 w 4082753"/>
              <a:gd name="connsiteY2" fmla="*/ 6855288 h 6874096"/>
              <a:gd name="connsiteX3" fmla="*/ 609909 w 4082753"/>
              <a:gd name="connsiteY3" fmla="*/ 6874096 h 6874096"/>
              <a:gd name="connsiteX4" fmla="*/ 30187 w 4082753"/>
              <a:gd name="connsiteY4" fmla="*/ 6294374 h 6874096"/>
              <a:gd name="connsiteX5" fmla="*/ 0 w 4082753"/>
              <a:gd name="connsiteY5" fmla="*/ 2 h 6874096"/>
              <a:gd name="connsiteX0" fmla="*/ 0 w 4095958"/>
              <a:gd name="connsiteY0" fmla="*/ 6946 h 6881040"/>
              <a:gd name="connsiteX1" fmla="*/ 4095930 w 4095958"/>
              <a:gd name="connsiteY1" fmla="*/ 0 h 6881040"/>
              <a:gd name="connsiteX2" fmla="*/ 4076946 w 4095958"/>
              <a:gd name="connsiteY2" fmla="*/ 6862232 h 6881040"/>
              <a:gd name="connsiteX3" fmla="*/ 609909 w 4095958"/>
              <a:gd name="connsiteY3" fmla="*/ 6881040 h 6881040"/>
              <a:gd name="connsiteX4" fmla="*/ 30187 w 4095958"/>
              <a:gd name="connsiteY4" fmla="*/ 6301318 h 6881040"/>
              <a:gd name="connsiteX5" fmla="*/ 0 w 4095958"/>
              <a:gd name="connsiteY5" fmla="*/ 6946 h 6881040"/>
              <a:gd name="connsiteX0" fmla="*/ 0 w 4076946"/>
              <a:gd name="connsiteY0" fmla="*/ 0 h 6874094"/>
              <a:gd name="connsiteX1" fmla="*/ 3870643 w 4076946"/>
              <a:gd name="connsiteY1" fmla="*/ 191837 h 6874094"/>
              <a:gd name="connsiteX2" fmla="*/ 4076946 w 4076946"/>
              <a:gd name="connsiteY2" fmla="*/ 6855286 h 6874094"/>
              <a:gd name="connsiteX3" fmla="*/ 609909 w 4076946"/>
              <a:gd name="connsiteY3" fmla="*/ 6874094 h 6874094"/>
              <a:gd name="connsiteX4" fmla="*/ 30187 w 4076946"/>
              <a:gd name="connsiteY4" fmla="*/ 6294372 h 6874094"/>
              <a:gd name="connsiteX5" fmla="*/ 0 w 4076946"/>
              <a:gd name="connsiteY5" fmla="*/ 0 h 6874094"/>
              <a:gd name="connsiteX0" fmla="*/ 0 w 4076946"/>
              <a:gd name="connsiteY0" fmla="*/ 0 h 6874094"/>
              <a:gd name="connsiteX1" fmla="*/ 4069426 w 4076946"/>
              <a:gd name="connsiteY1" fmla="*/ 19559 h 6874094"/>
              <a:gd name="connsiteX2" fmla="*/ 4076946 w 4076946"/>
              <a:gd name="connsiteY2" fmla="*/ 6855286 h 6874094"/>
              <a:gd name="connsiteX3" fmla="*/ 609909 w 4076946"/>
              <a:gd name="connsiteY3" fmla="*/ 6874094 h 6874094"/>
              <a:gd name="connsiteX4" fmla="*/ 30187 w 4076946"/>
              <a:gd name="connsiteY4" fmla="*/ 6294372 h 6874094"/>
              <a:gd name="connsiteX5" fmla="*/ 0 w 4076946"/>
              <a:gd name="connsiteY5" fmla="*/ 0 h 6874094"/>
              <a:gd name="connsiteX0" fmla="*/ 0 w 4076946"/>
              <a:gd name="connsiteY0" fmla="*/ 99710 h 6854535"/>
              <a:gd name="connsiteX1" fmla="*/ 4069426 w 4076946"/>
              <a:gd name="connsiteY1" fmla="*/ 0 h 6854535"/>
              <a:gd name="connsiteX2" fmla="*/ 4076946 w 4076946"/>
              <a:gd name="connsiteY2" fmla="*/ 6835727 h 6854535"/>
              <a:gd name="connsiteX3" fmla="*/ 609909 w 4076946"/>
              <a:gd name="connsiteY3" fmla="*/ 6854535 h 6854535"/>
              <a:gd name="connsiteX4" fmla="*/ 30187 w 4076946"/>
              <a:gd name="connsiteY4" fmla="*/ 6274813 h 6854535"/>
              <a:gd name="connsiteX5" fmla="*/ 0 w 4076946"/>
              <a:gd name="connsiteY5" fmla="*/ 99710 h 6854535"/>
              <a:gd name="connsiteX0" fmla="*/ 0 w 4076946"/>
              <a:gd name="connsiteY0" fmla="*/ 0 h 6860842"/>
              <a:gd name="connsiteX1" fmla="*/ 4069426 w 4076946"/>
              <a:gd name="connsiteY1" fmla="*/ 6307 h 6860842"/>
              <a:gd name="connsiteX2" fmla="*/ 4076946 w 4076946"/>
              <a:gd name="connsiteY2" fmla="*/ 6842034 h 6860842"/>
              <a:gd name="connsiteX3" fmla="*/ 609909 w 4076946"/>
              <a:gd name="connsiteY3" fmla="*/ 6860842 h 6860842"/>
              <a:gd name="connsiteX4" fmla="*/ 30187 w 4076946"/>
              <a:gd name="connsiteY4" fmla="*/ 6281120 h 6860842"/>
              <a:gd name="connsiteX5" fmla="*/ 0 w 4076946"/>
              <a:gd name="connsiteY5" fmla="*/ 0 h 68608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076946" h="6860842">
                <a:moveTo>
                  <a:pt x="0" y="0"/>
                </a:moveTo>
                <a:lnTo>
                  <a:pt x="4069426" y="6307"/>
                </a:lnTo>
                <a:cubicBezTo>
                  <a:pt x="4070331" y="2153114"/>
                  <a:pt x="4076041" y="4695227"/>
                  <a:pt x="4076946" y="6842034"/>
                </a:cubicBezTo>
                <a:lnTo>
                  <a:pt x="609909" y="6860842"/>
                </a:lnTo>
                <a:cubicBezTo>
                  <a:pt x="289737" y="6860842"/>
                  <a:pt x="30187" y="6601292"/>
                  <a:pt x="30187" y="6281120"/>
                </a:cubicBezTo>
                <a:cubicBezTo>
                  <a:pt x="24542" y="4758683"/>
                  <a:pt x="5645" y="1522437"/>
                  <a:pt x="0" y="0"/>
                </a:cubicBezTo>
                <a:close/>
              </a:path>
            </a:pathLst>
          </a:custGeom>
          <a:noFill/>
        </p:spPr>
        <p:txBody>
          <a:bodyPr>
            <a:normAutofit/>
          </a:bodyPr>
          <a:lstStyle>
            <a:lvl1pPr marL="0" indent="0">
              <a:buNone/>
              <a:defRPr sz="1400">
                <a:solidFill>
                  <a:schemeClr val="tx1"/>
                </a:solidFill>
              </a:defRPr>
            </a:lvl1pPr>
          </a:lstStyle>
          <a:p>
            <a:r>
              <a:rPr lang="en-JP"/>
              <a:t>Insert Photo</a:t>
            </a:r>
          </a:p>
        </p:txBody>
      </p:sp>
      <p:sp>
        <p:nvSpPr>
          <p:cNvPr id="17" name="タイトル プレースホルダ 1">
            <a:extLst>
              <a:ext uri="{FF2B5EF4-FFF2-40B4-BE49-F238E27FC236}">
                <a16:creationId xmlns:a16="http://schemas.microsoft.com/office/drawing/2014/main" id="{6FB24DD6-99CB-CE43-A787-C9F60DC95F8F}"/>
              </a:ext>
            </a:extLst>
          </p:cNvPr>
          <p:cNvSpPr>
            <a:spLocks noGrp="1"/>
          </p:cNvSpPr>
          <p:nvPr>
            <p:ph type="title" hasCustomPrompt="1"/>
          </p:nvPr>
        </p:nvSpPr>
        <p:spPr>
          <a:xfrm>
            <a:off x="606079" y="161605"/>
            <a:ext cx="7368878" cy="685801"/>
          </a:xfrm>
          <a:prstGeom prst="rect">
            <a:avLst/>
          </a:prstGeom>
        </p:spPr>
        <p:txBody>
          <a:bodyPr vert="horz" lIns="0" tIns="0" rIns="0" bIns="0" rtlCol="0" anchor="ctr">
            <a:normAutofit/>
          </a:bodyPr>
          <a:lstStyle/>
          <a:p>
            <a:r>
              <a:rPr kumimoji="1" lang="en-US" altLang="ja-JP"/>
              <a:t>Click to add title</a:t>
            </a:r>
            <a:endParaRPr kumimoji="1" lang="ja-JP" altLang="en-US"/>
          </a:p>
        </p:txBody>
      </p:sp>
      <p:sp>
        <p:nvSpPr>
          <p:cNvPr id="18" name="Rectangle 17">
            <a:extLst>
              <a:ext uri="{FF2B5EF4-FFF2-40B4-BE49-F238E27FC236}">
                <a16:creationId xmlns:a16="http://schemas.microsoft.com/office/drawing/2014/main" id="{77130E5B-E573-584B-8C83-F8409492B14B}"/>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a:solidFill>
                <a:schemeClr val="accent1"/>
              </a:solidFill>
            </a:endParaRPr>
          </a:p>
        </p:txBody>
      </p:sp>
      <p:sp>
        <p:nvSpPr>
          <p:cNvPr id="21" name="スライド番号プレースホルダ 5">
            <a:extLst>
              <a:ext uri="{FF2B5EF4-FFF2-40B4-BE49-F238E27FC236}">
                <a16:creationId xmlns:a16="http://schemas.microsoft.com/office/drawing/2014/main" id="{C55CC856-2ADD-F44F-96B6-03734457CCF1}"/>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2" name="Text Placeholder 6">
            <a:extLst>
              <a:ext uri="{FF2B5EF4-FFF2-40B4-BE49-F238E27FC236}">
                <a16:creationId xmlns:a16="http://schemas.microsoft.com/office/drawing/2014/main" id="{DB94AACD-56D4-F146-AFC0-5CBE6630C5AA}"/>
              </a:ext>
            </a:extLst>
          </p:cNvPr>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Private and confidential. For internal use only.</a:t>
            </a:r>
          </a:p>
        </p:txBody>
      </p:sp>
      <p:sp>
        <p:nvSpPr>
          <p:cNvPr id="19" name="Text Placeholder 2">
            <a:extLst>
              <a:ext uri="{FF2B5EF4-FFF2-40B4-BE49-F238E27FC236}">
                <a16:creationId xmlns:a16="http://schemas.microsoft.com/office/drawing/2014/main" id="{73A8AA34-7C7D-A24F-AF24-5158DD2AB0ED}"/>
              </a:ext>
            </a:extLst>
          </p:cNvPr>
          <p:cNvSpPr>
            <a:spLocks noGrp="1"/>
          </p:cNvSpPr>
          <p:nvPr>
            <p:ph type="body" sz="quarter" idx="20" hasCustomPrompt="1"/>
          </p:nvPr>
        </p:nvSpPr>
        <p:spPr>
          <a:xfrm>
            <a:off x="311151" y="1491373"/>
            <a:ext cx="7660042" cy="1464957"/>
          </a:xfrm>
        </p:spPr>
        <p:txBody>
          <a:bodyPr tIns="0" rIns="0" bIns="0" numCol="1" spcCol="126000">
            <a:noAutofit/>
          </a:bodyPr>
          <a:lstStyle>
            <a:lvl1pPr marL="0" indent="0">
              <a:lnSpc>
                <a:spcPct val="100000"/>
              </a:lnSpc>
              <a:spcBef>
                <a:spcPts val="0"/>
              </a:spcBef>
              <a:buNone/>
              <a:defRPr sz="1600" b="1"/>
            </a:lvl1pPr>
            <a:lvl2pPr marL="457068" indent="0">
              <a:buNone/>
              <a:defRPr sz="1800" b="1"/>
            </a:lvl2pPr>
            <a:lvl3pPr marL="914149" indent="0">
              <a:buNone/>
              <a:defRPr sz="1800" b="1"/>
            </a:lvl3pPr>
            <a:lvl4pPr marL="1371219" indent="0">
              <a:buNone/>
              <a:defRPr sz="1800" b="1"/>
            </a:lvl4pPr>
            <a:lvl5pPr marL="1828290" indent="0">
              <a:buNone/>
              <a:defRPr sz="1800" b="1"/>
            </a:lvl5pPr>
          </a:lstStyle>
          <a:p>
            <a:pPr lvl="0"/>
            <a:r>
              <a:rPr lang="en-US"/>
              <a:t>This is your Primary Text.</a:t>
            </a:r>
            <a:endParaRPr lang="en-JP"/>
          </a:p>
        </p:txBody>
      </p:sp>
      <p:sp>
        <p:nvSpPr>
          <p:cNvPr id="20" name="Text Placeholder 6">
            <a:extLst>
              <a:ext uri="{FF2B5EF4-FFF2-40B4-BE49-F238E27FC236}">
                <a16:creationId xmlns:a16="http://schemas.microsoft.com/office/drawing/2014/main" id="{8F4B55CE-CF3E-7E44-A66A-599621CA5C5F}"/>
              </a:ext>
            </a:extLst>
          </p:cNvPr>
          <p:cNvSpPr>
            <a:spLocks noGrp="1"/>
          </p:cNvSpPr>
          <p:nvPr>
            <p:ph type="body" sz="quarter" idx="21" hasCustomPrompt="1"/>
          </p:nvPr>
        </p:nvSpPr>
        <p:spPr>
          <a:xfrm>
            <a:off x="311150" y="1093767"/>
            <a:ext cx="7660042" cy="272786"/>
          </a:xfrm>
        </p:spPr>
        <p:txBody>
          <a:bodyPr tIns="0" rIns="0" bIns="0" numCol="1">
            <a:noAutofit/>
          </a:bodyPr>
          <a:lstStyle>
            <a:lvl1pPr marL="0" indent="0">
              <a:lnSpc>
                <a:spcPct val="100000"/>
              </a:lnSpc>
              <a:spcBef>
                <a:spcPts val="0"/>
              </a:spcBef>
              <a:spcAft>
                <a:spcPts val="600"/>
              </a:spcAft>
              <a:buNone/>
              <a:defRPr sz="20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Primary Title</a:t>
            </a:r>
          </a:p>
        </p:txBody>
      </p:sp>
    </p:spTree>
    <p:extLst>
      <p:ext uri="{BB962C8B-B14F-4D97-AF65-F5344CB8AC3E}">
        <p14:creationId xmlns:p14="http://schemas.microsoft.com/office/powerpoint/2010/main" val="3149553926"/>
      </p:ext>
    </p:extLst>
  </p:cSld>
  <p:clrMapOvr>
    <a:masterClrMapping/>
  </p:clrMapOvr>
  <p:transition spd="slow">
    <p:push dir="u"/>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Advanced Image 4-Column">
    <p:spTree>
      <p:nvGrpSpPr>
        <p:cNvPr id="1" name=""/>
        <p:cNvGrpSpPr/>
        <p:nvPr/>
      </p:nvGrpSpPr>
      <p:grpSpPr>
        <a:xfrm>
          <a:off x="0" y="0"/>
          <a:ext cx="0" cy="0"/>
          <a:chOff x="0" y="0"/>
          <a:chExt cx="0" cy="0"/>
        </a:xfrm>
      </p:grpSpPr>
      <p:sp>
        <p:nvSpPr>
          <p:cNvPr id="22" name="Picture Placeholder 9">
            <a:extLst>
              <a:ext uri="{FF2B5EF4-FFF2-40B4-BE49-F238E27FC236}">
                <a16:creationId xmlns:a16="http://schemas.microsoft.com/office/drawing/2014/main" id="{21DF8897-54F9-C24F-8261-0C5418827A6D}"/>
              </a:ext>
            </a:extLst>
          </p:cNvPr>
          <p:cNvSpPr>
            <a:spLocks noGrp="1"/>
          </p:cNvSpPr>
          <p:nvPr>
            <p:ph type="pic" sz="quarter" idx="10" hasCustomPrompt="1"/>
          </p:nvPr>
        </p:nvSpPr>
        <p:spPr>
          <a:xfrm>
            <a:off x="9110737" y="3076286"/>
            <a:ext cx="2772041" cy="3138969"/>
          </a:xfrm>
          <a:custGeom>
            <a:avLst/>
            <a:gdLst>
              <a:gd name="connsiteX0" fmla="*/ 0 w 10888662"/>
              <a:gd name="connsiteY0" fmla="*/ 579722 h 6442075"/>
              <a:gd name="connsiteX1" fmla="*/ 579722 w 10888662"/>
              <a:gd name="connsiteY1" fmla="*/ 0 h 6442075"/>
              <a:gd name="connsiteX2" fmla="*/ 10308940 w 10888662"/>
              <a:gd name="connsiteY2" fmla="*/ 0 h 6442075"/>
              <a:gd name="connsiteX3" fmla="*/ 10888662 w 10888662"/>
              <a:gd name="connsiteY3" fmla="*/ 579722 h 6442075"/>
              <a:gd name="connsiteX4" fmla="*/ 10888662 w 10888662"/>
              <a:gd name="connsiteY4" fmla="*/ 5862353 h 6442075"/>
              <a:gd name="connsiteX5" fmla="*/ 10308940 w 10888662"/>
              <a:gd name="connsiteY5" fmla="*/ 6442075 h 6442075"/>
              <a:gd name="connsiteX6" fmla="*/ 579722 w 10888662"/>
              <a:gd name="connsiteY6" fmla="*/ 6442075 h 6442075"/>
              <a:gd name="connsiteX7" fmla="*/ 0 w 10888662"/>
              <a:gd name="connsiteY7" fmla="*/ 5862353 h 6442075"/>
              <a:gd name="connsiteX8" fmla="*/ 0 w 10888662"/>
              <a:gd name="connsiteY8" fmla="*/ 579722 h 6442075"/>
              <a:gd name="connsiteX0" fmla="*/ 0 w 10888662"/>
              <a:gd name="connsiteY0" fmla="*/ 659657 h 6522010"/>
              <a:gd name="connsiteX1" fmla="*/ 10308940 w 10888662"/>
              <a:gd name="connsiteY1" fmla="*/ 79935 h 6522010"/>
              <a:gd name="connsiteX2" fmla="*/ 10888662 w 10888662"/>
              <a:gd name="connsiteY2" fmla="*/ 659657 h 6522010"/>
              <a:gd name="connsiteX3" fmla="*/ 10888662 w 10888662"/>
              <a:gd name="connsiteY3" fmla="*/ 5942288 h 6522010"/>
              <a:gd name="connsiteX4" fmla="*/ 10308940 w 10888662"/>
              <a:gd name="connsiteY4" fmla="*/ 6522010 h 6522010"/>
              <a:gd name="connsiteX5" fmla="*/ 579722 w 10888662"/>
              <a:gd name="connsiteY5" fmla="*/ 6522010 h 6522010"/>
              <a:gd name="connsiteX6" fmla="*/ 0 w 10888662"/>
              <a:gd name="connsiteY6" fmla="*/ 5942288 h 6522010"/>
              <a:gd name="connsiteX7" fmla="*/ 0 w 10888662"/>
              <a:gd name="connsiteY7" fmla="*/ 659657 h 6522010"/>
              <a:gd name="connsiteX0" fmla="*/ 0 w 10888662"/>
              <a:gd name="connsiteY0" fmla="*/ 579722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579722 h 6442075"/>
              <a:gd name="connsiteX0" fmla="*/ 0 w 10888662"/>
              <a:gd name="connsiteY0" fmla="*/ 129257 h 6569679"/>
              <a:gd name="connsiteX1" fmla="*/ 10308940 w 10888662"/>
              <a:gd name="connsiteY1" fmla="*/ 127604 h 6569679"/>
              <a:gd name="connsiteX2" fmla="*/ 10888662 w 10888662"/>
              <a:gd name="connsiteY2" fmla="*/ 707326 h 6569679"/>
              <a:gd name="connsiteX3" fmla="*/ 10888662 w 10888662"/>
              <a:gd name="connsiteY3" fmla="*/ 5989957 h 6569679"/>
              <a:gd name="connsiteX4" fmla="*/ 10308940 w 10888662"/>
              <a:gd name="connsiteY4" fmla="*/ 6569679 h 6569679"/>
              <a:gd name="connsiteX5" fmla="*/ 579722 w 10888662"/>
              <a:gd name="connsiteY5" fmla="*/ 6569679 h 6569679"/>
              <a:gd name="connsiteX6" fmla="*/ 0 w 10888662"/>
              <a:gd name="connsiteY6" fmla="*/ 5989957 h 6569679"/>
              <a:gd name="connsiteX7" fmla="*/ 0 w 10888662"/>
              <a:gd name="connsiteY7" fmla="*/ 129257 h 6569679"/>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9657299 w 10888662"/>
              <a:gd name="connsiteY4" fmla="*/ 55276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522010"/>
              <a:gd name="connsiteX1" fmla="*/ 10308940 w 10888662"/>
              <a:gd name="connsiteY1" fmla="*/ 0 h 6522010"/>
              <a:gd name="connsiteX2" fmla="*/ 10888662 w 10888662"/>
              <a:gd name="connsiteY2" fmla="*/ 579722 h 6522010"/>
              <a:gd name="connsiteX3" fmla="*/ 10888662 w 10888662"/>
              <a:gd name="connsiteY3" fmla="*/ 5862353 h 6522010"/>
              <a:gd name="connsiteX4" fmla="*/ 579722 w 10888662"/>
              <a:gd name="connsiteY4" fmla="*/ 6442075 h 6522010"/>
              <a:gd name="connsiteX5" fmla="*/ 0 w 10888662"/>
              <a:gd name="connsiteY5" fmla="*/ 5862353 h 6522010"/>
              <a:gd name="connsiteX6" fmla="*/ 0 w 10888662"/>
              <a:gd name="connsiteY6" fmla="*/ 1653 h 6522010"/>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579722 w 10888662"/>
              <a:gd name="connsiteY4" fmla="*/ 6442075 h 6442075"/>
              <a:gd name="connsiteX5" fmla="*/ 0 w 10888662"/>
              <a:gd name="connsiteY5" fmla="*/ 5862353 h 6442075"/>
              <a:gd name="connsiteX6" fmla="*/ 0 w 10888662"/>
              <a:gd name="connsiteY6" fmla="*/ 1653 h 6442075"/>
              <a:gd name="connsiteX0" fmla="*/ 0 w 10888662"/>
              <a:gd name="connsiteY0" fmla="*/ 1653 h 6585432"/>
              <a:gd name="connsiteX1" fmla="*/ 10308940 w 10888662"/>
              <a:gd name="connsiteY1" fmla="*/ 0 h 6585432"/>
              <a:gd name="connsiteX2" fmla="*/ 10888662 w 10888662"/>
              <a:gd name="connsiteY2" fmla="*/ 579722 h 6585432"/>
              <a:gd name="connsiteX3" fmla="*/ 10878151 w 10888662"/>
              <a:gd name="connsiteY3" fmla="*/ 6461442 h 6585432"/>
              <a:gd name="connsiteX4" fmla="*/ 579722 w 10888662"/>
              <a:gd name="connsiteY4" fmla="*/ 6442075 h 6585432"/>
              <a:gd name="connsiteX5" fmla="*/ 0 w 10888662"/>
              <a:gd name="connsiteY5" fmla="*/ 5862353 h 6585432"/>
              <a:gd name="connsiteX6" fmla="*/ 0 w 10888662"/>
              <a:gd name="connsiteY6" fmla="*/ 1653 h 6585432"/>
              <a:gd name="connsiteX0" fmla="*/ 0 w 10888662"/>
              <a:gd name="connsiteY0" fmla="*/ 1653 h 6577502"/>
              <a:gd name="connsiteX1" fmla="*/ 10308940 w 10888662"/>
              <a:gd name="connsiteY1" fmla="*/ 0 h 6577502"/>
              <a:gd name="connsiteX2" fmla="*/ 10888662 w 10888662"/>
              <a:gd name="connsiteY2" fmla="*/ 579722 h 6577502"/>
              <a:gd name="connsiteX3" fmla="*/ 10878151 w 10888662"/>
              <a:gd name="connsiteY3" fmla="*/ 6450932 h 6577502"/>
              <a:gd name="connsiteX4" fmla="*/ 579722 w 10888662"/>
              <a:gd name="connsiteY4" fmla="*/ 6442075 h 6577502"/>
              <a:gd name="connsiteX5" fmla="*/ 0 w 10888662"/>
              <a:gd name="connsiteY5" fmla="*/ 5862353 h 6577502"/>
              <a:gd name="connsiteX6" fmla="*/ 0 w 10888662"/>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0888662"/>
              <a:gd name="connsiteY0" fmla="*/ 1653 h 6450932"/>
              <a:gd name="connsiteX1" fmla="*/ 10308940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0999550"/>
              <a:gd name="connsiteY0" fmla="*/ 1653 h 6450932"/>
              <a:gd name="connsiteX1" fmla="*/ 10844968 w 10999550"/>
              <a:gd name="connsiteY1" fmla="*/ 0 h 6450932"/>
              <a:gd name="connsiteX2" fmla="*/ 10888662 w 10999550"/>
              <a:gd name="connsiteY2" fmla="*/ 579722 h 6450932"/>
              <a:gd name="connsiteX3" fmla="*/ 10878151 w 10999550"/>
              <a:gd name="connsiteY3" fmla="*/ 6450932 h 6450932"/>
              <a:gd name="connsiteX4" fmla="*/ 579722 w 10999550"/>
              <a:gd name="connsiteY4" fmla="*/ 6442075 h 6450932"/>
              <a:gd name="connsiteX5" fmla="*/ 0 w 10999550"/>
              <a:gd name="connsiteY5" fmla="*/ 5862353 h 6450932"/>
              <a:gd name="connsiteX6" fmla="*/ 0 w 10999550"/>
              <a:gd name="connsiteY6" fmla="*/ 1653 h 6450932"/>
              <a:gd name="connsiteX0" fmla="*/ 0 w 11022020"/>
              <a:gd name="connsiteY0" fmla="*/ 1653 h 6450932"/>
              <a:gd name="connsiteX1" fmla="*/ 10876499 w 11022020"/>
              <a:gd name="connsiteY1" fmla="*/ 0 h 6450932"/>
              <a:gd name="connsiteX2" fmla="*/ 10888662 w 11022020"/>
              <a:gd name="connsiteY2" fmla="*/ 579722 h 6450932"/>
              <a:gd name="connsiteX3" fmla="*/ 10878151 w 11022020"/>
              <a:gd name="connsiteY3" fmla="*/ 6450932 h 6450932"/>
              <a:gd name="connsiteX4" fmla="*/ 579722 w 11022020"/>
              <a:gd name="connsiteY4" fmla="*/ 6442075 h 6450932"/>
              <a:gd name="connsiteX5" fmla="*/ 0 w 11022020"/>
              <a:gd name="connsiteY5" fmla="*/ 5862353 h 6450932"/>
              <a:gd name="connsiteX6" fmla="*/ 0 w 11022020"/>
              <a:gd name="connsiteY6" fmla="*/ 1653 h 6450932"/>
              <a:gd name="connsiteX0" fmla="*/ 0 w 10888662"/>
              <a:gd name="connsiteY0" fmla="*/ 1653 h 6450932"/>
              <a:gd name="connsiteX1" fmla="*/ 10876499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2200990"/>
              <a:gd name="connsiteY0" fmla="*/ 1653 h 6450932"/>
              <a:gd name="connsiteX1" fmla="*/ 10876499 w 12200990"/>
              <a:gd name="connsiteY1" fmla="*/ 0 h 6450932"/>
              <a:gd name="connsiteX2" fmla="*/ 10878151 w 12200990"/>
              <a:gd name="connsiteY2" fmla="*/ 6450932 h 6450932"/>
              <a:gd name="connsiteX3" fmla="*/ 579722 w 12200990"/>
              <a:gd name="connsiteY3" fmla="*/ 6442075 h 6450932"/>
              <a:gd name="connsiteX4" fmla="*/ 0 w 12200990"/>
              <a:gd name="connsiteY4" fmla="*/ 5862353 h 6450932"/>
              <a:gd name="connsiteX5" fmla="*/ 0 w 12200990"/>
              <a:gd name="connsiteY5" fmla="*/ 1653 h 6450932"/>
              <a:gd name="connsiteX0" fmla="*/ 0 w 11640630"/>
              <a:gd name="connsiteY0" fmla="*/ 1653 h 6450932"/>
              <a:gd name="connsiteX1" fmla="*/ 10876499 w 11640630"/>
              <a:gd name="connsiteY1" fmla="*/ 0 h 6450932"/>
              <a:gd name="connsiteX2" fmla="*/ 10878151 w 11640630"/>
              <a:gd name="connsiteY2" fmla="*/ 6450932 h 6450932"/>
              <a:gd name="connsiteX3" fmla="*/ 579722 w 11640630"/>
              <a:gd name="connsiteY3" fmla="*/ 6442075 h 6450932"/>
              <a:gd name="connsiteX4" fmla="*/ 0 w 11640630"/>
              <a:gd name="connsiteY4" fmla="*/ 5862353 h 6450932"/>
              <a:gd name="connsiteX5" fmla="*/ 0 w 11640630"/>
              <a:gd name="connsiteY5" fmla="*/ 1653 h 6450932"/>
              <a:gd name="connsiteX0" fmla="*/ 0 w 10878151"/>
              <a:gd name="connsiteY0" fmla="*/ 1653 h 6450932"/>
              <a:gd name="connsiteX1" fmla="*/ 10876499 w 10878151"/>
              <a:gd name="connsiteY1" fmla="*/ 0 h 6450932"/>
              <a:gd name="connsiteX2" fmla="*/ 10878151 w 10878151"/>
              <a:gd name="connsiteY2" fmla="*/ 6450932 h 6450932"/>
              <a:gd name="connsiteX3" fmla="*/ 579722 w 10878151"/>
              <a:gd name="connsiteY3" fmla="*/ 6442075 h 6450932"/>
              <a:gd name="connsiteX4" fmla="*/ 0 w 10878151"/>
              <a:gd name="connsiteY4" fmla="*/ 5862353 h 6450932"/>
              <a:gd name="connsiteX5" fmla="*/ 0 w 10878151"/>
              <a:gd name="connsiteY5" fmla="*/ 1653 h 6450932"/>
              <a:gd name="connsiteX0" fmla="*/ 0 w 11843451"/>
              <a:gd name="connsiteY0" fmla="*/ 1653 h 6450932"/>
              <a:gd name="connsiteX1" fmla="*/ 11843451 w 11843451"/>
              <a:gd name="connsiteY1" fmla="*/ 0 h 6450932"/>
              <a:gd name="connsiteX2" fmla="*/ 10878151 w 11843451"/>
              <a:gd name="connsiteY2" fmla="*/ 6450932 h 6450932"/>
              <a:gd name="connsiteX3" fmla="*/ 579722 w 11843451"/>
              <a:gd name="connsiteY3" fmla="*/ 6442075 h 6450932"/>
              <a:gd name="connsiteX4" fmla="*/ 0 w 11843451"/>
              <a:gd name="connsiteY4" fmla="*/ 5862353 h 6450932"/>
              <a:gd name="connsiteX5" fmla="*/ 0 w 11843451"/>
              <a:gd name="connsiteY5" fmla="*/ 1653 h 6450932"/>
              <a:gd name="connsiteX0" fmla="*/ 0 w 11855613"/>
              <a:gd name="connsiteY0" fmla="*/ 1653 h 6450932"/>
              <a:gd name="connsiteX1" fmla="*/ 11843451 w 11855613"/>
              <a:gd name="connsiteY1" fmla="*/ 0 h 6450932"/>
              <a:gd name="connsiteX2" fmla="*/ 11855613 w 11855613"/>
              <a:gd name="connsiteY2" fmla="*/ 6450932 h 6450932"/>
              <a:gd name="connsiteX3" fmla="*/ 579722 w 11855613"/>
              <a:gd name="connsiteY3" fmla="*/ 6442075 h 6450932"/>
              <a:gd name="connsiteX4" fmla="*/ 0 w 11855613"/>
              <a:gd name="connsiteY4" fmla="*/ 5862353 h 6450932"/>
              <a:gd name="connsiteX5" fmla="*/ 0 w 11855613"/>
              <a:gd name="connsiteY5" fmla="*/ 1653 h 6450932"/>
              <a:gd name="connsiteX0" fmla="*/ 0 w 11864472"/>
              <a:gd name="connsiteY0" fmla="*/ 1653 h 6450932"/>
              <a:gd name="connsiteX1" fmla="*/ 11864472 w 11864472"/>
              <a:gd name="connsiteY1" fmla="*/ 0 h 6450932"/>
              <a:gd name="connsiteX2" fmla="*/ 11855613 w 11864472"/>
              <a:gd name="connsiteY2" fmla="*/ 6450932 h 6450932"/>
              <a:gd name="connsiteX3" fmla="*/ 579722 w 11864472"/>
              <a:gd name="connsiteY3" fmla="*/ 6442075 h 6450932"/>
              <a:gd name="connsiteX4" fmla="*/ 0 w 11864472"/>
              <a:gd name="connsiteY4" fmla="*/ 5862353 h 6450932"/>
              <a:gd name="connsiteX5" fmla="*/ 0 w 11864472"/>
              <a:gd name="connsiteY5" fmla="*/ 1653 h 6450932"/>
              <a:gd name="connsiteX0" fmla="*/ 0 w 11864472"/>
              <a:gd name="connsiteY0" fmla="*/ 1653 h 6442075"/>
              <a:gd name="connsiteX1" fmla="*/ 11864472 w 11864472"/>
              <a:gd name="connsiteY1" fmla="*/ 0 h 6442075"/>
              <a:gd name="connsiteX2" fmla="*/ 11855613 w 11864472"/>
              <a:gd name="connsiteY2" fmla="*/ 6440421 h 6442075"/>
              <a:gd name="connsiteX3" fmla="*/ 579722 w 11864472"/>
              <a:gd name="connsiteY3" fmla="*/ 6442075 h 6442075"/>
              <a:gd name="connsiteX4" fmla="*/ 0 w 11864472"/>
              <a:gd name="connsiteY4" fmla="*/ 5862353 h 6442075"/>
              <a:gd name="connsiteX5" fmla="*/ 0 w 11864472"/>
              <a:gd name="connsiteY5" fmla="*/ 1653 h 6442075"/>
              <a:gd name="connsiteX0" fmla="*/ 0 w 11855613"/>
              <a:gd name="connsiteY0" fmla="*/ 1653 h 6442075"/>
              <a:gd name="connsiteX1" fmla="*/ 8912928 w 11855613"/>
              <a:gd name="connsiteY1" fmla="*/ 0 h 6442075"/>
              <a:gd name="connsiteX2" fmla="*/ 11855613 w 11855613"/>
              <a:gd name="connsiteY2" fmla="*/ 6440421 h 6442075"/>
              <a:gd name="connsiteX3" fmla="*/ 579722 w 11855613"/>
              <a:gd name="connsiteY3" fmla="*/ 6442075 h 6442075"/>
              <a:gd name="connsiteX4" fmla="*/ 0 w 11855613"/>
              <a:gd name="connsiteY4" fmla="*/ 5862353 h 6442075"/>
              <a:gd name="connsiteX5" fmla="*/ 0 w 11855613"/>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74032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36077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1615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15642"/>
              <a:gd name="connsiteY0" fmla="*/ 1653 h 6442075"/>
              <a:gd name="connsiteX1" fmla="*/ 8912928 w 8915642"/>
              <a:gd name="connsiteY1" fmla="*/ 0 h 6442075"/>
              <a:gd name="connsiteX2" fmla="*/ 8915642 w 8915642"/>
              <a:gd name="connsiteY2" fmla="*/ 6440421 h 6442075"/>
              <a:gd name="connsiteX3" fmla="*/ 579722 w 8915642"/>
              <a:gd name="connsiteY3" fmla="*/ 6442075 h 6442075"/>
              <a:gd name="connsiteX4" fmla="*/ 0 w 8915642"/>
              <a:gd name="connsiteY4" fmla="*/ 5862353 h 6442075"/>
              <a:gd name="connsiteX5" fmla="*/ 0 w 8915642"/>
              <a:gd name="connsiteY5" fmla="*/ 1653 h 6442075"/>
              <a:gd name="connsiteX0" fmla="*/ 0 w 8915642"/>
              <a:gd name="connsiteY0" fmla="*/ 1 h 6618553"/>
              <a:gd name="connsiteX1" fmla="*/ 8912928 w 8915642"/>
              <a:gd name="connsiteY1" fmla="*/ 176478 h 6618553"/>
              <a:gd name="connsiteX2" fmla="*/ 8915642 w 8915642"/>
              <a:gd name="connsiteY2" fmla="*/ 6616899 h 6618553"/>
              <a:gd name="connsiteX3" fmla="*/ 579722 w 8915642"/>
              <a:gd name="connsiteY3" fmla="*/ 6618553 h 6618553"/>
              <a:gd name="connsiteX4" fmla="*/ 0 w 8915642"/>
              <a:gd name="connsiteY4" fmla="*/ 6038831 h 6618553"/>
              <a:gd name="connsiteX5" fmla="*/ 0 w 8915642"/>
              <a:gd name="connsiteY5" fmla="*/ 1 h 6618553"/>
              <a:gd name="connsiteX0" fmla="*/ 0 w 8915642"/>
              <a:gd name="connsiteY0" fmla="*/ 25404 h 6643956"/>
              <a:gd name="connsiteX1" fmla="*/ 6015348 w 8915642"/>
              <a:gd name="connsiteY1" fmla="*/ 0 h 6643956"/>
              <a:gd name="connsiteX2" fmla="*/ 8915642 w 8915642"/>
              <a:gd name="connsiteY2" fmla="*/ 6642302 h 6643956"/>
              <a:gd name="connsiteX3" fmla="*/ 579722 w 8915642"/>
              <a:gd name="connsiteY3" fmla="*/ 6643956 h 6643956"/>
              <a:gd name="connsiteX4" fmla="*/ 0 w 8915642"/>
              <a:gd name="connsiteY4" fmla="*/ 6064234 h 6643956"/>
              <a:gd name="connsiteX5" fmla="*/ 0 w 8915642"/>
              <a:gd name="connsiteY5" fmla="*/ 25404 h 6643956"/>
              <a:gd name="connsiteX0" fmla="*/ 0 w 8915642"/>
              <a:gd name="connsiteY0" fmla="*/ 1653 h 6620205"/>
              <a:gd name="connsiteX1" fmla="*/ 6003473 w 8915642"/>
              <a:gd name="connsiteY1" fmla="*/ 0 h 6620205"/>
              <a:gd name="connsiteX2" fmla="*/ 8915642 w 8915642"/>
              <a:gd name="connsiteY2" fmla="*/ 6618551 h 6620205"/>
              <a:gd name="connsiteX3" fmla="*/ 579722 w 8915642"/>
              <a:gd name="connsiteY3" fmla="*/ 6620205 h 6620205"/>
              <a:gd name="connsiteX4" fmla="*/ 0 w 8915642"/>
              <a:gd name="connsiteY4" fmla="*/ 6040483 h 6620205"/>
              <a:gd name="connsiteX5" fmla="*/ 0 w 8915642"/>
              <a:gd name="connsiteY5" fmla="*/ 1653 h 6620205"/>
              <a:gd name="connsiteX0" fmla="*/ 0 w 8915642"/>
              <a:gd name="connsiteY0" fmla="*/ 96656 h 6620205"/>
              <a:gd name="connsiteX1" fmla="*/ 6003473 w 8915642"/>
              <a:gd name="connsiteY1" fmla="*/ 0 h 6620205"/>
              <a:gd name="connsiteX2" fmla="*/ 8915642 w 8915642"/>
              <a:gd name="connsiteY2" fmla="*/ 6618551 h 6620205"/>
              <a:gd name="connsiteX3" fmla="*/ 579722 w 8915642"/>
              <a:gd name="connsiteY3" fmla="*/ 6620205 h 6620205"/>
              <a:gd name="connsiteX4" fmla="*/ 0 w 8915642"/>
              <a:gd name="connsiteY4" fmla="*/ 6040483 h 6620205"/>
              <a:gd name="connsiteX5" fmla="*/ 0 w 8915642"/>
              <a:gd name="connsiteY5" fmla="*/ 96656 h 6620205"/>
              <a:gd name="connsiteX0" fmla="*/ 0 w 8915642"/>
              <a:gd name="connsiteY0" fmla="*/ 0 h 6642302"/>
              <a:gd name="connsiteX1" fmla="*/ 6003473 w 8915642"/>
              <a:gd name="connsiteY1" fmla="*/ 22097 h 6642302"/>
              <a:gd name="connsiteX2" fmla="*/ 8915642 w 8915642"/>
              <a:gd name="connsiteY2" fmla="*/ 6640648 h 6642302"/>
              <a:gd name="connsiteX3" fmla="*/ 579722 w 8915642"/>
              <a:gd name="connsiteY3" fmla="*/ 6642302 h 6642302"/>
              <a:gd name="connsiteX4" fmla="*/ 0 w 8915642"/>
              <a:gd name="connsiteY4" fmla="*/ 6062580 h 6642302"/>
              <a:gd name="connsiteX5" fmla="*/ 0 w 8915642"/>
              <a:gd name="connsiteY5" fmla="*/ 0 h 6642302"/>
              <a:gd name="connsiteX0" fmla="*/ 0 w 8915642"/>
              <a:gd name="connsiteY0" fmla="*/ 0 h 6642302"/>
              <a:gd name="connsiteX1" fmla="*/ 5932221 w 8915642"/>
              <a:gd name="connsiteY1" fmla="*/ 152725 h 6642302"/>
              <a:gd name="connsiteX2" fmla="*/ 8915642 w 8915642"/>
              <a:gd name="connsiteY2" fmla="*/ 6640648 h 6642302"/>
              <a:gd name="connsiteX3" fmla="*/ 579722 w 8915642"/>
              <a:gd name="connsiteY3" fmla="*/ 6642302 h 6642302"/>
              <a:gd name="connsiteX4" fmla="*/ 0 w 8915642"/>
              <a:gd name="connsiteY4" fmla="*/ 6062580 h 6642302"/>
              <a:gd name="connsiteX5" fmla="*/ 0 w 8915642"/>
              <a:gd name="connsiteY5" fmla="*/ 0 h 6642302"/>
              <a:gd name="connsiteX0" fmla="*/ 0 w 8915642"/>
              <a:gd name="connsiteY0" fmla="*/ 1654 h 6643956"/>
              <a:gd name="connsiteX1" fmla="*/ 6003473 w 8915642"/>
              <a:gd name="connsiteY1" fmla="*/ 0 h 6643956"/>
              <a:gd name="connsiteX2" fmla="*/ 8915642 w 8915642"/>
              <a:gd name="connsiteY2" fmla="*/ 6642302 h 6643956"/>
              <a:gd name="connsiteX3" fmla="*/ 579722 w 8915642"/>
              <a:gd name="connsiteY3" fmla="*/ 6643956 h 6643956"/>
              <a:gd name="connsiteX4" fmla="*/ 0 w 8915642"/>
              <a:gd name="connsiteY4" fmla="*/ 6064234 h 6643956"/>
              <a:gd name="connsiteX5" fmla="*/ 0 w 8915642"/>
              <a:gd name="connsiteY5" fmla="*/ 1654 h 6643956"/>
              <a:gd name="connsiteX0" fmla="*/ 0 w 6018062"/>
              <a:gd name="connsiteY0" fmla="*/ 1654 h 6654178"/>
              <a:gd name="connsiteX1" fmla="*/ 6003473 w 6018062"/>
              <a:gd name="connsiteY1" fmla="*/ 0 h 6654178"/>
              <a:gd name="connsiteX2" fmla="*/ 6018062 w 6018062"/>
              <a:gd name="connsiteY2" fmla="*/ 6654178 h 6654178"/>
              <a:gd name="connsiteX3" fmla="*/ 579722 w 6018062"/>
              <a:gd name="connsiteY3" fmla="*/ 6643956 h 6654178"/>
              <a:gd name="connsiteX4" fmla="*/ 0 w 6018062"/>
              <a:gd name="connsiteY4" fmla="*/ 6064234 h 6654178"/>
              <a:gd name="connsiteX5" fmla="*/ 0 w 6018062"/>
              <a:gd name="connsiteY5" fmla="*/ 1654 h 6654178"/>
              <a:gd name="connsiteX0" fmla="*/ 0 w 6018062"/>
              <a:gd name="connsiteY0" fmla="*/ 203535 h 6654178"/>
              <a:gd name="connsiteX1" fmla="*/ 6003473 w 6018062"/>
              <a:gd name="connsiteY1" fmla="*/ 0 h 6654178"/>
              <a:gd name="connsiteX2" fmla="*/ 6018062 w 6018062"/>
              <a:gd name="connsiteY2" fmla="*/ 6654178 h 6654178"/>
              <a:gd name="connsiteX3" fmla="*/ 579722 w 6018062"/>
              <a:gd name="connsiteY3" fmla="*/ 6643956 h 6654178"/>
              <a:gd name="connsiteX4" fmla="*/ 0 w 6018062"/>
              <a:gd name="connsiteY4" fmla="*/ 6064234 h 6654178"/>
              <a:gd name="connsiteX5" fmla="*/ 0 w 6018062"/>
              <a:gd name="connsiteY5" fmla="*/ 203535 h 6654178"/>
              <a:gd name="connsiteX0" fmla="*/ 0 w 6018062"/>
              <a:gd name="connsiteY0" fmla="*/ 1655 h 6452298"/>
              <a:gd name="connsiteX1" fmla="*/ 4055920 w 6018062"/>
              <a:gd name="connsiteY1" fmla="*/ 0 h 6452298"/>
              <a:gd name="connsiteX2" fmla="*/ 6018062 w 6018062"/>
              <a:gd name="connsiteY2" fmla="*/ 6452298 h 6452298"/>
              <a:gd name="connsiteX3" fmla="*/ 579722 w 6018062"/>
              <a:gd name="connsiteY3" fmla="*/ 6442076 h 6452298"/>
              <a:gd name="connsiteX4" fmla="*/ 0 w 6018062"/>
              <a:gd name="connsiteY4" fmla="*/ 5862354 h 6452298"/>
              <a:gd name="connsiteX5" fmla="*/ 0 w 6018062"/>
              <a:gd name="connsiteY5" fmla="*/ 1655 h 6452298"/>
              <a:gd name="connsiteX0" fmla="*/ 0 w 4055973"/>
              <a:gd name="connsiteY0" fmla="*/ 1655 h 6452298"/>
              <a:gd name="connsiteX1" fmla="*/ 4055920 w 4055973"/>
              <a:gd name="connsiteY1" fmla="*/ 0 h 6452298"/>
              <a:gd name="connsiteX2" fmla="*/ 4046758 w 4055973"/>
              <a:gd name="connsiteY2" fmla="*/ 6452298 h 6452298"/>
              <a:gd name="connsiteX3" fmla="*/ 579722 w 4055973"/>
              <a:gd name="connsiteY3" fmla="*/ 6442076 h 6452298"/>
              <a:gd name="connsiteX4" fmla="*/ 0 w 4055973"/>
              <a:gd name="connsiteY4" fmla="*/ 5862354 h 6452298"/>
              <a:gd name="connsiteX5" fmla="*/ 0 w 4055973"/>
              <a:gd name="connsiteY5" fmla="*/ 1655 h 6452298"/>
              <a:gd name="connsiteX0" fmla="*/ 0 w 4055973"/>
              <a:gd name="connsiteY0" fmla="*/ 0 h 6652523"/>
              <a:gd name="connsiteX1" fmla="*/ 4055920 w 4055973"/>
              <a:gd name="connsiteY1" fmla="*/ 200225 h 6652523"/>
              <a:gd name="connsiteX2" fmla="*/ 4046758 w 4055973"/>
              <a:gd name="connsiteY2" fmla="*/ 6652523 h 6652523"/>
              <a:gd name="connsiteX3" fmla="*/ 579722 w 4055973"/>
              <a:gd name="connsiteY3" fmla="*/ 6642301 h 6652523"/>
              <a:gd name="connsiteX4" fmla="*/ 0 w 4055973"/>
              <a:gd name="connsiteY4" fmla="*/ 6062579 h 6652523"/>
              <a:gd name="connsiteX5" fmla="*/ 0 w 4055973"/>
              <a:gd name="connsiteY5" fmla="*/ 0 h 6652523"/>
              <a:gd name="connsiteX0" fmla="*/ 0 w 4046758"/>
              <a:gd name="connsiteY0" fmla="*/ 0 h 6652523"/>
              <a:gd name="connsiteX1" fmla="*/ 4044045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1655 h 6654178"/>
              <a:gd name="connsiteX1" fmla="*/ 3082144 w 4046758"/>
              <a:gd name="connsiteY1" fmla="*/ 0 h 6654178"/>
              <a:gd name="connsiteX2" fmla="*/ 4046758 w 4046758"/>
              <a:gd name="connsiteY2" fmla="*/ 6654178 h 6654178"/>
              <a:gd name="connsiteX3" fmla="*/ 579722 w 4046758"/>
              <a:gd name="connsiteY3" fmla="*/ 6643956 h 6654178"/>
              <a:gd name="connsiteX4" fmla="*/ 0 w 4046758"/>
              <a:gd name="connsiteY4" fmla="*/ 6064234 h 6654178"/>
              <a:gd name="connsiteX5" fmla="*/ 0 w 4046758"/>
              <a:gd name="connsiteY5" fmla="*/ 1655 h 6654178"/>
              <a:gd name="connsiteX0" fmla="*/ 0 w 4046758"/>
              <a:gd name="connsiteY0" fmla="*/ 0 h 6652523"/>
              <a:gd name="connsiteX1" fmla="*/ 2975266 w 4046758"/>
              <a:gd name="connsiteY1" fmla="*/ 93348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0 h 6652523"/>
              <a:gd name="connsiteX1" fmla="*/ 3070268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0 h 6652523"/>
              <a:gd name="connsiteX1" fmla="*/ 3082144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3082197"/>
              <a:gd name="connsiteY0" fmla="*/ 0 h 6652523"/>
              <a:gd name="connsiteX1" fmla="*/ 3082144 w 3082197"/>
              <a:gd name="connsiteY1" fmla="*/ 10220 h 6652523"/>
              <a:gd name="connsiteX2" fmla="*/ 3072982 w 3082197"/>
              <a:gd name="connsiteY2" fmla="*/ 6652523 h 6652523"/>
              <a:gd name="connsiteX3" fmla="*/ 579722 w 3082197"/>
              <a:gd name="connsiteY3" fmla="*/ 6642301 h 6652523"/>
              <a:gd name="connsiteX4" fmla="*/ 0 w 3082197"/>
              <a:gd name="connsiteY4" fmla="*/ 6062579 h 6652523"/>
              <a:gd name="connsiteX5" fmla="*/ 0 w 3082197"/>
              <a:gd name="connsiteY5" fmla="*/ 0 h 6652523"/>
              <a:gd name="connsiteX0" fmla="*/ 0 w 3072982"/>
              <a:gd name="connsiteY0" fmla="*/ 0 h 6652523"/>
              <a:gd name="connsiteX1" fmla="*/ 3010892 w 3072982"/>
              <a:gd name="connsiteY1" fmla="*/ 164599 h 6652523"/>
              <a:gd name="connsiteX2" fmla="*/ 3072982 w 3072982"/>
              <a:gd name="connsiteY2" fmla="*/ 6652523 h 6652523"/>
              <a:gd name="connsiteX3" fmla="*/ 579722 w 3072982"/>
              <a:gd name="connsiteY3" fmla="*/ 6642301 h 6652523"/>
              <a:gd name="connsiteX4" fmla="*/ 0 w 3072982"/>
              <a:gd name="connsiteY4" fmla="*/ 6062579 h 6652523"/>
              <a:gd name="connsiteX5" fmla="*/ 0 w 3072982"/>
              <a:gd name="connsiteY5" fmla="*/ 0 h 6652523"/>
              <a:gd name="connsiteX0" fmla="*/ 0 w 3082197"/>
              <a:gd name="connsiteY0" fmla="*/ 1656 h 6654179"/>
              <a:gd name="connsiteX1" fmla="*/ 3082144 w 3082197"/>
              <a:gd name="connsiteY1" fmla="*/ 0 h 6654179"/>
              <a:gd name="connsiteX2" fmla="*/ 3072982 w 3082197"/>
              <a:gd name="connsiteY2" fmla="*/ 6654179 h 6654179"/>
              <a:gd name="connsiteX3" fmla="*/ 579722 w 3082197"/>
              <a:gd name="connsiteY3" fmla="*/ 6643957 h 6654179"/>
              <a:gd name="connsiteX4" fmla="*/ 0 w 3082197"/>
              <a:gd name="connsiteY4" fmla="*/ 6064235 h 6654179"/>
              <a:gd name="connsiteX5" fmla="*/ 0 w 3082197"/>
              <a:gd name="connsiteY5" fmla="*/ 1656 h 6654179"/>
              <a:gd name="connsiteX0" fmla="*/ 0 w 3082197"/>
              <a:gd name="connsiteY0" fmla="*/ 1316107 h 6654179"/>
              <a:gd name="connsiteX1" fmla="*/ 3082144 w 3082197"/>
              <a:gd name="connsiteY1" fmla="*/ 0 h 6654179"/>
              <a:gd name="connsiteX2" fmla="*/ 3072982 w 3082197"/>
              <a:gd name="connsiteY2" fmla="*/ 6654179 h 6654179"/>
              <a:gd name="connsiteX3" fmla="*/ 579722 w 3082197"/>
              <a:gd name="connsiteY3" fmla="*/ 6643957 h 6654179"/>
              <a:gd name="connsiteX4" fmla="*/ 0 w 3082197"/>
              <a:gd name="connsiteY4" fmla="*/ 6064235 h 6654179"/>
              <a:gd name="connsiteX5" fmla="*/ 0 w 3082197"/>
              <a:gd name="connsiteY5" fmla="*/ 1316107 h 6654179"/>
              <a:gd name="connsiteX0" fmla="*/ 0 w 3082197"/>
              <a:gd name="connsiteY0" fmla="*/ 1657 h 5339729"/>
              <a:gd name="connsiteX1" fmla="*/ 3082144 w 3082197"/>
              <a:gd name="connsiteY1" fmla="*/ 0 h 5339729"/>
              <a:gd name="connsiteX2" fmla="*/ 3072982 w 3082197"/>
              <a:gd name="connsiteY2" fmla="*/ 5339729 h 5339729"/>
              <a:gd name="connsiteX3" fmla="*/ 579722 w 3082197"/>
              <a:gd name="connsiteY3" fmla="*/ 5329507 h 5339729"/>
              <a:gd name="connsiteX4" fmla="*/ 0 w 3082197"/>
              <a:gd name="connsiteY4" fmla="*/ 4749785 h 5339729"/>
              <a:gd name="connsiteX5" fmla="*/ 0 w 3082197"/>
              <a:gd name="connsiteY5" fmla="*/ 1657 h 5339729"/>
              <a:gd name="connsiteX0" fmla="*/ 0 w 3082197"/>
              <a:gd name="connsiteY0" fmla="*/ 2202416 h 5339729"/>
              <a:gd name="connsiteX1" fmla="*/ 3082144 w 3082197"/>
              <a:gd name="connsiteY1" fmla="*/ 0 h 5339729"/>
              <a:gd name="connsiteX2" fmla="*/ 3072982 w 3082197"/>
              <a:gd name="connsiteY2" fmla="*/ 5339729 h 5339729"/>
              <a:gd name="connsiteX3" fmla="*/ 579722 w 3082197"/>
              <a:gd name="connsiteY3" fmla="*/ 5329507 h 5339729"/>
              <a:gd name="connsiteX4" fmla="*/ 0 w 3082197"/>
              <a:gd name="connsiteY4" fmla="*/ 4749785 h 5339729"/>
              <a:gd name="connsiteX5" fmla="*/ 0 w 3082197"/>
              <a:gd name="connsiteY5" fmla="*/ 2202416 h 5339729"/>
              <a:gd name="connsiteX0" fmla="*/ 0 w 3082197"/>
              <a:gd name="connsiteY0" fmla="*/ 1656 h 3138969"/>
              <a:gd name="connsiteX1" fmla="*/ 3082144 w 3082197"/>
              <a:gd name="connsiteY1" fmla="*/ 0 h 3138969"/>
              <a:gd name="connsiteX2" fmla="*/ 3072982 w 3082197"/>
              <a:gd name="connsiteY2" fmla="*/ 3138969 h 3138969"/>
              <a:gd name="connsiteX3" fmla="*/ 579722 w 3082197"/>
              <a:gd name="connsiteY3" fmla="*/ 3128747 h 3138969"/>
              <a:gd name="connsiteX4" fmla="*/ 0 w 3082197"/>
              <a:gd name="connsiteY4" fmla="*/ 2549025 h 3138969"/>
              <a:gd name="connsiteX5" fmla="*/ 0 w 3082197"/>
              <a:gd name="connsiteY5" fmla="*/ 1656 h 3138969"/>
              <a:gd name="connsiteX0" fmla="*/ 0 w 3082145"/>
              <a:gd name="connsiteY0" fmla="*/ 1656 h 3150544"/>
              <a:gd name="connsiteX1" fmla="*/ 3082144 w 3082145"/>
              <a:gd name="connsiteY1" fmla="*/ 0 h 3150544"/>
              <a:gd name="connsiteX2" fmla="*/ 2772041 w 3082145"/>
              <a:gd name="connsiteY2" fmla="*/ 3150544 h 3150544"/>
              <a:gd name="connsiteX3" fmla="*/ 579722 w 3082145"/>
              <a:gd name="connsiteY3" fmla="*/ 3128747 h 3150544"/>
              <a:gd name="connsiteX4" fmla="*/ 0 w 3082145"/>
              <a:gd name="connsiteY4" fmla="*/ 2549025 h 3150544"/>
              <a:gd name="connsiteX5" fmla="*/ 0 w 3082145"/>
              <a:gd name="connsiteY5" fmla="*/ 1656 h 3150544"/>
              <a:gd name="connsiteX0" fmla="*/ 0 w 2772041"/>
              <a:gd name="connsiteY0" fmla="*/ 1656 h 3150544"/>
              <a:gd name="connsiteX1" fmla="*/ 2769627 w 2772041"/>
              <a:gd name="connsiteY1" fmla="*/ 0 h 3150544"/>
              <a:gd name="connsiteX2" fmla="*/ 2772041 w 2772041"/>
              <a:gd name="connsiteY2" fmla="*/ 3150544 h 3150544"/>
              <a:gd name="connsiteX3" fmla="*/ 579722 w 2772041"/>
              <a:gd name="connsiteY3" fmla="*/ 3128747 h 3150544"/>
              <a:gd name="connsiteX4" fmla="*/ 0 w 2772041"/>
              <a:gd name="connsiteY4" fmla="*/ 2549025 h 3150544"/>
              <a:gd name="connsiteX5" fmla="*/ 0 w 2772041"/>
              <a:gd name="connsiteY5" fmla="*/ 1656 h 3150544"/>
              <a:gd name="connsiteX0" fmla="*/ 0 w 2772041"/>
              <a:gd name="connsiteY0" fmla="*/ 1656 h 3138969"/>
              <a:gd name="connsiteX1" fmla="*/ 2769627 w 2772041"/>
              <a:gd name="connsiteY1" fmla="*/ 0 h 3138969"/>
              <a:gd name="connsiteX2" fmla="*/ 2772041 w 2772041"/>
              <a:gd name="connsiteY2" fmla="*/ 3138969 h 3138969"/>
              <a:gd name="connsiteX3" fmla="*/ 579722 w 2772041"/>
              <a:gd name="connsiteY3" fmla="*/ 3128747 h 3138969"/>
              <a:gd name="connsiteX4" fmla="*/ 0 w 2772041"/>
              <a:gd name="connsiteY4" fmla="*/ 2549025 h 3138969"/>
              <a:gd name="connsiteX5" fmla="*/ 0 w 2772041"/>
              <a:gd name="connsiteY5" fmla="*/ 1656 h 3138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2041" h="3138969">
                <a:moveTo>
                  <a:pt x="0" y="1656"/>
                </a:moveTo>
                <a:lnTo>
                  <a:pt x="2769627" y="0"/>
                </a:lnTo>
                <a:cubicBezTo>
                  <a:pt x="2770532" y="2146807"/>
                  <a:pt x="2771136" y="992162"/>
                  <a:pt x="2772041" y="3138969"/>
                </a:cubicBezTo>
                <a:lnTo>
                  <a:pt x="579722" y="3128747"/>
                </a:lnTo>
                <a:cubicBezTo>
                  <a:pt x="259550" y="3128747"/>
                  <a:pt x="0" y="2869197"/>
                  <a:pt x="0" y="2549025"/>
                </a:cubicBezTo>
                <a:lnTo>
                  <a:pt x="0" y="1656"/>
                </a:lnTo>
                <a:close/>
              </a:path>
            </a:pathLst>
          </a:custGeom>
          <a:noFill/>
        </p:spPr>
        <p:txBody>
          <a:bodyPr>
            <a:normAutofit/>
          </a:bodyPr>
          <a:lstStyle>
            <a:lvl1pPr marL="0" marR="0" indent="0" algn="l" defTabSz="914150" rtl="0" eaLnBrk="1" fontAlgn="auto" latinLnBrk="0" hangingPunct="1">
              <a:lnSpc>
                <a:spcPct val="100000"/>
              </a:lnSpc>
              <a:spcBef>
                <a:spcPct val="20000"/>
              </a:spcBef>
              <a:spcAft>
                <a:spcPts val="0"/>
              </a:spcAft>
              <a:buClr>
                <a:srgbClr val="4C4948"/>
              </a:buClr>
              <a:buSzTx/>
              <a:buFont typeface="Arial" panose="020B0604020202020204" pitchFamily="34" charset="0"/>
              <a:buNone/>
              <a:tabLst/>
              <a:defRPr sz="1400">
                <a:solidFill>
                  <a:schemeClr val="tx1"/>
                </a:solidFill>
              </a:defRPr>
            </a:lvl1pPr>
          </a:lstStyle>
          <a:p>
            <a:pPr marL="0" marR="0" lvl="0" indent="0" algn="l" defTabSz="914150" rtl="0" eaLnBrk="1" fontAlgn="auto" latinLnBrk="0" hangingPunct="1">
              <a:lnSpc>
                <a:spcPct val="100000"/>
              </a:lnSpc>
              <a:spcBef>
                <a:spcPct val="20000"/>
              </a:spcBef>
              <a:spcAft>
                <a:spcPts val="0"/>
              </a:spcAft>
              <a:buClr>
                <a:srgbClr val="4C4948"/>
              </a:buClr>
              <a:buSzTx/>
              <a:buFont typeface="Arial" panose="020B0604020202020204" pitchFamily="34" charset="0"/>
              <a:buNone/>
              <a:tabLst/>
              <a:defRPr/>
            </a:pPr>
            <a:r>
              <a:rPr lang="en-JP"/>
              <a:t>Insert Picture/Text Block</a:t>
            </a:r>
          </a:p>
          <a:p>
            <a:endParaRPr lang="en-JP"/>
          </a:p>
        </p:txBody>
      </p:sp>
      <p:sp>
        <p:nvSpPr>
          <p:cNvPr id="23" name="Picture Placeholder 9">
            <a:extLst>
              <a:ext uri="{FF2B5EF4-FFF2-40B4-BE49-F238E27FC236}">
                <a16:creationId xmlns:a16="http://schemas.microsoft.com/office/drawing/2014/main" id="{8D6B3691-FCAC-8A46-AA30-DEB2A719C7B2}"/>
              </a:ext>
            </a:extLst>
          </p:cNvPr>
          <p:cNvSpPr>
            <a:spLocks noGrp="1"/>
          </p:cNvSpPr>
          <p:nvPr>
            <p:ph type="pic" sz="quarter" idx="18" hasCustomPrompt="1"/>
          </p:nvPr>
        </p:nvSpPr>
        <p:spPr>
          <a:xfrm>
            <a:off x="311373" y="3076286"/>
            <a:ext cx="2772041" cy="3138969"/>
          </a:xfrm>
          <a:custGeom>
            <a:avLst/>
            <a:gdLst>
              <a:gd name="connsiteX0" fmla="*/ 0 w 10888662"/>
              <a:gd name="connsiteY0" fmla="*/ 579722 h 6442075"/>
              <a:gd name="connsiteX1" fmla="*/ 579722 w 10888662"/>
              <a:gd name="connsiteY1" fmla="*/ 0 h 6442075"/>
              <a:gd name="connsiteX2" fmla="*/ 10308940 w 10888662"/>
              <a:gd name="connsiteY2" fmla="*/ 0 h 6442075"/>
              <a:gd name="connsiteX3" fmla="*/ 10888662 w 10888662"/>
              <a:gd name="connsiteY3" fmla="*/ 579722 h 6442075"/>
              <a:gd name="connsiteX4" fmla="*/ 10888662 w 10888662"/>
              <a:gd name="connsiteY4" fmla="*/ 5862353 h 6442075"/>
              <a:gd name="connsiteX5" fmla="*/ 10308940 w 10888662"/>
              <a:gd name="connsiteY5" fmla="*/ 6442075 h 6442075"/>
              <a:gd name="connsiteX6" fmla="*/ 579722 w 10888662"/>
              <a:gd name="connsiteY6" fmla="*/ 6442075 h 6442075"/>
              <a:gd name="connsiteX7" fmla="*/ 0 w 10888662"/>
              <a:gd name="connsiteY7" fmla="*/ 5862353 h 6442075"/>
              <a:gd name="connsiteX8" fmla="*/ 0 w 10888662"/>
              <a:gd name="connsiteY8" fmla="*/ 579722 h 6442075"/>
              <a:gd name="connsiteX0" fmla="*/ 0 w 10888662"/>
              <a:gd name="connsiteY0" fmla="*/ 659657 h 6522010"/>
              <a:gd name="connsiteX1" fmla="*/ 10308940 w 10888662"/>
              <a:gd name="connsiteY1" fmla="*/ 79935 h 6522010"/>
              <a:gd name="connsiteX2" fmla="*/ 10888662 w 10888662"/>
              <a:gd name="connsiteY2" fmla="*/ 659657 h 6522010"/>
              <a:gd name="connsiteX3" fmla="*/ 10888662 w 10888662"/>
              <a:gd name="connsiteY3" fmla="*/ 5942288 h 6522010"/>
              <a:gd name="connsiteX4" fmla="*/ 10308940 w 10888662"/>
              <a:gd name="connsiteY4" fmla="*/ 6522010 h 6522010"/>
              <a:gd name="connsiteX5" fmla="*/ 579722 w 10888662"/>
              <a:gd name="connsiteY5" fmla="*/ 6522010 h 6522010"/>
              <a:gd name="connsiteX6" fmla="*/ 0 w 10888662"/>
              <a:gd name="connsiteY6" fmla="*/ 5942288 h 6522010"/>
              <a:gd name="connsiteX7" fmla="*/ 0 w 10888662"/>
              <a:gd name="connsiteY7" fmla="*/ 659657 h 6522010"/>
              <a:gd name="connsiteX0" fmla="*/ 0 w 10888662"/>
              <a:gd name="connsiteY0" fmla="*/ 579722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579722 h 6442075"/>
              <a:gd name="connsiteX0" fmla="*/ 0 w 10888662"/>
              <a:gd name="connsiteY0" fmla="*/ 129257 h 6569679"/>
              <a:gd name="connsiteX1" fmla="*/ 10308940 w 10888662"/>
              <a:gd name="connsiteY1" fmla="*/ 127604 h 6569679"/>
              <a:gd name="connsiteX2" fmla="*/ 10888662 w 10888662"/>
              <a:gd name="connsiteY2" fmla="*/ 707326 h 6569679"/>
              <a:gd name="connsiteX3" fmla="*/ 10888662 w 10888662"/>
              <a:gd name="connsiteY3" fmla="*/ 5989957 h 6569679"/>
              <a:gd name="connsiteX4" fmla="*/ 10308940 w 10888662"/>
              <a:gd name="connsiteY4" fmla="*/ 6569679 h 6569679"/>
              <a:gd name="connsiteX5" fmla="*/ 579722 w 10888662"/>
              <a:gd name="connsiteY5" fmla="*/ 6569679 h 6569679"/>
              <a:gd name="connsiteX6" fmla="*/ 0 w 10888662"/>
              <a:gd name="connsiteY6" fmla="*/ 5989957 h 6569679"/>
              <a:gd name="connsiteX7" fmla="*/ 0 w 10888662"/>
              <a:gd name="connsiteY7" fmla="*/ 129257 h 6569679"/>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9657299 w 10888662"/>
              <a:gd name="connsiteY4" fmla="*/ 55276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522010"/>
              <a:gd name="connsiteX1" fmla="*/ 10308940 w 10888662"/>
              <a:gd name="connsiteY1" fmla="*/ 0 h 6522010"/>
              <a:gd name="connsiteX2" fmla="*/ 10888662 w 10888662"/>
              <a:gd name="connsiteY2" fmla="*/ 579722 h 6522010"/>
              <a:gd name="connsiteX3" fmla="*/ 10888662 w 10888662"/>
              <a:gd name="connsiteY3" fmla="*/ 5862353 h 6522010"/>
              <a:gd name="connsiteX4" fmla="*/ 579722 w 10888662"/>
              <a:gd name="connsiteY4" fmla="*/ 6442075 h 6522010"/>
              <a:gd name="connsiteX5" fmla="*/ 0 w 10888662"/>
              <a:gd name="connsiteY5" fmla="*/ 5862353 h 6522010"/>
              <a:gd name="connsiteX6" fmla="*/ 0 w 10888662"/>
              <a:gd name="connsiteY6" fmla="*/ 1653 h 6522010"/>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579722 w 10888662"/>
              <a:gd name="connsiteY4" fmla="*/ 6442075 h 6442075"/>
              <a:gd name="connsiteX5" fmla="*/ 0 w 10888662"/>
              <a:gd name="connsiteY5" fmla="*/ 5862353 h 6442075"/>
              <a:gd name="connsiteX6" fmla="*/ 0 w 10888662"/>
              <a:gd name="connsiteY6" fmla="*/ 1653 h 6442075"/>
              <a:gd name="connsiteX0" fmla="*/ 0 w 10888662"/>
              <a:gd name="connsiteY0" fmla="*/ 1653 h 6585432"/>
              <a:gd name="connsiteX1" fmla="*/ 10308940 w 10888662"/>
              <a:gd name="connsiteY1" fmla="*/ 0 h 6585432"/>
              <a:gd name="connsiteX2" fmla="*/ 10888662 w 10888662"/>
              <a:gd name="connsiteY2" fmla="*/ 579722 h 6585432"/>
              <a:gd name="connsiteX3" fmla="*/ 10878151 w 10888662"/>
              <a:gd name="connsiteY3" fmla="*/ 6461442 h 6585432"/>
              <a:gd name="connsiteX4" fmla="*/ 579722 w 10888662"/>
              <a:gd name="connsiteY4" fmla="*/ 6442075 h 6585432"/>
              <a:gd name="connsiteX5" fmla="*/ 0 w 10888662"/>
              <a:gd name="connsiteY5" fmla="*/ 5862353 h 6585432"/>
              <a:gd name="connsiteX6" fmla="*/ 0 w 10888662"/>
              <a:gd name="connsiteY6" fmla="*/ 1653 h 6585432"/>
              <a:gd name="connsiteX0" fmla="*/ 0 w 10888662"/>
              <a:gd name="connsiteY0" fmla="*/ 1653 h 6577502"/>
              <a:gd name="connsiteX1" fmla="*/ 10308940 w 10888662"/>
              <a:gd name="connsiteY1" fmla="*/ 0 h 6577502"/>
              <a:gd name="connsiteX2" fmla="*/ 10888662 w 10888662"/>
              <a:gd name="connsiteY2" fmla="*/ 579722 h 6577502"/>
              <a:gd name="connsiteX3" fmla="*/ 10878151 w 10888662"/>
              <a:gd name="connsiteY3" fmla="*/ 6450932 h 6577502"/>
              <a:gd name="connsiteX4" fmla="*/ 579722 w 10888662"/>
              <a:gd name="connsiteY4" fmla="*/ 6442075 h 6577502"/>
              <a:gd name="connsiteX5" fmla="*/ 0 w 10888662"/>
              <a:gd name="connsiteY5" fmla="*/ 5862353 h 6577502"/>
              <a:gd name="connsiteX6" fmla="*/ 0 w 10888662"/>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0888662"/>
              <a:gd name="connsiteY0" fmla="*/ 1653 h 6450932"/>
              <a:gd name="connsiteX1" fmla="*/ 10308940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0999550"/>
              <a:gd name="connsiteY0" fmla="*/ 1653 h 6450932"/>
              <a:gd name="connsiteX1" fmla="*/ 10844968 w 10999550"/>
              <a:gd name="connsiteY1" fmla="*/ 0 h 6450932"/>
              <a:gd name="connsiteX2" fmla="*/ 10888662 w 10999550"/>
              <a:gd name="connsiteY2" fmla="*/ 579722 h 6450932"/>
              <a:gd name="connsiteX3" fmla="*/ 10878151 w 10999550"/>
              <a:gd name="connsiteY3" fmla="*/ 6450932 h 6450932"/>
              <a:gd name="connsiteX4" fmla="*/ 579722 w 10999550"/>
              <a:gd name="connsiteY4" fmla="*/ 6442075 h 6450932"/>
              <a:gd name="connsiteX5" fmla="*/ 0 w 10999550"/>
              <a:gd name="connsiteY5" fmla="*/ 5862353 h 6450932"/>
              <a:gd name="connsiteX6" fmla="*/ 0 w 10999550"/>
              <a:gd name="connsiteY6" fmla="*/ 1653 h 6450932"/>
              <a:gd name="connsiteX0" fmla="*/ 0 w 11022020"/>
              <a:gd name="connsiteY0" fmla="*/ 1653 h 6450932"/>
              <a:gd name="connsiteX1" fmla="*/ 10876499 w 11022020"/>
              <a:gd name="connsiteY1" fmla="*/ 0 h 6450932"/>
              <a:gd name="connsiteX2" fmla="*/ 10888662 w 11022020"/>
              <a:gd name="connsiteY2" fmla="*/ 579722 h 6450932"/>
              <a:gd name="connsiteX3" fmla="*/ 10878151 w 11022020"/>
              <a:gd name="connsiteY3" fmla="*/ 6450932 h 6450932"/>
              <a:gd name="connsiteX4" fmla="*/ 579722 w 11022020"/>
              <a:gd name="connsiteY4" fmla="*/ 6442075 h 6450932"/>
              <a:gd name="connsiteX5" fmla="*/ 0 w 11022020"/>
              <a:gd name="connsiteY5" fmla="*/ 5862353 h 6450932"/>
              <a:gd name="connsiteX6" fmla="*/ 0 w 11022020"/>
              <a:gd name="connsiteY6" fmla="*/ 1653 h 6450932"/>
              <a:gd name="connsiteX0" fmla="*/ 0 w 10888662"/>
              <a:gd name="connsiteY0" fmla="*/ 1653 h 6450932"/>
              <a:gd name="connsiteX1" fmla="*/ 10876499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2200990"/>
              <a:gd name="connsiteY0" fmla="*/ 1653 h 6450932"/>
              <a:gd name="connsiteX1" fmla="*/ 10876499 w 12200990"/>
              <a:gd name="connsiteY1" fmla="*/ 0 h 6450932"/>
              <a:gd name="connsiteX2" fmla="*/ 10878151 w 12200990"/>
              <a:gd name="connsiteY2" fmla="*/ 6450932 h 6450932"/>
              <a:gd name="connsiteX3" fmla="*/ 579722 w 12200990"/>
              <a:gd name="connsiteY3" fmla="*/ 6442075 h 6450932"/>
              <a:gd name="connsiteX4" fmla="*/ 0 w 12200990"/>
              <a:gd name="connsiteY4" fmla="*/ 5862353 h 6450932"/>
              <a:gd name="connsiteX5" fmla="*/ 0 w 12200990"/>
              <a:gd name="connsiteY5" fmla="*/ 1653 h 6450932"/>
              <a:gd name="connsiteX0" fmla="*/ 0 w 11640630"/>
              <a:gd name="connsiteY0" fmla="*/ 1653 h 6450932"/>
              <a:gd name="connsiteX1" fmla="*/ 10876499 w 11640630"/>
              <a:gd name="connsiteY1" fmla="*/ 0 h 6450932"/>
              <a:gd name="connsiteX2" fmla="*/ 10878151 w 11640630"/>
              <a:gd name="connsiteY2" fmla="*/ 6450932 h 6450932"/>
              <a:gd name="connsiteX3" fmla="*/ 579722 w 11640630"/>
              <a:gd name="connsiteY3" fmla="*/ 6442075 h 6450932"/>
              <a:gd name="connsiteX4" fmla="*/ 0 w 11640630"/>
              <a:gd name="connsiteY4" fmla="*/ 5862353 h 6450932"/>
              <a:gd name="connsiteX5" fmla="*/ 0 w 11640630"/>
              <a:gd name="connsiteY5" fmla="*/ 1653 h 6450932"/>
              <a:gd name="connsiteX0" fmla="*/ 0 w 10878151"/>
              <a:gd name="connsiteY0" fmla="*/ 1653 h 6450932"/>
              <a:gd name="connsiteX1" fmla="*/ 10876499 w 10878151"/>
              <a:gd name="connsiteY1" fmla="*/ 0 h 6450932"/>
              <a:gd name="connsiteX2" fmla="*/ 10878151 w 10878151"/>
              <a:gd name="connsiteY2" fmla="*/ 6450932 h 6450932"/>
              <a:gd name="connsiteX3" fmla="*/ 579722 w 10878151"/>
              <a:gd name="connsiteY3" fmla="*/ 6442075 h 6450932"/>
              <a:gd name="connsiteX4" fmla="*/ 0 w 10878151"/>
              <a:gd name="connsiteY4" fmla="*/ 5862353 h 6450932"/>
              <a:gd name="connsiteX5" fmla="*/ 0 w 10878151"/>
              <a:gd name="connsiteY5" fmla="*/ 1653 h 6450932"/>
              <a:gd name="connsiteX0" fmla="*/ 0 w 11843451"/>
              <a:gd name="connsiteY0" fmla="*/ 1653 h 6450932"/>
              <a:gd name="connsiteX1" fmla="*/ 11843451 w 11843451"/>
              <a:gd name="connsiteY1" fmla="*/ 0 h 6450932"/>
              <a:gd name="connsiteX2" fmla="*/ 10878151 w 11843451"/>
              <a:gd name="connsiteY2" fmla="*/ 6450932 h 6450932"/>
              <a:gd name="connsiteX3" fmla="*/ 579722 w 11843451"/>
              <a:gd name="connsiteY3" fmla="*/ 6442075 h 6450932"/>
              <a:gd name="connsiteX4" fmla="*/ 0 w 11843451"/>
              <a:gd name="connsiteY4" fmla="*/ 5862353 h 6450932"/>
              <a:gd name="connsiteX5" fmla="*/ 0 w 11843451"/>
              <a:gd name="connsiteY5" fmla="*/ 1653 h 6450932"/>
              <a:gd name="connsiteX0" fmla="*/ 0 w 11855613"/>
              <a:gd name="connsiteY0" fmla="*/ 1653 h 6450932"/>
              <a:gd name="connsiteX1" fmla="*/ 11843451 w 11855613"/>
              <a:gd name="connsiteY1" fmla="*/ 0 h 6450932"/>
              <a:gd name="connsiteX2" fmla="*/ 11855613 w 11855613"/>
              <a:gd name="connsiteY2" fmla="*/ 6450932 h 6450932"/>
              <a:gd name="connsiteX3" fmla="*/ 579722 w 11855613"/>
              <a:gd name="connsiteY3" fmla="*/ 6442075 h 6450932"/>
              <a:gd name="connsiteX4" fmla="*/ 0 w 11855613"/>
              <a:gd name="connsiteY4" fmla="*/ 5862353 h 6450932"/>
              <a:gd name="connsiteX5" fmla="*/ 0 w 11855613"/>
              <a:gd name="connsiteY5" fmla="*/ 1653 h 6450932"/>
              <a:gd name="connsiteX0" fmla="*/ 0 w 11864472"/>
              <a:gd name="connsiteY0" fmla="*/ 1653 h 6450932"/>
              <a:gd name="connsiteX1" fmla="*/ 11864472 w 11864472"/>
              <a:gd name="connsiteY1" fmla="*/ 0 h 6450932"/>
              <a:gd name="connsiteX2" fmla="*/ 11855613 w 11864472"/>
              <a:gd name="connsiteY2" fmla="*/ 6450932 h 6450932"/>
              <a:gd name="connsiteX3" fmla="*/ 579722 w 11864472"/>
              <a:gd name="connsiteY3" fmla="*/ 6442075 h 6450932"/>
              <a:gd name="connsiteX4" fmla="*/ 0 w 11864472"/>
              <a:gd name="connsiteY4" fmla="*/ 5862353 h 6450932"/>
              <a:gd name="connsiteX5" fmla="*/ 0 w 11864472"/>
              <a:gd name="connsiteY5" fmla="*/ 1653 h 6450932"/>
              <a:gd name="connsiteX0" fmla="*/ 0 w 11864472"/>
              <a:gd name="connsiteY0" fmla="*/ 1653 h 6442075"/>
              <a:gd name="connsiteX1" fmla="*/ 11864472 w 11864472"/>
              <a:gd name="connsiteY1" fmla="*/ 0 h 6442075"/>
              <a:gd name="connsiteX2" fmla="*/ 11855613 w 11864472"/>
              <a:gd name="connsiteY2" fmla="*/ 6440421 h 6442075"/>
              <a:gd name="connsiteX3" fmla="*/ 579722 w 11864472"/>
              <a:gd name="connsiteY3" fmla="*/ 6442075 h 6442075"/>
              <a:gd name="connsiteX4" fmla="*/ 0 w 11864472"/>
              <a:gd name="connsiteY4" fmla="*/ 5862353 h 6442075"/>
              <a:gd name="connsiteX5" fmla="*/ 0 w 11864472"/>
              <a:gd name="connsiteY5" fmla="*/ 1653 h 6442075"/>
              <a:gd name="connsiteX0" fmla="*/ 0 w 11855613"/>
              <a:gd name="connsiteY0" fmla="*/ 1653 h 6442075"/>
              <a:gd name="connsiteX1" fmla="*/ 8912928 w 11855613"/>
              <a:gd name="connsiteY1" fmla="*/ 0 h 6442075"/>
              <a:gd name="connsiteX2" fmla="*/ 11855613 w 11855613"/>
              <a:gd name="connsiteY2" fmla="*/ 6440421 h 6442075"/>
              <a:gd name="connsiteX3" fmla="*/ 579722 w 11855613"/>
              <a:gd name="connsiteY3" fmla="*/ 6442075 h 6442075"/>
              <a:gd name="connsiteX4" fmla="*/ 0 w 11855613"/>
              <a:gd name="connsiteY4" fmla="*/ 5862353 h 6442075"/>
              <a:gd name="connsiteX5" fmla="*/ 0 w 11855613"/>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74032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36077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1615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15642"/>
              <a:gd name="connsiteY0" fmla="*/ 1653 h 6442075"/>
              <a:gd name="connsiteX1" fmla="*/ 8912928 w 8915642"/>
              <a:gd name="connsiteY1" fmla="*/ 0 h 6442075"/>
              <a:gd name="connsiteX2" fmla="*/ 8915642 w 8915642"/>
              <a:gd name="connsiteY2" fmla="*/ 6440421 h 6442075"/>
              <a:gd name="connsiteX3" fmla="*/ 579722 w 8915642"/>
              <a:gd name="connsiteY3" fmla="*/ 6442075 h 6442075"/>
              <a:gd name="connsiteX4" fmla="*/ 0 w 8915642"/>
              <a:gd name="connsiteY4" fmla="*/ 5862353 h 6442075"/>
              <a:gd name="connsiteX5" fmla="*/ 0 w 8915642"/>
              <a:gd name="connsiteY5" fmla="*/ 1653 h 6442075"/>
              <a:gd name="connsiteX0" fmla="*/ 0 w 8915642"/>
              <a:gd name="connsiteY0" fmla="*/ 1 h 6618553"/>
              <a:gd name="connsiteX1" fmla="*/ 8912928 w 8915642"/>
              <a:gd name="connsiteY1" fmla="*/ 176478 h 6618553"/>
              <a:gd name="connsiteX2" fmla="*/ 8915642 w 8915642"/>
              <a:gd name="connsiteY2" fmla="*/ 6616899 h 6618553"/>
              <a:gd name="connsiteX3" fmla="*/ 579722 w 8915642"/>
              <a:gd name="connsiteY3" fmla="*/ 6618553 h 6618553"/>
              <a:gd name="connsiteX4" fmla="*/ 0 w 8915642"/>
              <a:gd name="connsiteY4" fmla="*/ 6038831 h 6618553"/>
              <a:gd name="connsiteX5" fmla="*/ 0 w 8915642"/>
              <a:gd name="connsiteY5" fmla="*/ 1 h 6618553"/>
              <a:gd name="connsiteX0" fmla="*/ 0 w 8915642"/>
              <a:gd name="connsiteY0" fmla="*/ 25404 h 6643956"/>
              <a:gd name="connsiteX1" fmla="*/ 6015348 w 8915642"/>
              <a:gd name="connsiteY1" fmla="*/ 0 h 6643956"/>
              <a:gd name="connsiteX2" fmla="*/ 8915642 w 8915642"/>
              <a:gd name="connsiteY2" fmla="*/ 6642302 h 6643956"/>
              <a:gd name="connsiteX3" fmla="*/ 579722 w 8915642"/>
              <a:gd name="connsiteY3" fmla="*/ 6643956 h 6643956"/>
              <a:gd name="connsiteX4" fmla="*/ 0 w 8915642"/>
              <a:gd name="connsiteY4" fmla="*/ 6064234 h 6643956"/>
              <a:gd name="connsiteX5" fmla="*/ 0 w 8915642"/>
              <a:gd name="connsiteY5" fmla="*/ 25404 h 6643956"/>
              <a:gd name="connsiteX0" fmla="*/ 0 w 8915642"/>
              <a:gd name="connsiteY0" fmla="*/ 1653 h 6620205"/>
              <a:gd name="connsiteX1" fmla="*/ 6003473 w 8915642"/>
              <a:gd name="connsiteY1" fmla="*/ 0 h 6620205"/>
              <a:gd name="connsiteX2" fmla="*/ 8915642 w 8915642"/>
              <a:gd name="connsiteY2" fmla="*/ 6618551 h 6620205"/>
              <a:gd name="connsiteX3" fmla="*/ 579722 w 8915642"/>
              <a:gd name="connsiteY3" fmla="*/ 6620205 h 6620205"/>
              <a:gd name="connsiteX4" fmla="*/ 0 w 8915642"/>
              <a:gd name="connsiteY4" fmla="*/ 6040483 h 6620205"/>
              <a:gd name="connsiteX5" fmla="*/ 0 w 8915642"/>
              <a:gd name="connsiteY5" fmla="*/ 1653 h 6620205"/>
              <a:gd name="connsiteX0" fmla="*/ 0 w 8915642"/>
              <a:gd name="connsiteY0" fmla="*/ 96656 h 6620205"/>
              <a:gd name="connsiteX1" fmla="*/ 6003473 w 8915642"/>
              <a:gd name="connsiteY1" fmla="*/ 0 h 6620205"/>
              <a:gd name="connsiteX2" fmla="*/ 8915642 w 8915642"/>
              <a:gd name="connsiteY2" fmla="*/ 6618551 h 6620205"/>
              <a:gd name="connsiteX3" fmla="*/ 579722 w 8915642"/>
              <a:gd name="connsiteY3" fmla="*/ 6620205 h 6620205"/>
              <a:gd name="connsiteX4" fmla="*/ 0 w 8915642"/>
              <a:gd name="connsiteY4" fmla="*/ 6040483 h 6620205"/>
              <a:gd name="connsiteX5" fmla="*/ 0 w 8915642"/>
              <a:gd name="connsiteY5" fmla="*/ 96656 h 6620205"/>
              <a:gd name="connsiteX0" fmla="*/ 0 w 8915642"/>
              <a:gd name="connsiteY0" fmla="*/ 0 h 6642302"/>
              <a:gd name="connsiteX1" fmla="*/ 6003473 w 8915642"/>
              <a:gd name="connsiteY1" fmla="*/ 22097 h 6642302"/>
              <a:gd name="connsiteX2" fmla="*/ 8915642 w 8915642"/>
              <a:gd name="connsiteY2" fmla="*/ 6640648 h 6642302"/>
              <a:gd name="connsiteX3" fmla="*/ 579722 w 8915642"/>
              <a:gd name="connsiteY3" fmla="*/ 6642302 h 6642302"/>
              <a:gd name="connsiteX4" fmla="*/ 0 w 8915642"/>
              <a:gd name="connsiteY4" fmla="*/ 6062580 h 6642302"/>
              <a:gd name="connsiteX5" fmla="*/ 0 w 8915642"/>
              <a:gd name="connsiteY5" fmla="*/ 0 h 6642302"/>
              <a:gd name="connsiteX0" fmla="*/ 0 w 8915642"/>
              <a:gd name="connsiteY0" fmla="*/ 0 h 6642302"/>
              <a:gd name="connsiteX1" fmla="*/ 5932221 w 8915642"/>
              <a:gd name="connsiteY1" fmla="*/ 152725 h 6642302"/>
              <a:gd name="connsiteX2" fmla="*/ 8915642 w 8915642"/>
              <a:gd name="connsiteY2" fmla="*/ 6640648 h 6642302"/>
              <a:gd name="connsiteX3" fmla="*/ 579722 w 8915642"/>
              <a:gd name="connsiteY3" fmla="*/ 6642302 h 6642302"/>
              <a:gd name="connsiteX4" fmla="*/ 0 w 8915642"/>
              <a:gd name="connsiteY4" fmla="*/ 6062580 h 6642302"/>
              <a:gd name="connsiteX5" fmla="*/ 0 w 8915642"/>
              <a:gd name="connsiteY5" fmla="*/ 0 h 6642302"/>
              <a:gd name="connsiteX0" fmla="*/ 0 w 8915642"/>
              <a:gd name="connsiteY0" fmla="*/ 1654 h 6643956"/>
              <a:gd name="connsiteX1" fmla="*/ 6003473 w 8915642"/>
              <a:gd name="connsiteY1" fmla="*/ 0 h 6643956"/>
              <a:gd name="connsiteX2" fmla="*/ 8915642 w 8915642"/>
              <a:gd name="connsiteY2" fmla="*/ 6642302 h 6643956"/>
              <a:gd name="connsiteX3" fmla="*/ 579722 w 8915642"/>
              <a:gd name="connsiteY3" fmla="*/ 6643956 h 6643956"/>
              <a:gd name="connsiteX4" fmla="*/ 0 w 8915642"/>
              <a:gd name="connsiteY4" fmla="*/ 6064234 h 6643956"/>
              <a:gd name="connsiteX5" fmla="*/ 0 w 8915642"/>
              <a:gd name="connsiteY5" fmla="*/ 1654 h 6643956"/>
              <a:gd name="connsiteX0" fmla="*/ 0 w 6018062"/>
              <a:gd name="connsiteY0" fmla="*/ 1654 h 6654178"/>
              <a:gd name="connsiteX1" fmla="*/ 6003473 w 6018062"/>
              <a:gd name="connsiteY1" fmla="*/ 0 h 6654178"/>
              <a:gd name="connsiteX2" fmla="*/ 6018062 w 6018062"/>
              <a:gd name="connsiteY2" fmla="*/ 6654178 h 6654178"/>
              <a:gd name="connsiteX3" fmla="*/ 579722 w 6018062"/>
              <a:gd name="connsiteY3" fmla="*/ 6643956 h 6654178"/>
              <a:gd name="connsiteX4" fmla="*/ 0 w 6018062"/>
              <a:gd name="connsiteY4" fmla="*/ 6064234 h 6654178"/>
              <a:gd name="connsiteX5" fmla="*/ 0 w 6018062"/>
              <a:gd name="connsiteY5" fmla="*/ 1654 h 6654178"/>
              <a:gd name="connsiteX0" fmla="*/ 0 w 6018062"/>
              <a:gd name="connsiteY0" fmla="*/ 203535 h 6654178"/>
              <a:gd name="connsiteX1" fmla="*/ 6003473 w 6018062"/>
              <a:gd name="connsiteY1" fmla="*/ 0 h 6654178"/>
              <a:gd name="connsiteX2" fmla="*/ 6018062 w 6018062"/>
              <a:gd name="connsiteY2" fmla="*/ 6654178 h 6654178"/>
              <a:gd name="connsiteX3" fmla="*/ 579722 w 6018062"/>
              <a:gd name="connsiteY3" fmla="*/ 6643956 h 6654178"/>
              <a:gd name="connsiteX4" fmla="*/ 0 w 6018062"/>
              <a:gd name="connsiteY4" fmla="*/ 6064234 h 6654178"/>
              <a:gd name="connsiteX5" fmla="*/ 0 w 6018062"/>
              <a:gd name="connsiteY5" fmla="*/ 203535 h 6654178"/>
              <a:gd name="connsiteX0" fmla="*/ 0 w 6018062"/>
              <a:gd name="connsiteY0" fmla="*/ 1655 h 6452298"/>
              <a:gd name="connsiteX1" fmla="*/ 4055920 w 6018062"/>
              <a:gd name="connsiteY1" fmla="*/ 0 h 6452298"/>
              <a:gd name="connsiteX2" fmla="*/ 6018062 w 6018062"/>
              <a:gd name="connsiteY2" fmla="*/ 6452298 h 6452298"/>
              <a:gd name="connsiteX3" fmla="*/ 579722 w 6018062"/>
              <a:gd name="connsiteY3" fmla="*/ 6442076 h 6452298"/>
              <a:gd name="connsiteX4" fmla="*/ 0 w 6018062"/>
              <a:gd name="connsiteY4" fmla="*/ 5862354 h 6452298"/>
              <a:gd name="connsiteX5" fmla="*/ 0 w 6018062"/>
              <a:gd name="connsiteY5" fmla="*/ 1655 h 6452298"/>
              <a:gd name="connsiteX0" fmla="*/ 0 w 4055973"/>
              <a:gd name="connsiteY0" fmla="*/ 1655 h 6452298"/>
              <a:gd name="connsiteX1" fmla="*/ 4055920 w 4055973"/>
              <a:gd name="connsiteY1" fmla="*/ 0 h 6452298"/>
              <a:gd name="connsiteX2" fmla="*/ 4046758 w 4055973"/>
              <a:gd name="connsiteY2" fmla="*/ 6452298 h 6452298"/>
              <a:gd name="connsiteX3" fmla="*/ 579722 w 4055973"/>
              <a:gd name="connsiteY3" fmla="*/ 6442076 h 6452298"/>
              <a:gd name="connsiteX4" fmla="*/ 0 w 4055973"/>
              <a:gd name="connsiteY4" fmla="*/ 5862354 h 6452298"/>
              <a:gd name="connsiteX5" fmla="*/ 0 w 4055973"/>
              <a:gd name="connsiteY5" fmla="*/ 1655 h 6452298"/>
              <a:gd name="connsiteX0" fmla="*/ 0 w 4055973"/>
              <a:gd name="connsiteY0" fmla="*/ 0 h 6652523"/>
              <a:gd name="connsiteX1" fmla="*/ 4055920 w 4055973"/>
              <a:gd name="connsiteY1" fmla="*/ 200225 h 6652523"/>
              <a:gd name="connsiteX2" fmla="*/ 4046758 w 4055973"/>
              <a:gd name="connsiteY2" fmla="*/ 6652523 h 6652523"/>
              <a:gd name="connsiteX3" fmla="*/ 579722 w 4055973"/>
              <a:gd name="connsiteY3" fmla="*/ 6642301 h 6652523"/>
              <a:gd name="connsiteX4" fmla="*/ 0 w 4055973"/>
              <a:gd name="connsiteY4" fmla="*/ 6062579 h 6652523"/>
              <a:gd name="connsiteX5" fmla="*/ 0 w 4055973"/>
              <a:gd name="connsiteY5" fmla="*/ 0 h 6652523"/>
              <a:gd name="connsiteX0" fmla="*/ 0 w 4046758"/>
              <a:gd name="connsiteY0" fmla="*/ 0 h 6652523"/>
              <a:gd name="connsiteX1" fmla="*/ 4044045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1655 h 6654178"/>
              <a:gd name="connsiteX1" fmla="*/ 3082144 w 4046758"/>
              <a:gd name="connsiteY1" fmla="*/ 0 h 6654178"/>
              <a:gd name="connsiteX2" fmla="*/ 4046758 w 4046758"/>
              <a:gd name="connsiteY2" fmla="*/ 6654178 h 6654178"/>
              <a:gd name="connsiteX3" fmla="*/ 579722 w 4046758"/>
              <a:gd name="connsiteY3" fmla="*/ 6643956 h 6654178"/>
              <a:gd name="connsiteX4" fmla="*/ 0 w 4046758"/>
              <a:gd name="connsiteY4" fmla="*/ 6064234 h 6654178"/>
              <a:gd name="connsiteX5" fmla="*/ 0 w 4046758"/>
              <a:gd name="connsiteY5" fmla="*/ 1655 h 6654178"/>
              <a:gd name="connsiteX0" fmla="*/ 0 w 4046758"/>
              <a:gd name="connsiteY0" fmla="*/ 0 h 6652523"/>
              <a:gd name="connsiteX1" fmla="*/ 2975266 w 4046758"/>
              <a:gd name="connsiteY1" fmla="*/ 93348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0 h 6652523"/>
              <a:gd name="connsiteX1" fmla="*/ 3070268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0 h 6652523"/>
              <a:gd name="connsiteX1" fmla="*/ 3082144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3082197"/>
              <a:gd name="connsiteY0" fmla="*/ 0 h 6652523"/>
              <a:gd name="connsiteX1" fmla="*/ 3082144 w 3082197"/>
              <a:gd name="connsiteY1" fmla="*/ 10220 h 6652523"/>
              <a:gd name="connsiteX2" fmla="*/ 3072982 w 3082197"/>
              <a:gd name="connsiteY2" fmla="*/ 6652523 h 6652523"/>
              <a:gd name="connsiteX3" fmla="*/ 579722 w 3082197"/>
              <a:gd name="connsiteY3" fmla="*/ 6642301 h 6652523"/>
              <a:gd name="connsiteX4" fmla="*/ 0 w 3082197"/>
              <a:gd name="connsiteY4" fmla="*/ 6062579 h 6652523"/>
              <a:gd name="connsiteX5" fmla="*/ 0 w 3082197"/>
              <a:gd name="connsiteY5" fmla="*/ 0 h 6652523"/>
              <a:gd name="connsiteX0" fmla="*/ 0 w 3072982"/>
              <a:gd name="connsiteY0" fmla="*/ 0 h 6652523"/>
              <a:gd name="connsiteX1" fmla="*/ 3010892 w 3072982"/>
              <a:gd name="connsiteY1" fmla="*/ 164599 h 6652523"/>
              <a:gd name="connsiteX2" fmla="*/ 3072982 w 3072982"/>
              <a:gd name="connsiteY2" fmla="*/ 6652523 h 6652523"/>
              <a:gd name="connsiteX3" fmla="*/ 579722 w 3072982"/>
              <a:gd name="connsiteY3" fmla="*/ 6642301 h 6652523"/>
              <a:gd name="connsiteX4" fmla="*/ 0 w 3072982"/>
              <a:gd name="connsiteY4" fmla="*/ 6062579 h 6652523"/>
              <a:gd name="connsiteX5" fmla="*/ 0 w 3072982"/>
              <a:gd name="connsiteY5" fmla="*/ 0 h 6652523"/>
              <a:gd name="connsiteX0" fmla="*/ 0 w 3082197"/>
              <a:gd name="connsiteY0" fmla="*/ 1656 h 6654179"/>
              <a:gd name="connsiteX1" fmla="*/ 3082144 w 3082197"/>
              <a:gd name="connsiteY1" fmla="*/ 0 h 6654179"/>
              <a:gd name="connsiteX2" fmla="*/ 3072982 w 3082197"/>
              <a:gd name="connsiteY2" fmla="*/ 6654179 h 6654179"/>
              <a:gd name="connsiteX3" fmla="*/ 579722 w 3082197"/>
              <a:gd name="connsiteY3" fmla="*/ 6643957 h 6654179"/>
              <a:gd name="connsiteX4" fmla="*/ 0 w 3082197"/>
              <a:gd name="connsiteY4" fmla="*/ 6064235 h 6654179"/>
              <a:gd name="connsiteX5" fmla="*/ 0 w 3082197"/>
              <a:gd name="connsiteY5" fmla="*/ 1656 h 6654179"/>
              <a:gd name="connsiteX0" fmla="*/ 0 w 3082197"/>
              <a:gd name="connsiteY0" fmla="*/ 1316107 h 6654179"/>
              <a:gd name="connsiteX1" fmla="*/ 3082144 w 3082197"/>
              <a:gd name="connsiteY1" fmla="*/ 0 h 6654179"/>
              <a:gd name="connsiteX2" fmla="*/ 3072982 w 3082197"/>
              <a:gd name="connsiteY2" fmla="*/ 6654179 h 6654179"/>
              <a:gd name="connsiteX3" fmla="*/ 579722 w 3082197"/>
              <a:gd name="connsiteY3" fmla="*/ 6643957 h 6654179"/>
              <a:gd name="connsiteX4" fmla="*/ 0 w 3082197"/>
              <a:gd name="connsiteY4" fmla="*/ 6064235 h 6654179"/>
              <a:gd name="connsiteX5" fmla="*/ 0 w 3082197"/>
              <a:gd name="connsiteY5" fmla="*/ 1316107 h 6654179"/>
              <a:gd name="connsiteX0" fmla="*/ 0 w 3082197"/>
              <a:gd name="connsiteY0" fmla="*/ 1657 h 5339729"/>
              <a:gd name="connsiteX1" fmla="*/ 3082144 w 3082197"/>
              <a:gd name="connsiteY1" fmla="*/ 0 h 5339729"/>
              <a:gd name="connsiteX2" fmla="*/ 3072982 w 3082197"/>
              <a:gd name="connsiteY2" fmla="*/ 5339729 h 5339729"/>
              <a:gd name="connsiteX3" fmla="*/ 579722 w 3082197"/>
              <a:gd name="connsiteY3" fmla="*/ 5329507 h 5339729"/>
              <a:gd name="connsiteX4" fmla="*/ 0 w 3082197"/>
              <a:gd name="connsiteY4" fmla="*/ 4749785 h 5339729"/>
              <a:gd name="connsiteX5" fmla="*/ 0 w 3082197"/>
              <a:gd name="connsiteY5" fmla="*/ 1657 h 5339729"/>
              <a:gd name="connsiteX0" fmla="*/ 0 w 3082197"/>
              <a:gd name="connsiteY0" fmla="*/ 2202416 h 5339729"/>
              <a:gd name="connsiteX1" fmla="*/ 3082144 w 3082197"/>
              <a:gd name="connsiteY1" fmla="*/ 0 h 5339729"/>
              <a:gd name="connsiteX2" fmla="*/ 3072982 w 3082197"/>
              <a:gd name="connsiteY2" fmla="*/ 5339729 h 5339729"/>
              <a:gd name="connsiteX3" fmla="*/ 579722 w 3082197"/>
              <a:gd name="connsiteY3" fmla="*/ 5329507 h 5339729"/>
              <a:gd name="connsiteX4" fmla="*/ 0 w 3082197"/>
              <a:gd name="connsiteY4" fmla="*/ 4749785 h 5339729"/>
              <a:gd name="connsiteX5" fmla="*/ 0 w 3082197"/>
              <a:gd name="connsiteY5" fmla="*/ 2202416 h 5339729"/>
              <a:gd name="connsiteX0" fmla="*/ 0 w 3082197"/>
              <a:gd name="connsiteY0" fmla="*/ 1656 h 3138969"/>
              <a:gd name="connsiteX1" fmla="*/ 3082144 w 3082197"/>
              <a:gd name="connsiteY1" fmla="*/ 0 h 3138969"/>
              <a:gd name="connsiteX2" fmla="*/ 3072982 w 3082197"/>
              <a:gd name="connsiteY2" fmla="*/ 3138969 h 3138969"/>
              <a:gd name="connsiteX3" fmla="*/ 579722 w 3082197"/>
              <a:gd name="connsiteY3" fmla="*/ 3128747 h 3138969"/>
              <a:gd name="connsiteX4" fmla="*/ 0 w 3082197"/>
              <a:gd name="connsiteY4" fmla="*/ 2549025 h 3138969"/>
              <a:gd name="connsiteX5" fmla="*/ 0 w 3082197"/>
              <a:gd name="connsiteY5" fmla="*/ 1656 h 3138969"/>
              <a:gd name="connsiteX0" fmla="*/ 0 w 3082145"/>
              <a:gd name="connsiteY0" fmla="*/ 1656 h 3150544"/>
              <a:gd name="connsiteX1" fmla="*/ 3082144 w 3082145"/>
              <a:gd name="connsiteY1" fmla="*/ 0 h 3150544"/>
              <a:gd name="connsiteX2" fmla="*/ 2772041 w 3082145"/>
              <a:gd name="connsiteY2" fmla="*/ 3150544 h 3150544"/>
              <a:gd name="connsiteX3" fmla="*/ 579722 w 3082145"/>
              <a:gd name="connsiteY3" fmla="*/ 3128747 h 3150544"/>
              <a:gd name="connsiteX4" fmla="*/ 0 w 3082145"/>
              <a:gd name="connsiteY4" fmla="*/ 2549025 h 3150544"/>
              <a:gd name="connsiteX5" fmla="*/ 0 w 3082145"/>
              <a:gd name="connsiteY5" fmla="*/ 1656 h 3150544"/>
              <a:gd name="connsiteX0" fmla="*/ 0 w 2772041"/>
              <a:gd name="connsiteY0" fmla="*/ 1656 h 3150544"/>
              <a:gd name="connsiteX1" fmla="*/ 2769627 w 2772041"/>
              <a:gd name="connsiteY1" fmla="*/ 0 h 3150544"/>
              <a:gd name="connsiteX2" fmla="*/ 2772041 w 2772041"/>
              <a:gd name="connsiteY2" fmla="*/ 3150544 h 3150544"/>
              <a:gd name="connsiteX3" fmla="*/ 579722 w 2772041"/>
              <a:gd name="connsiteY3" fmla="*/ 3128747 h 3150544"/>
              <a:gd name="connsiteX4" fmla="*/ 0 w 2772041"/>
              <a:gd name="connsiteY4" fmla="*/ 2549025 h 3150544"/>
              <a:gd name="connsiteX5" fmla="*/ 0 w 2772041"/>
              <a:gd name="connsiteY5" fmla="*/ 1656 h 3150544"/>
              <a:gd name="connsiteX0" fmla="*/ 0 w 2772041"/>
              <a:gd name="connsiteY0" fmla="*/ 1656 h 3138969"/>
              <a:gd name="connsiteX1" fmla="*/ 2769627 w 2772041"/>
              <a:gd name="connsiteY1" fmla="*/ 0 h 3138969"/>
              <a:gd name="connsiteX2" fmla="*/ 2772041 w 2772041"/>
              <a:gd name="connsiteY2" fmla="*/ 3138969 h 3138969"/>
              <a:gd name="connsiteX3" fmla="*/ 579722 w 2772041"/>
              <a:gd name="connsiteY3" fmla="*/ 3128747 h 3138969"/>
              <a:gd name="connsiteX4" fmla="*/ 0 w 2772041"/>
              <a:gd name="connsiteY4" fmla="*/ 2549025 h 3138969"/>
              <a:gd name="connsiteX5" fmla="*/ 0 w 2772041"/>
              <a:gd name="connsiteY5" fmla="*/ 1656 h 3138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2041" h="3138969">
                <a:moveTo>
                  <a:pt x="0" y="1656"/>
                </a:moveTo>
                <a:lnTo>
                  <a:pt x="2769627" y="0"/>
                </a:lnTo>
                <a:cubicBezTo>
                  <a:pt x="2770532" y="2146807"/>
                  <a:pt x="2771136" y="992162"/>
                  <a:pt x="2772041" y="3138969"/>
                </a:cubicBezTo>
                <a:lnTo>
                  <a:pt x="579722" y="3128747"/>
                </a:lnTo>
                <a:cubicBezTo>
                  <a:pt x="259550" y="3128747"/>
                  <a:pt x="0" y="2869197"/>
                  <a:pt x="0" y="2549025"/>
                </a:cubicBezTo>
                <a:lnTo>
                  <a:pt x="0" y="1656"/>
                </a:lnTo>
                <a:close/>
              </a:path>
            </a:pathLst>
          </a:custGeom>
          <a:noFill/>
        </p:spPr>
        <p:txBody>
          <a:bodyPr>
            <a:normAutofit/>
          </a:bodyPr>
          <a:lstStyle>
            <a:lvl1pPr marL="0" indent="0">
              <a:buNone/>
              <a:defRPr sz="1400">
                <a:solidFill>
                  <a:schemeClr val="tx1"/>
                </a:solidFill>
              </a:defRPr>
            </a:lvl1pPr>
          </a:lstStyle>
          <a:p>
            <a:r>
              <a:rPr lang="en-JP"/>
              <a:t>Insert Picture/Text Block</a:t>
            </a:r>
          </a:p>
        </p:txBody>
      </p:sp>
      <p:sp>
        <p:nvSpPr>
          <p:cNvPr id="24" name="Picture Placeholder 9">
            <a:extLst>
              <a:ext uri="{FF2B5EF4-FFF2-40B4-BE49-F238E27FC236}">
                <a16:creationId xmlns:a16="http://schemas.microsoft.com/office/drawing/2014/main" id="{AA8F528A-C9DE-0B46-881A-43E0F9B6F677}"/>
              </a:ext>
            </a:extLst>
          </p:cNvPr>
          <p:cNvSpPr>
            <a:spLocks noGrp="1"/>
          </p:cNvSpPr>
          <p:nvPr>
            <p:ph type="pic" sz="quarter" idx="19" hasCustomPrompt="1"/>
          </p:nvPr>
        </p:nvSpPr>
        <p:spPr>
          <a:xfrm>
            <a:off x="3244494" y="3076286"/>
            <a:ext cx="2772041" cy="3138969"/>
          </a:xfrm>
          <a:custGeom>
            <a:avLst/>
            <a:gdLst>
              <a:gd name="connsiteX0" fmla="*/ 0 w 10888662"/>
              <a:gd name="connsiteY0" fmla="*/ 579722 h 6442075"/>
              <a:gd name="connsiteX1" fmla="*/ 579722 w 10888662"/>
              <a:gd name="connsiteY1" fmla="*/ 0 h 6442075"/>
              <a:gd name="connsiteX2" fmla="*/ 10308940 w 10888662"/>
              <a:gd name="connsiteY2" fmla="*/ 0 h 6442075"/>
              <a:gd name="connsiteX3" fmla="*/ 10888662 w 10888662"/>
              <a:gd name="connsiteY3" fmla="*/ 579722 h 6442075"/>
              <a:gd name="connsiteX4" fmla="*/ 10888662 w 10888662"/>
              <a:gd name="connsiteY4" fmla="*/ 5862353 h 6442075"/>
              <a:gd name="connsiteX5" fmla="*/ 10308940 w 10888662"/>
              <a:gd name="connsiteY5" fmla="*/ 6442075 h 6442075"/>
              <a:gd name="connsiteX6" fmla="*/ 579722 w 10888662"/>
              <a:gd name="connsiteY6" fmla="*/ 6442075 h 6442075"/>
              <a:gd name="connsiteX7" fmla="*/ 0 w 10888662"/>
              <a:gd name="connsiteY7" fmla="*/ 5862353 h 6442075"/>
              <a:gd name="connsiteX8" fmla="*/ 0 w 10888662"/>
              <a:gd name="connsiteY8" fmla="*/ 579722 h 6442075"/>
              <a:gd name="connsiteX0" fmla="*/ 0 w 10888662"/>
              <a:gd name="connsiteY0" fmla="*/ 659657 h 6522010"/>
              <a:gd name="connsiteX1" fmla="*/ 10308940 w 10888662"/>
              <a:gd name="connsiteY1" fmla="*/ 79935 h 6522010"/>
              <a:gd name="connsiteX2" fmla="*/ 10888662 w 10888662"/>
              <a:gd name="connsiteY2" fmla="*/ 659657 h 6522010"/>
              <a:gd name="connsiteX3" fmla="*/ 10888662 w 10888662"/>
              <a:gd name="connsiteY3" fmla="*/ 5942288 h 6522010"/>
              <a:gd name="connsiteX4" fmla="*/ 10308940 w 10888662"/>
              <a:gd name="connsiteY4" fmla="*/ 6522010 h 6522010"/>
              <a:gd name="connsiteX5" fmla="*/ 579722 w 10888662"/>
              <a:gd name="connsiteY5" fmla="*/ 6522010 h 6522010"/>
              <a:gd name="connsiteX6" fmla="*/ 0 w 10888662"/>
              <a:gd name="connsiteY6" fmla="*/ 5942288 h 6522010"/>
              <a:gd name="connsiteX7" fmla="*/ 0 w 10888662"/>
              <a:gd name="connsiteY7" fmla="*/ 659657 h 6522010"/>
              <a:gd name="connsiteX0" fmla="*/ 0 w 10888662"/>
              <a:gd name="connsiteY0" fmla="*/ 579722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579722 h 6442075"/>
              <a:gd name="connsiteX0" fmla="*/ 0 w 10888662"/>
              <a:gd name="connsiteY0" fmla="*/ 129257 h 6569679"/>
              <a:gd name="connsiteX1" fmla="*/ 10308940 w 10888662"/>
              <a:gd name="connsiteY1" fmla="*/ 127604 h 6569679"/>
              <a:gd name="connsiteX2" fmla="*/ 10888662 w 10888662"/>
              <a:gd name="connsiteY2" fmla="*/ 707326 h 6569679"/>
              <a:gd name="connsiteX3" fmla="*/ 10888662 w 10888662"/>
              <a:gd name="connsiteY3" fmla="*/ 5989957 h 6569679"/>
              <a:gd name="connsiteX4" fmla="*/ 10308940 w 10888662"/>
              <a:gd name="connsiteY4" fmla="*/ 6569679 h 6569679"/>
              <a:gd name="connsiteX5" fmla="*/ 579722 w 10888662"/>
              <a:gd name="connsiteY5" fmla="*/ 6569679 h 6569679"/>
              <a:gd name="connsiteX6" fmla="*/ 0 w 10888662"/>
              <a:gd name="connsiteY6" fmla="*/ 5989957 h 6569679"/>
              <a:gd name="connsiteX7" fmla="*/ 0 w 10888662"/>
              <a:gd name="connsiteY7" fmla="*/ 129257 h 6569679"/>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9657299 w 10888662"/>
              <a:gd name="connsiteY4" fmla="*/ 55276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522010"/>
              <a:gd name="connsiteX1" fmla="*/ 10308940 w 10888662"/>
              <a:gd name="connsiteY1" fmla="*/ 0 h 6522010"/>
              <a:gd name="connsiteX2" fmla="*/ 10888662 w 10888662"/>
              <a:gd name="connsiteY2" fmla="*/ 579722 h 6522010"/>
              <a:gd name="connsiteX3" fmla="*/ 10888662 w 10888662"/>
              <a:gd name="connsiteY3" fmla="*/ 5862353 h 6522010"/>
              <a:gd name="connsiteX4" fmla="*/ 579722 w 10888662"/>
              <a:gd name="connsiteY4" fmla="*/ 6442075 h 6522010"/>
              <a:gd name="connsiteX5" fmla="*/ 0 w 10888662"/>
              <a:gd name="connsiteY5" fmla="*/ 5862353 h 6522010"/>
              <a:gd name="connsiteX6" fmla="*/ 0 w 10888662"/>
              <a:gd name="connsiteY6" fmla="*/ 1653 h 6522010"/>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579722 w 10888662"/>
              <a:gd name="connsiteY4" fmla="*/ 6442075 h 6442075"/>
              <a:gd name="connsiteX5" fmla="*/ 0 w 10888662"/>
              <a:gd name="connsiteY5" fmla="*/ 5862353 h 6442075"/>
              <a:gd name="connsiteX6" fmla="*/ 0 w 10888662"/>
              <a:gd name="connsiteY6" fmla="*/ 1653 h 6442075"/>
              <a:gd name="connsiteX0" fmla="*/ 0 w 10888662"/>
              <a:gd name="connsiteY0" fmla="*/ 1653 h 6585432"/>
              <a:gd name="connsiteX1" fmla="*/ 10308940 w 10888662"/>
              <a:gd name="connsiteY1" fmla="*/ 0 h 6585432"/>
              <a:gd name="connsiteX2" fmla="*/ 10888662 w 10888662"/>
              <a:gd name="connsiteY2" fmla="*/ 579722 h 6585432"/>
              <a:gd name="connsiteX3" fmla="*/ 10878151 w 10888662"/>
              <a:gd name="connsiteY3" fmla="*/ 6461442 h 6585432"/>
              <a:gd name="connsiteX4" fmla="*/ 579722 w 10888662"/>
              <a:gd name="connsiteY4" fmla="*/ 6442075 h 6585432"/>
              <a:gd name="connsiteX5" fmla="*/ 0 w 10888662"/>
              <a:gd name="connsiteY5" fmla="*/ 5862353 h 6585432"/>
              <a:gd name="connsiteX6" fmla="*/ 0 w 10888662"/>
              <a:gd name="connsiteY6" fmla="*/ 1653 h 6585432"/>
              <a:gd name="connsiteX0" fmla="*/ 0 w 10888662"/>
              <a:gd name="connsiteY0" fmla="*/ 1653 h 6577502"/>
              <a:gd name="connsiteX1" fmla="*/ 10308940 w 10888662"/>
              <a:gd name="connsiteY1" fmla="*/ 0 h 6577502"/>
              <a:gd name="connsiteX2" fmla="*/ 10888662 w 10888662"/>
              <a:gd name="connsiteY2" fmla="*/ 579722 h 6577502"/>
              <a:gd name="connsiteX3" fmla="*/ 10878151 w 10888662"/>
              <a:gd name="connsiteY3" fmla="*/ 6450932 h 6577502"/>
              <a:gd name="connsiteX4" fmla="*/ 579722 w 10888662"/>
              <a:gd name="connsiteY4" fmla="*/ 6442075 h 6577502"/>
              <a:gd name="connsiteX5" fmla="*/ 0 w 10888662"/>
              <a:gd name="connsiteY5" fmla="*/ 5862353 h 6577502"/>
              <a:gd name="connsiteX6" fmla="*/ 0 w 10888662"/>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0888662"/>
              <a:gd name="connsiteY0" fmla="*/ 1653 h 6450932"/>
              <a:gd name="connsiteX1" fmla="*/ 10308940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0999550"/>
              <a:gd name="connsiteY0" fmla="*/ 1653 h 6450932"/>
              <a:gd name="connsiteX1" fmla="*/ 10844968 w 10999550"/>
              <a:gd name="connsiteY1" fmla="*/ 0 h 6450932"/>
              <a:gd name="connsiteX2" fmla="*/ 10888662 w 10999550"/>
              <a:gd name="connsiteY2" fmla="*/ 579722 h 6450932"/>
              <a:gd name="connsiteX3" fmla="*/ 10878151 w 10999550"/>
              <a:gd name="connsiteY3" fmla="*/ 6450932 h 6450932"/>
              <a:gd name="connsiteX4" fmla="*/ 579722 w 10999550"/>
              <a:gd name="connsiteY4" fmla="*/ 6442075 h 6450932"/>
              <a:gd name="connsiteX5" fmla="*/ 0 w 10999550"/>
              <a:gd name="connsiteY5" fmla="*/ 5862353 h 6450932"/>
              <a:gd name="connsiteX6" fmla="*/ 0 w 10999550"/>
              <a:gd name="connsiteY6" fmla="*/ 1653 h 6450932"/>
              <a:gd name="connsiteX0" fmla="*/ 0 w 11022020"/>
              <a:gd name="connsiteY0" fmla="*/ 1653 h 6450932"/>
              <a:gd name="connsiteX1" fmla="*/ 10876499 w 11022020"/>
              <a:gd name="connsiteY1" fmla="*/ 0 h 6450932"/>
              <a:gd name="connsiteX2" fmla="*/ 10888662 w 11022020"/>
              <a:gd name="connsiteY2" fmla="*/ 579722 h 6450932"/>
              <a:gd name="connsiteX3" fmla="*/ 10878151 w 11022020"/>
              <a:gd name="connsiteY3" fmla="*/ 6450932 h 6450932"/>
              <a:gd name="connsiteX4" fmla="*/ 579722 w 11022020"/>
              <a:gd name="connsiteY4" fmla="*/ 6442075 h 6450932"/>
              <a:gd name="connsiteX5" fmla="*/ 0 w 11022020"/>
              <a:gd name="connsiteY5" fmla="*/ 5862353 h 6450932"/>
              <a:gd name="connsiteX6" fmla="*/ 0 w 11022020"/>
              <a:gd name="connsiteY6" fmla="*/ 1653 h 6450932"/>
              <a:gd name="connsiteX0" fmla="*/ 0 w 10888662"/>
              <a:gd name="connsiteY0" fmla="*/ 1653 h 6450932"/>
              <a:gd name="connsiteX1" fmla="*/ 10876499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2200990"/>
              <a:gd name="connsiteY0" fmla="*/ 1653 h 6450932"/>
              <a:gd name="connsiteX1" fmla="*/ 10876499 w 12200990"/>
              <a:gd name="connsiteY1" fmla="*/ 0 h 6450932"/>
              <a:gd name="connsiteX2" fmla="*/ 10878151 w 12200990"/>
              <a:gd name="connsiteY2" fmla="*/ 6450932 h 6450932"/>
              <a:gd name="connsiteX3" fmla="*/ 579722 w 12200990"/>
              <a:gd name="connsiteY3" fmla="*/ 6442075 h 6450932"/>
              <a:gd name="connsiteX4" fmla="*/ 0 w 12200990"/>
              <a:gd name="connsiteY4" fmla="*/ 5862353 h 6450932"/>
              <a:gd name="connsiteX5" fmla="*/ 0 w 12200990"/>
              <a:gd name="connsiteY5" fmla="*/ 1653 h 6450932"/>
              <a:gd name="connsiteX0" fmla="*/ 0 w 11640630"/>
              <a:gd name="connsiteY0" fmla="*/ 1653 h 6450932"/>
              <a:gd name="connsiteX1" fmla="*/ 10876499 w 11640630"/>
              <a:gd name="connsiteY1" fmla="*/ 0 h 6450932"/>
              <a:gd name="connsiteX2" fmla="*/ 10878151 w 11640630"/>
              <a:gd name="connsiteY2" fmla="*/ 6450932 h 6450932"/>
              <a:gd name="connsiteX3" fmla="*/ 579722 w 11640630"/>
              <a:gd name="connsiteY3" fmla="*/ 6442075 h 6450932"/>
              <a:gd name="connsiteX4" fmla="*/ 0 w 11640630"/>
              <a:gd name="connsiteY4" fmla="*/ 5862353 h 6450932"/>
              <a:gd name="connsiteX5" fmla="*/ 0 w 11640630"/>
              <a:gd name="connsiteY5" fmla="*/ 1653 h 6450932"/>
              <a:gd name="connsiteX0" fmla="*/ 0 w 10878151"/>
              <a:gd name="connsiteY0" fmla="*/ 1653 h 6450932"/>
              <a:gd name="connsiteX1" fmla="*/ 10876499 w 10878151"/>
              <a:gd name="connsiteY1" fmla="*/ 0 h 6450932"/>
              <a:gd name="connsiteX2" fmla="*/ 10878151 w 10878151"/>
              <a:gd name="connsiteY2" fmla="*/ 6450932 h 6450932"/>
              <a:gd name="connsiteX3" fmla="*/ 579722 w 10878151"/>
              <a:gd name="connsiteY3" fmla="*/ 6442075 h 6450932"/>
              <a:gd name="connsiteX4" fmla="*/ 0 w 10878151"/>
              <a:gd name="connsiteY4" fmla="*/ 5862353 h 6450932"/>
              <a:gd name="connsiteX5" fmla="*/ 0 w 10878151"/>
              <a:gd name="connsiteY5" fmla="*/ 1653 h 6450932"/>
              <a:gd name="connsiteX0" fmla="*/ 0 w 11843451"/>
              <a:gd name="connsiteY0" fmla="*/ 1653 h 6450932"/>
              <a:gd name="connsiteX1" fmla="*/ 11843451 w 11843451"/>
              <a:gd name="connsiteY1" fmla="*/ 0 h 6450932"/>
              <a:gd name="connsiteX2" fmla="*/ 10878151 w 11843451"/>
              <a:gd name="connsiteY2" fmla="*/ 6450932 h 6450932"/>
              <a:gd name="connsiteX3" fmla="*/ 579722 w 11843451"/>
              <a:gd name="connsiteY3" fmla="*/ 6442075 h 6450932"/>
              <a:gd name="connsiteX4" fmla="*/ 0 w 11843451"/>
              <a:gd name="connsiteY4" fmla="*/ 5862353 h 6450932"/>
              <a:gd name="connsiteX5" fmla="*/ 0 w 11843451"/>
              <a:gd name="connsiteY5" fmla="*/ 1653 h 6450932"/>
              <a:gd name="connsiteX0" fmla="*/ 0 w 11855613"/>
              <a:gd name="connsiteY0" fmla="*/ 1653 h 6450932"/>
              <a:gd name="connsiteX1" fmla="*/ 11843451 w 11855613"/>
              <a:gd name="connsiteY1" fmla="*/ 0 h 6450932"/>
              <a:gd name="connsiteX2" fmla="*/ 11855613 w 11855613"/>
              <a:gd name="connsiteY2" fmla="*/ 6450932 h 6450932"/>
              <a:gd name="connsiteX3" fmla="*/ 579722 w 11855613"/>
              <a:gd name="connsiteY3" fmla="*/ 6442075 h 6450932"/>
              <a:gd name="connsiteX4" fmla="*/ 0 w 11855613"/>
              <a:gd name="connsiteY4" fmla="*/ 5862353 h 6450932"/>
              <a:gd name="connsiteX5" fmla="*/ 0 w 11855613"/>
              <a:gd name="connsiteY5" fmla="*/ 1653 h 6450932"/>
              <a:gd name="connsiteX0" fmla="*/ 0 w 11864472"/>
              <a:gd name="connsiteY0" fmla="*/ 1653 h 6450932"/>
              <a:gd name="connsiteX1" fmla="*/ 11864472 w 11864472"/>
              <a:gd name="connsiteY1" fmla="*/ 0 h 6450932"/>
              <a:gd name="connsiteX2" fmla="*/ 11855613 w 11864472"/>
              <a:gd name="connsiteY2" fmla="*/ 6450932 h 6450932"/>
              <a:gd name="connsiteX3" fmla="*/ 579722 w 11864472"/>
              <a:gd name="connsiteY3" fmla="*/ 6442075 h 6450932"/>
              <a:gd name="connsiteX4" fmla="*/ 0 w 11864472"/>
              <a:gd name="connsiteY4" fmla="*/ 5862353 h 6450932"/>
              <a:gd name="connsiteX5" fmla="*/ 0 w 11864472"/>
              <a:gd name="connsiteY5" fmla="*/ 1653 h 6450932"/>
              <a:gd name="connsiteX0" fmla="*/ 0 w 11864472"/>
              <a:gd name="connsiteY0" fmla="*/ 1653 h 6442075"/>
              <a:gd name="connsiteX1" fmla="*/ 11864472 w 11864472"/>
              <a:gd name="connsiteY1" fmla="*/ 0 h 6442075"/>
              <a:gd name="connsiteX2" fmla="*/ 11855613 w 11864472"/>
              <a:gd name="connsiteY2" fmla="*/ 6440421 h 6442075"/>
              <a:gd name="connsiteX3" fmla="*/ 579722 w 11864472"/>
              <a:gd name="connsiteY3" fmla="*/ 6442075 h 6442075"/>
              <a:gd name="connsiteX4" fmla="*/ 0 w 11864472"/>
              <a:gd name="connsiteY4" fmla="*/ 5862353 h 6442075"/>
              <a:gd name="connsiteX5" fmla="*/ 0 w 11864472"/>
              <a:gd name="connsiteY5" fmla="*/ 1653 h 6442075"/>
              <a:gd name="connsiteX0" fmla="*/ 0 w 11855613"/>
              <a:gd name="connsiteY0" fmla="*/ 1653 h 6442075"/>
              <a:gd name="connsiteX1" fmla="*/ 8912928 w 11855613"/>
              <a:gd name="connsiteY1" fmla="*/ 0 h 6442075"/>
              <a:gd name="connsiteX2" fmla="*/ 11855613 w 11855613"/>
              <a:gd name="connsiteY2" fmla="*/ 6440421 h 6442075"/>
              <a:gd name="connsiteX3" fmla="*/ 579722 w 11855613"/>
              <a:gd name="connsiteY3" fmla="*/ 6442075 h 6442075"/>
              <a:gd name="connsiteX4" fmla="*/ 0 w 11855613"/>
              <a:gd name="connsiteY4" fmla="*/ 5862353 h 6442075"/>
              <a:gd name="connsiteX5" fmla="*/ 0 w 11855613"/>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74032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36077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1615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15642"/>
              <a:gd name="connsiteY0" fmla="*/ 1653 h 6442075"/>
              <a:gd name="connsiteX1" fmla="*/ 8912928 w 8915642"/>
              <a:gd name="connsiteY1" fmla="*/ 0 h 6442075"/>
              <a:gd name="connsiteX2" fmla="*/ 8915642 w 8915642"/>
              <a:gd name="connsiteY2" fmla="*/ 6440421 h 6442075"/>
              <a:gd name="connsiteX3" fmla="*/ 579722 w 8915642"/>
              <a:gd name="connsiteY3" fmla="*/ 6442075 h 6442075"/>
              <a:gd name="connsiteX4" fmla="*/ 0 w 8915642"/>
              <a:gd name="connsiteY4" fmla="*/ 5862353 h 6442075"/>
              <a:gd name="connsiteX5" fmla="*/ 0 w 8915642"/>
              <a:gd name="connsiteY5" fmla="*/ 1653 h 6442075"/>
              <a:gd name="connsiteX0" fmla="*/ 0 w 8915642"/>
              <a:gd name="connsiteY0" fmla="*/ 1 h 6618553"/>
              <a:gd name="connsiteX1" fmla="*/ 8912928 w 8915642"/>
              <a:gd name="connsiteY1" fmla="*/ 176478 h 6618553"/>
              <a:gd name="connsiteX2" fmla="*/ 8915642 w 8915642"/>
              <a:gd name="connsiteY2" fmla="*/ 6616899 h 6618553"/>
              <a:gd name="connsiteX3" fmla="*/ 579722 w 8915642"/>
              <a:gd name="connsiteY3" fmla="*/ 6618553 h 6618553"/>
              <a:gd name="connsiteX4" fmla="*/ 0 w 8915642"/>
              <a:gd name="connsiteY4" fmla="*/ 6038831 h 6618553"/>
              <a:gd name="connsiteX5" fmla="*/ 0 w 8915642"/>
              <a:gd name="connsiteY5" fmla="*/ 1 h 6618553"/>
              <a:gd name="connsiteX0" fmla="*/ 0 w 8915642"/>
              <a:gd name="connsiteY0" fmla="*/ 25404 h 6643956"/>
              <a:gd name="connsiteX1" fmla="*/ 6015348 w 8915642"/>
              <a:gd name="connsiteY1" fmla="*/ 0 h 6643956"/>
              <a:gd name="connsiteX2" fmla="*/ 8915642 w 8915642"/>
              <a:gd name="connsiteY2" fmla="*/ 6642302 h 6643956"/>
              <a:gd name="connsiteX3" fmla="*/ 579722 w 8915642"/>
              <a:gd name="connsiteY3" fmla="*/ 6643956 h 6643956"/>
              <a:gd name="connsiteX4" fmla="*/ 0 w 8915642"/>
              <a:gd name="connsiteY4" fmla="*/ 6064234 h 6643956"/>
              <a:gd name="connsiteX5" fmla="*/ 0 w 8915642"/>
              <a:gd name="connsiteY5" fmla="*/ 25404 h 6643956"/>
              <a:gd name="connsiteX0" fmla="*/ 0 w 8915642"/>
              <a:gd name="connsiteY0" fmla="*/ 1653 h 6620205"/>
              <a:gd name="connsiteX1" fmla="*/ 6003473 w 8915642"/>
              <a:gd name="connsiteY1" fmla="*/ 0 h 6620205"/>
              <a:gd name="connsiteX2" fmla="*/ 8915642 w 8915642"/>
              <a:gd name="connsiteY2" fmla="*/ 6618551 h 6620205"/>
              <a:gd name="connsiteX3" fmla="*/ 579722 w 8915642"/>
              <a:gd name="connsiteY3" fmla="*/ 6620205 h 6620205"/>
              <a:gd name="connsiteX4" fmla="*/ 0 w 8915642"/>
              <a:gd name="connsiteY4" fmla="*/ 6040483 h 6620205"/>
              <a:gd name="connsiteX5" fmla="*/ 0 w 8915642"/>
              <a:gd name="connsiteY5" fmla="*/ 1653 h 6620205"/>
              <a:gd name="connsiteX0" fmla="*/ 0 w 8915642"/>
              <a:gd name="connsiteY0" fmla="*/ 96656 h 6620205"/>
              <a:gd name="connsiteX1" fmla="*/ 6003473 w 8915642"/>
              <a:gd name="connsiteY1" fmla="*/ 0 h 6620205"/>
              <a:gd name="connsiteX2" fmla="*/ 8915642 w 8915642"/>
              <a:gd name="connsiteY2" fmla="*/ 6618551 h 6620205"/>
              <a:gd name="connsiteX3" fmla="*/ 579722 w 8915642"/>
              <a:gd name="connsiteY3" fmla="*/ 6620205 h 6620205"/>
              <a:gd name="connsiteX4" fmla="*/ 0 w 8915642"/>
              <a:gd name="connsiteY4" fmla="*/ 6040483 h 6620205"/>
              <a:gd name="connsiteX5" fmla="*/ 0 w 8915642"/>
              <a:gd name="connsiteY5" fmla="*/ 96656 h 6620205"/>
              <a:gd name="connsiteX0" fmla="*/ 0 w 8915642"/>
              <a:gd name="connsiteY0" fmla="*/ 0 h 6642302"/>
              <a:gd name="connsiteX1" fmla="*/ 6003473 w 8915642"/>
              <a:gd name="connsiteY1" fmla="*/ 22097 h 6642302"/>
              <a:gd name="connsiteX2" fmla="*/ 8915642 w 8915642"/>
              <a:gd name="connsiteY2" fmla="*/ 6640648 h 6642302"/>
              <a:gd name="connsiteX3" fmla="*/ 579722 w 8915642"/>
              <a:gd name="connsiteY3" fmla="*/ 6642302 h 6642302"/>
              <a:gd name="connsiteX4" fmla="*/ 0 w 8915642"/>
              <a:gd name="connsiteY4" fmla="*/ 6062580 h 6642302"/>
              <a:gd name="connsiteX5" fmla="*/ 0 w 8915642"/>
              <a:gd name="connsiteY5" fmla="*/ 0 h 6642302"/>
              <a:gd name="connsiteX0" fmla="*/ 0 w 8915642"/>
              <a:gd name="connsiteY0" fmla="*/ 0 h 6642302"/>
              <a:gd name="connsiteX1" fmla="*/ 5932221 w 8915642"/>
              <a:gd name="connsiteY1" fmla="*/ 152725 h 6642302"/>
              <a:gd name="connsiteX2" fmla="*/ 8915642 w 8915642"/>
              <a:gd name="connsiteY2" fmla="*/ 6640648 h 6642302"/>
              <a:gd name="connsiteX3" fmla="*/ 579722 w 8915642"/>
              <a:gd name="connsiteY3" fmla="*/ 6642302 h 6642302"/>
              <a:gd name="connsiteX4" fmla="*/ 0 w 8915642"/>
              <a:gd name="connsiteY4" fmla="*/ 6062580 h 6642302"/>
              <a:gd name="connsiteX5" fmla="*/ 0 w 8915642"/>
              <a:gd name="connsiteY5" fmla="*/ 0 h 6642302"/>
              <a:gd name="connsiteX0" fmla="*/ 0 w 8915642"/>
              <a:gd name="connsiteY0" fmla="*/ 1654 h 6643956"/>
              <a:gd name="connsiteX1" fmla="*/ 6003473 w 8915642"/>
              <a:gd name="connsiteY1" fmla="*/ 0 h 6643956"/>
              <a:gd name="connsiteX2" fmla="*/ 8915642 w 8915642"/>
              <a:gd name="connsiteY2" fmla="*/ 6642302 h 6643956"/>
              <a:gd name="connsiteX3" fmla="*/ 579722 w 8915642"/>
              <a:gd name="connsiteY3" fmla="*/ 6643956 h 6643956"/>
              <a:gd name="connsiteX4" fmla="*/ 0 w 8915642"/>
              <a:gd name="connsiteY4" fmla="*/ 6064234 h 6643956"/>
              <a:gd name="connsiteX5" fmla="*/ 0 w 8915642"/>
              <a:gd name="connsiteY5" fmla="*/ 1654 h 6643956"/>
              <a:gd name="connsiteX0" fmla="*/ 0 w 6018062"/>
              <a:gd name="connsiteY0" fmla="*/ 1654 h 6654178"/>
              <a:gd name="connsiteX1" fmla="*/ 6003473 w 6018062"/>
              <a:gd name="connsiteY1" fmla="*/ 0 h 6654178"/>
              <a:gd name="connsiteX2" fmla="*/ 6018062 w 6018062"/>
              <a:gd name="connsiteY2" fmla="*/ 6654178 h 6654178"/>
              <a:gd name="connsiteX3" fmla="*/ 579722 w 6018062"/>
              <a:gd name="connsiteY3" fmla="*/ 6643956 h 6654178"/>
              <a:gd name="connsiteX4" fmla="*/ 0 w 6018062"/>
              <a:gd name="connsiteY4" fmla="*/ 6064234 h 6654178"/>
              <a:gd name="connsiteX5" fmla="*/ 0 w 6018062"/>
              <a:gd name="connsiteY5" fmla="*/ 1654 h 6654178"/>
              <a:gd name="connsiteX0" fmla="*/ 0 w 6018062"/>
              <a:gd name="connsiteY0" fmla="*/ 203535 h 6654178"/>
              <a:gd name="connsiteX1" fmla="*/ 6003473 w 6018062"/>
              <a:gd name="connsiteY1" fmla="*/ 0 h 6654178"/>
              <a:gd name="connsiteX2" fmla="*/ 6018062 w 6018062"/>
              <a:gd name="connsiteY2" fmla="*/ 6654178 h 6654178"/>
              <a:gd name="connsiteX3" fmla="*/ 579722 w 6018062"/>
              <a:gd name="connsiteY3" fmla="*/ 6643956 h 6654178"/>
              <a:gd name="connsiteX4" fmla="*/ 0 w 6018062"/>
              <a:gd name="connsiteY4" fmla="*/ 6064234 h 6654178"/>
              <a:gd name="connsiteX5" fmla="*/ 0 w 6018062"/>
              <a:gd name="connsiteY5" fmla="*/ 203535 h 6654178"/>
              <a:gd name="connsiteX0" fmla="*/ 0 w 6018062"/>
              <a:gd name="connsiteY0" fmla="*/ 1655 h 6452298"/>
              <a:gd name="connsiteX1" fmla="*/ 4055920 w 6018062"/>
              <a:gd name="connsiteY1" fmla="*/ 0 h 6452298"/>
              <a:gd name="connsiteX2" fmla="*/ 6018062 w 6018062"/>
              <a:gd name="connsiteY2" fmla="*/ 6452298 h 6452298"/>
              <a:gd name="connsiteX3" fmla="*/ 579722 w 6018062"/>
              <a:gd name="connsiteY3" fmla="*/ 6442076 h 6452298"/>
              <a:gd name="connsiteX4" fmla="*/ 0 w 6018062"/>
              <a:gd name="connsiteY4" fmla="*/ 5862354 h 6452298"/>
              <a:gd name="connsiteX5" fmla="*/ 0 w 6018062"/>
              <a:gd name="connsiteY5" fmla="*/ 1655 h 6452298"/>
              <a:gd name="connsiteX0" fmla="*/ 0 w 4055973"/>
              <a:gd name="connsiteY0" fmla="*/ 1655 h 6452298"/>
              <a:gd name="connsiteX1" fmla="*/ 4055920 w 4055973"/>
              <a:gd name="connsiteY1" fmla="*/ 0 h 6452298"/>
              <a:gd name="connsiteX2" fmla="*/ 4046758 w 4055973"/>
              <a:gd name="connsiteY2" fmla="*/ 6452298 h 6452298"/>
              <a:gd name="connsiteX3" fmla="*/ 579722 w 4055973"/>
              <a:gd name="connsiteY3" fmla="*/ 6442076 h 6452298"/>
              <a:gd name="connsiteX4" fmla="*/ 0 w 4055973"/>
              <a:gd name="connsiteY4" fmla="*/ 5862354 h 6452298"/>
              <a:gd name="connsiteX5" fmla="*/ 0 w 4055973"/>
              <a:gd name="connsiteY5" fmla="*/ 1655 h 6452298"/>
              <a:gd name="connsiteX0" fmla="*/ 0 w 4055973"/>
              <a:gd name="connsiteY0" fmla="*/ 0 h 6652523"/>
              <a:gd name="connsiteX1" fmla="*/ 4055920 w 4055973"/>
              <a:gd name="connsiteY1" fmla="*/ 200225 h 6652523"/>
              <a:gd name="connsiteX2" fmla="*/ 4046758 w 4055973"/>
              <a:gd name="connsiteY2" fmla="*/ 6652523 h 6652523"/>
              <a:gd name="connsiteX3" fmla="*/ 579722 w 4055973"/>
              <a:gd name="connsiteY3" fmla="*/ 6642301 h 6652523"/>
              <a:gd name="connsiteX4" fmla="*/ 0 w 4055973"/>
              <a:gd name="connsiteY4" fmla="*/ 6062579 h 6652523"/>
              <a:gd name="connsiteX5" fmla="*/ 0 w 4055973"/>
              <a:gd name="connsiteY5" fmla="*/ 0 h 6652523"/>
              <a:gd name="connsiteX0" fmla="*/ 0 w 4046758"/>
              <a:gd name="connsiteY0" fmla="*/ 0 h 6652523"/>
              <a:gd name="connsiteX1" fmla="*/ 4044045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1655 h 6654178"/>
              <a:gd name="connsiteX1" fmla="*/ 3082144 w 4046758"/>
              <a:gd name="connsiteY1" fmla="*/ 0 h 6654178"/>
              <a:gd name="connsiteX2" fmla="*/ 4046758 w 4046758"/>
              <a:gd name="connsiteY2" fmla="*/ 6654178 h 6654178"/>
              <a:gd name="connsiteX3" fmla="*/ 579722 w 4046758"/>
              <a:gd name="connsiteY3" fmla="*/ 6643956 h 6654178"/>
              <a:gd name="connsiteX4" fmla="*/ 0 w 4046758"/>
              <a:gd name="connsiteY4" fmla="*/ 6064234 h 6654178"/>
              <a:gd name="connsiteX5" fmla="*/ 0 w 4046758"/>
              <a:gd name="connsiteY5" fmla="*/ 1655 h 6654178"/>
              <a:gd name="connsiteX0" fmla="*/ 0 w 4046758"/>
              <a:gd name="connsiteY0" fmla="*/ 0 h 6652523"/>
              <a:gd name="connsiteX1" fmla="*/ 2975266 w 4046758"/>
              <a:gd name="connsiteY1" fmla="*/ 93348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0 h 6652523"/>
              <a:gd name="connsiteX1" fmla="*/ 3070268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0 h 6652523"/>
              <a:gd name="connsiteX1" fmla="*/ 3082144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3082197"/>
              <a:gd name="connsiteY0" fmla="*/ 0 h 6652523"/>
              <a:gd name="connsiteX1" fmla="*/ 3082144 w 3082197"/>
              <a:gd name="connsiteY1" fmla="*/ 10220 h 6652523"/>
              <a:gd name="connsiteX2" fmla="*/ 3072982 w 3082197"/>
              <a:gd name="connsiteY2" fmla="*/ 6652523 h 6652523"/>
              <a:gd name="connsiteX3" fmla="*/ 579722 w 3082197"/>
              <a:gd name="connsiteY3" fmla="*/ 6642301 h 6652523"/>
              <a:gd name="connsiteX4" fmla="*/ 0 w 3082197"/>
              <a:gd name="connsiteY4" fmla="*/ 6062579 h 6652523"/>
              <a:gd name="connsiteX5" fmla="*/ 0 w 3082197"/>
              <a:gd name="connsiteY5" fmla="*/ 0 h 6652523"/>
              <a:gd name="connsiteX0" fmla="*/ 0 w 3072982"/>
              <a:gd name="connsiteY0" fmla="*/ 0 h 6652523"/>
              <a:gd name="connsiteX1" fmla="*/ 3010892 w 3072982"/>
              <a:gd name="connsiteY1" fmla="*/ 164599 h 6652523"/>
              <a:gd name="connsiteX2" fmla="*/ 3072982 w 3072982"/>
              <a:gd name="connsiteY2" fmla="*/ 6652523 h 6652523"/>
              <a:gd name="connsiteX3" fmla="*/ 579722 w 3072982"/>
              <a:gd name="connsiteY3" fmla="*/ 6642301 h 6652523"/>
              <a:gd name="connsiteX4" fmla="*/ 0 w 3072982"/>
              <a:gd name="connsiteY4" fmla="*/ 6062579 h 6652523"/>
              <a:gd name="connsiteX5" fmla="*/ 0 w 3072982"/>
              <a:gd name="connsiteY5" fmla="*/ 0 h 6652523"/>
              <a:gd name="connsiteX0" fmla="*/ 0 w 3082197"/>
              <a:gd name="connsiteY0" fmla="*/ 1656 h 6654179"/>
              <a:gd name="connsiteX1" fmla="*/ 3082144 w 3082197"/>
              <a:gd name="connsiteY1" fmla="*/ 0 h 6654179"/>
              <a:gd name="connsiteX2" fmla="*/ 3072982 w 3082197"/>
              <a:gd name="connsiteY2" fmla="*/ 6654179 h 6654179"/>
              <a:gd name="connsiteX3" fmla="*/ 579722 w 3082197"/>
              <a:gd name="connsiteY3" fmla="*/ 6643957 h 6654179"/>
              <a:gd name="connsiteX4" fmla="*/ 0 w 3082197"/>
              <a:gd name="connsiteY4" fmla="*/ 6064235 h 6654179"/>
              <a:gd name="connsiteX5" fmla="*/ 0 w 3082197"/>
              <a:gd name="connsiteY5" fmla="*/ 1656 h 6654179"/>
              <a:gd name="connsiteX0" fmla="*/ 0 w 3082197"/>
              <a:gd name="connsiteY0" fmla="*/ 1316107 h 6654179"/>
              <a:gd name="connsiteX1" fmla="*/ 3082144 w 3082197"/>
              <a:gd name="connsiteY1" fmla="*/ 0 h 6654179"/>
              <a:gd name="connsiteX2" fmla="*/ 3072982 w 3082197"/>
              <a:gd name="connsiteY2" fmla="*/ 6654179 h 6654179"/>
              <a:gd name="connsiteX3" fmla="*/ 579722 w 3082197"/>
              <a:gd name="connsiteY3" fmla="*/ 6643957 h 6654179"/>
              <a:gd name="connsiteX4" fmla="*/ 0 w 3082197"/>
              <a:gd name="connsiteY4" fmla="*/ 6064235 h 6654179"/>
              <a:gd name="connsiteX5" fmla="*/ 0 w 3082197"/>
              <a:gd name="connsiteY5" fmla="*/ 1316107 h 6654179"/>
              <a:gd name="connsiteX0" fmla="*/ 0 w 3082197"/>
              <a:gd name="connsiteY0" fmla="*/ 1657 h 5339729"/>
              <a:gd name="connsiteX1" fmla="*/ 3082144 w 3082197"/>
              <a:gd name="connsiteY1" fmla="*/ 0 h 5339729"/>
              <a:gd name="connsiteX2" fmla="*/ 3072982 w 3082197"/>
              <a:gd name="connsiteY2" fmla="*/ 5339729 h 5339729"/>
              <a:gd name="connsiteX3" fmla="*/ 579722 w 3082197"/>
              <a:gd name="connsiteY3" fmla="*/ 5329507 h 5339729"/>
              <a:gd name="connsiteX4" fmla="*/ 0 w 3082197"/>
              <a:gd name="connsiteY4" fmla="*/ 4749785 h 5339729"/>
              <a:gd name="connsiteX5" fmla="*/ 0 w 3082197"/>
              <a:gd name="connsiteY5" fmla="*/ 1657 h 5339729"/>
              <a:gd name="connsiteX0" fmla="*/ 0 w 3082197"/>
              <a:gd name="connsiteY0" fmla="*/ 2202416 h 5339729"/>
              <a:gd name="connsiteX1" fmla="*/ 3082144 w 3082197"/>
              <a:gd name="connsiteY1" fmla="*/ 0 h 5339729"/>
              <a:gd name="connsiteX2" fmla="*/ 3072982 w 3082197"/>
              <a:gd name="connsiteY2" fmla="*/ 5339729 h 5339729"/>
              <a:gd name="connsiteX3" fmla="*/ 579722 w 3082197"/>
              <a:gd name="connsiteY3" fmla="*/ 5329507 h 5339729"/>
              <a:gd name="connsiteX4" fmla="*/ 0 w 3082197"/>
              <a:gd name="connsiteY4" fmla="*/ 4749785 h 5339729"/>
              <a:gd name="connsiteX5" fmla="*/ 0 w 3082197"/>
              <a:gd name="connsiteY5" fmla="*/ 2202416 h 5339729"/>
              <a:gd name="connsiteX0" fmla="*/ 0 w 3082197"/>
              <a:gd name="connsiteY0" fmla="*/ 1656 h 3138969"/>
              <a:gd name="connsiteX1" fmla="*/ 3082144 w 3082197"/>
              <a:gd name="connsiteY1" fmla="*/ 0 h 3138969"/>
              <a:gd name="connsiteX2" fmla="*/ 3072982 w 3082197"/>
              <a:gd name="connsiteY2" fmla="*/ 3138969 h 3138969"/>
              <a:gd name="connsiteX3" fmla="*/ 579722 w 3082197"/>
              <a:gd name="connsiteY3" fmla="*/ 3128747 h 3138969"/>
              <a:gd name="connsiteX4" fmla="*/ 0 w 3082197"/>
              <a:gd name="connsiteY4" fmla="*/ 2549025 h 3138969"/>
              <a:gd name="connsiteX5" fmla="*/ 0 w 3082197"/>
              <a:gd name="connsiteY5" fmla="*/ 1656 h 3138969"/>
              <a:gd name="connsiteX0" fmla="*/ 0 w 3082145"/>
              <a:gd name="connsiteY0" fmla="*/ 1656 h 3150544"/>
              <a:gd name="connsiteX1" fmla="*/ 3082144 w 3082145"/>
              <a:gd name="connsiteY1" fmla="*/ 0 h 3150544"/>
              <a:gd name="connsiteX2" fmla="*/ 2772041 w 3082145"/>
              <a:gd name="connsiteY2" fmla="*/ 3150544 h 3150544"/>
              <a:gd name="connsiteX3" fmla="*/ 579722 w 3082145"/>
              <a:gd name="connsiteY3" fmla="*/ 3128747 h 3150544"/>
              <a:gd name="connsiteX4" fmla="*/ 0 w 3082145"/>
              <a:gd name="connsiteY4" fmla="*/ 2549025 h 3150544"/>
              <a:gd name="connsiteX5" fmla="*/ 0 w 3082145"/>
              <a:gd name="connsiteY5" fmla="*/ 1656 h 3150544"/>
              <a:gd name="connsiteX0" fmla="*/ 0 w 2772041"/>
              <a:gd name="connsiteY0" fmla="*/ 1656 h 3150544"/>
              <a:gd name="connsiteX1" fmla="*/ 2769627 w 2772041"/>
              <a:gd name="connsiteY1" fmla="*/ 0 h 3150544"/>
              <a:gd name="connsiteX2" fmla="*/ 2772041 w 2772041"/>
              <a:gd name="connsiteY2" fmla="*/ 3150544 h 3150544"/>
              <a:gd name="connsiteX3" fmla="*/ 579722 w 2772041"/>
              <a:gd name="connsiteY3" fmla="*/ 3128747 h 3150544"/>
              <a:gd name="connsiteX4" fmla="*/ 0 w 2772041"/>
              <a:gd name="connsiteY4" fmla="*/ 2549025 h 3150544"/>
              <a:gd name="connsiteX5" fmla="*/ 0 w 2772041"/>
              <a:gd name="connsiteY5" fmla="*/ 1656 h 3150544"/>
              <a:gd name="connsiteX0" fmla="*/ 0 w 2772041"/>
              <a:gd name="connsiteY0" fmla="*/ 1656 h 3138969"/>
              <a:gd name="connsiteX1" fmla="*/ 2769627 w 2772041"/>
              <a:gd name="connsiteY1" fmla="*/ 0 h 3138969"/>
              <a:gd name="connsiteX2" fmla="*/ 2772041 w 2772041"/>
              <a:gd name="connsiteY2" fmla="*/ 3138969 h 3138969"/>
              <a:gd name="connsiteX3" fmla="*/ 579722 w 2772041"/>
              <a:gd name="connsiteY3" fmla="*/ 3128747 h 3138969"/>
              <a:gd name="connsiteX4" fmla="*/ 0 w 2772041"/>
              <a:gd name="connsiteY4" fmla="*/ 2549025 h 3138969"/>
              <a:gd name="connsiteX5" fmla="*/ 0 w 2772041"/>
              <a:gd name="connsiteY5" fmla="*/ 1656 h 3138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2041" h="3138969">
                <a:moveTo>
                  <a:pt x="0" y="1656"/>
                </a:moveTo>
                <a:lnTo>
                  <a:pt x="2769627" y="0"/>
                </a:lnTo>
                <a:cubicBezTo>
                  <a:pt x="2770532" y="2146807"/>
                  <a:pt x="2771136" y="992162"/>
                  <a:pt x="2772041" y="3138969"/>
                </a:cubicBezTo>
                <a:lnTo>
                  <a:pt x="579722" y="3128747"/>
                </a:lnTo>
                <a:cubicBezTo>
                  <a:pt x="259550" y="3128747"/>
                  <a:pt x="0" y="2869197"/>
                  <a:pt x="0" y="2549025"/>
                </a:cubicBezTo>
                <a:lnTo>
                  <a:pt x="0" y="1656"/>
                </a:lnTo>
                <a:close/>
              </a:path>
            </a:pathLst>
          </a:custGeom>
          <a:noFill/>
        </p:spPr>
        <p:txBody>
          <a:bodyPr>
            <a:normAutofit/>
          </a:bodyPr>
          <a:lstStyle>
            <a:lvl1pPr marL="0" indent="0">
              <a:buNone/>
              <a:defRPr sz="1400">
                <a:solidFill>
                  <a:schemeClr val="tx1"/>
                </a:solidFill>
              </a:defRPr>
            </a:lvl1pPr>
          </a:lstStyle>
          <a:p>
            <a:r>
              <a:rPr lang="en-JP"/>
              <a:t>Insert Picture/Text Block</a:t>
            </a:r>
          </a:p>
        </p:txBody>
      </p:sp>
      <p:sp>
        <p:nvSpPr>
          <p:cNvPr id="25" name="Picture Placeholder 9">
            <a:extLst>
              <a:ext uri="{FF2B5EF4-FFF2-40B4-BE49-F238E27FC236}">
                <a16:creationId xmlns:a16="http://schemas.microsoft.com/office/drawing/2014/main" id="{E01CF285-75D7-154A-ACF2-9393FB0B38D0}"/>
              </a:ext>
            </a:extLst>
          </p:cNvPr>
          <p:cNvSpPr>
            <a:spLocks noGrp="1"/>
          </p:cNvSpPr>
          <p:nvPr>
            <p:ph type="pic" sz="quarter" idx="20" hasCustomPrompt="1"/>
          </p:nvPr>
        </p:nvSpPr>
        <p:spPr>
          <a:xfrm>
            <a:off x="6177615" y="3076286"/>
            <a:ext cx="2772041" cy="3138969"/>
          </a:xfrm>
          <a:custGeom>
            <a:avLst/>
            <a:gdLst>
              <a:gd name="connsiteX0" fmla="*/ 0 w 10888662"/>
              <a:gd name="connsiteY0" fmla="*/ 579722 h 6442075"/>
              <a:gd name="connsiteX1" fmla="*/ 579722 w 10888662"/>
              <a:gd name="connsiteY1" fmla="*/ 0 h 6442075"/>
              <a:gd name="connsiteX2" fmla="*/ 10308940 w 10888662"/>
              <a:gd name="connsiteY2" fmla="*/ 0 h 6442075"/>
              <a:gd name="connsiteX3" fmla="*/ 10888662 w 10888662"/>
              <a:gd name="connsiteY3" fmla="*/ 579722 h 6442075"/>
              <a:gd name="connsiteX4" fmla="*/ 10888662 w 10888662"/>
              <a:gd name="connsiteY4" fmla="*/ 5862353 h 6442075"/>
              <a:gd name="connsiteX5" fmla="*/ 10308940 w 10888662"/>
              <a:gd name="connsiteY5" fmla="*/ 6442075 h 6442075"/>
              <a:gd name="connsiteX6" fmla="*/ 579722 w 10888662"/>
              <a:gd name="connsiteY6" fmla="*/ 6442075 h 6442075"/>
              <a:gd name="connsiteX7" fmla="*/ 0 w 10888662"/>
              <a:gd name="connsiteY7" fmla="*/ 5862353 h 6442075"/>
              <a:gd name="connsiteX8" fmla="*/ 0 w 10888662"/>
              <a:gd name="connsiteY8" fmla="*/ 579722 h 6442075"/>
              <a:gd name="connsiteX0" fmla="*/ 0 w 10888662"/>
              <a:gd name="connsiteY0" fmla="*/ 659657 h 6522010"/>
              <a:gd name="connsiteX1" fmla="*/ 10308940 w 10888662"/>
              <a:gd name="connsiteY1" fmla="*/ 79935 h 6522010"/>
              <a:gd name="connsiteX2" fmla="*/ 10888662 w 10888662"/>
              <a:gd name="connsiteY2" fmla="*/ 659657 h 6522010"/>
              <a:gd name="connsiteX3" fmla="*/ 10888662 w 10888662"/>
              <a:gd name="connsiteY3" fmla="*/ 5942288 h 6522010"/>
              <a:gd name="connsiteX4" fmla="*/ 10308940 w 10888662"/>
              <a:gd name="connsiteY4" fmla="*/ 6522010 h 6522010"/>
              <a:gd name="connsiteX5" fmla="*/ 579722 w 10888662"/>
              <a:gd name="connsiteY5" fmla="*/ 6522010 h 6522010"/>
              <a:gd name="connsiteX6" fmla="*/ 0 w 10888662"/>
              <a:gd name="connsiteY6" fmla="*/ 5942288 h 6522010"/>
              <a:gd name="connsiteX7" fmla="*/ 0 w 10888662"/>
              <a:gd name="connsiteY7" fmla="*/ 659657 h 6522010"/>
              <a:gd name="connsiteX0" fmla="*/ 0 w 10888662"/>
              <a:gd name="connsiteY0" fmla="*/ 579722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579722 h 6442075"/>
              <a:gd name="connsiteX0" fmla="*/ 0 w 10888662"/>
              <a:gd name="connsiteY0" fmla="*/ 129257 h 6569679"/>
              <a:gd name="connsiteX1" fmla="*/ 10308940 w 10888662"/>
              <a:gd name="connsiteY1" fmla="*/ 127604 h 6569679"/>
              <a:gd name="connsiteX2" fmla="*/ 10888662 w 10888662"/>
              <a:gd name="connsiteY2" fmla="*/ 707326 h 6569679"/>
              <a:gd name="connsiteX3" fmla="*/ 10888662 w 10888662"/>
              <a:gd name="connsiteY3" fmla="*/ 5989957 h 6569679"/>
              <a:gd name="connsiteX4" fmla="*/ 10308940 w 10888662"/>
              <a:gd name="connsiteY4" fmla="*/ 6569679 h 6569679"/>
              <a:gd name="connsiteX5" fmla="*/ 579722 w 10888662"/>
              <a:gd name="connsiteY5" fmla="*/ 6569679 h 6569679"/>
              <a:gd name="connsiteX6" fmla="*/ 0 w 10888662"/>
              <a:gd name="connsiteY6" fmla="*/ 5989957 h 6569679"/>
              <a:gd name="connsiteX7" fmla="*/ 0 w 10888662"/>
              <a:gd name="connsiteY7" fmla="*/ 129257 h 6569679"/>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9657299 w 10888662"/>
              <a:gd name="connsiteY4" fmla="*/ 55276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522010"/>
              <a:gd name="connsiteX1" fmla="*/ 10308940 w 10888662"/>
              <a:gd name="connsiteY1" fmla="*/ 0 h 6522010"/>
              <a:gd name="connsiteX2" fmla="*/ 10888662 w 10888662"/>
              <a:gd name="connsiteY2" fmla="*/ 579722 h 6522010"/>
              <a:gd name="connsiteX3" fmla="*/ 10888662 w 10888662"/>
              <a:gd name="connsiteY3" fmla="*/ 5862353 h 6522010"/>
              <a:gd name="connsiteX4" fmla="*/ 579722 w 10888662"/>
              <a:gd name="connsiteY4" fmla="*/ 6442075 h 6522010"/>
              <a:gd name="connsiteX5" fmla="*/ 0 w 10888662"/>
              <a:gd name="connsiteY5" fmla="*/ 5862353 h 6522010"/>
              <a:gd name="connsiteX6" fmla="*/ 0 w 10888662"/>
              <a:gd name="connsiteY6" fmla="*/ 1653 h 6522010"/>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579722 w 10888662"/>
              <a:gd name="connsiteY4" fmla="*/ 6442075 h 6442075"/>
              <a:gd name="connsiteX5" fmla="*/ 0 w 10888662"/>
              <a:gd name="connsiteY5" fmla="*/ 5862353 h 6442075"/>
              <a:gd name="connsiteX6" fmla="*/ 0 w 10888662"/>
              <a:gd name="connsiteY6" fmla="*/ 1653 h 6442075"/>
              <a:gd name="connsiteX0" fmla="*/ 0 w 10888662"/>
              <a:gd name="connsiteY0" fmla="*/ 1653 h 6585432"/>
              <a:gd name="connsiteX1" fmla="*/ 10308940 w 10888662"/>
              <a:gd name="connsiteY1" fmla="*/ 0 h 6585432"/>
              <a:gd name="connsiteX2" fmla="*/ 10888662 w 10888662"/>
              <a:gd name="connsiteY2" fmla="*/ 579722 h 6585432"/>
              <a:gd name="connsiteX3" fmla="*/ 10878151 w 10888662"/>
              <a:gd name="connsiteY3" fmla="*/ 6461442 h 6585432"/>
              <a:gd name="connsiteX4" fmla="*/ 579722 w 10888662"/>
              <a:gd name="connsiteY4" fmla="*/ 6442075 h 6585432"/>
              <a:gd name="connsiteX5" fmla="*/ 0 w 10888662"/>
              <a:gd name="connsiteY5" fmla="*/ 5862353 h 6585432"/>
              <a:gd name="connsiteX6" fmla="*/ 0 w 10888662"/>
              <a:gd name="connsiteY6" fmla="*/ 1653 h 6585432"/>
              <a:gd name="connsiteX0" fmla="*/ 0 w 10888662"/>
              <a:gd name="connsiteY0" fmla="*/ 1653 h 6577502"/>
              <a:gd name="connsiteX1" fmla="*/ 10308940 w 10888662"/>
              <a:gd name="connsiteY1" fmla="*/ 0 h 6577502"/>
              <a:gd name="connsiteX2" fmla="*/ 10888662 w 10888662"/>
              <a:gd name="connsiteY2" fmla="*/ 579722 h 6577502"/>
              <a:gd name="connsiteX3" fmla="*/ 10878151 w 10888662"/>
              <a:gd name="connsiteY3" fmla="*/ 6450932 h 6577502"/>
              <a:gd name="connsiteX4" fmla="*/ 579722 w 10888662"/>
              <a:gd name="connsiteY4" fmla="*/ 6442075 h 6577502"/>
              <a:gd name="connsiteX5" fmla="*/ 0 w 10888662"/>
              <a:gd name="connsiteY5" fmla="*/ 5862353 h 6577502"/>
              <a:gd name="connsiteX6" fmla="*/ 0 w 10888662"/>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0888662"/>
              <a:gd name="connsiteY0" fmla="*/ 1653 h 6450932"/>
              <a:gd name="connsiteX1" fmla="*/ 10308940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0999550"/>
              <a:gd name="connsiteY0" fmla="*/ 1653 h 6450932"/>
              <a:gd name="connsiteX1" fmla="*/ 10844968 w 10999550"/>
              <a:gd name="connsiteY1" fmla="*/ 0 h 6450932"/>
              <a:gd name="connsiteX2" fmla="*/ 10888662 w 10999550"/>
              <a:gd name="connsiteY2" fmla="*/ 579722 h 6450932"/>
              <a:gd name="connsiteX3" fmla="*/ 10878151 w 10999550"/>
              <a:gd name="connsiteY3" fmla="*/ 6450932 h 6450932"/>
              <a:gd name="connsiteX4" fmla="*/ 579722 w 10999550"/>
              <a:gd name="connsiteY4" fmla="*/ 6442075 h 6450932"/>
              <a:gd name="connsiteX5" fmla="*/ 0 w 10999550"/>
              <a:gd name="connsiteY5" fmla="*/ 5862353 h 6450932"/>
              <a:gd name="connsiteX6" fmla="*/ 0 w 10999550"/>
              <a:gd name="connsiteY6" fmla="*/ 1653 h 6450932"/>
              <a:gd name="connsiteX0" fmla="*/ 0 w 11022020"/>
              <a:gd name="connsiteY0" fmla="*/ 1653 h 6450932"/>
              <a:gd name="connsiteX1" fmla="*/ 10876499 w 11022020"/>
              <a:gd name="connsiteY1" fmla="*/ 0 h 6450932"/>
              <a:gd name="connsiteX2" fmla="*/ 10888662 w 11022020"/>
              <a:gd name="connsiteY2" fmla="*/ 579722 h 6450932"/>
              <a:gd name="connsiteX3" fmla="*/ 10878151 w 11022020"/>
              <a:gd name="connsiteY3" fmla="*/ 6450932 h 6450932"/>
              <a:gd name="connsiteX4" fmla="*/ 579722 w 11022020"/>
              <a:gd name="connsiteY4" fmla="*/ 6442075 h 6450932"/>
              <a:gd name="connsiteX5" fmla="*/ 0 w 11022020"/>
              <a:gd name="connsiteY5" fmla="*/ 5862353 h 6450932"/>
              <a:gd name="connsiteX6" fmla="*/ 0 w 11022020"/>
              <a:gd name="connsiteY6" fmla="*/ 1653 h 6450932"/>
              <a:gd name="connsiteX0" fmla="*/ 0 w 10888662"/>
              <a:gd name="connsiteY0" fmla="*/ 1653 h 6450932"/>
              <a:gd name="connsiteX1" fmla="*/ 10876499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2200990"/>
              <a:gd name="connsiteY0" fmla="*/ 1653 h 6450932"/>
              <a:gd name="connsiteX1" fmla="*/ 10876499 w 12200990"/>
              <a:gd name="connsiteY1" fmla="*/ 0 h 6450932"/>
              <a:gd name="connsiteX2" fmla="*/ 10878151 w 12200990"/>
              <a:gd name="connsiteY2" fmla="*/ 6450932 h 6450932"/>
              <a:gd name="connsiteX3" fmla="*/ 579722 w 12200990"/>
              <a:gd name="connsiteY3" fmla="*/ 6442075 h 6450932"/>
              <a:gd name="connsiteX4" fmla="*/ 0 w 12200990"/>
              <a:gd name="connsiteY4" fmla="*/ 5862353 h 6450932"/>
              <a:gd name="connsiteX5" fmla="*/ 0 w 12200990"/>
              <a:gd name="connsiteY5" fmla="*/ 1653 h 6450932"/>
              <a:gd name="connsiteX0" fmla="*/ 0 w 11640630"/>
              <a:gd name="connsiteY0" fmla="*/ 1653 h 6450932"/>
              <a:gd name="connsiteX1" fmla="*/ 10876499 w 11640630"/>
              <a:gd name="connsiteY1" fmla="*/ 0 h 6450932"/>
              <a:gd name="connsiteX2" fmla="*/ 10878151 w 11640630"/>
              <a:gd name="connsiteY2" fmla="*/ 6450932 h 6450932"/>
              <a:gd name="connsiteX3" fmla="*/ 579722 w 11640630"/>
              <a:gd name="connsiteY3" fmla="*/ 6442075 h 6450932"/>
              <a:gd name="connsiteX4" fmla="*/ 0 w 11640630"/>
              <a:gd name="connsiteY4" fmla="*/ 5862353 h 6450932"/>
              <a:gd name="connsiteX5" fmla="*/ 0 w 11640630"/>
              <a:gd name="connsiteY5" fmla="*/ 1653 h 6450932"/>
              <a:gd name="connsiteX0" fmla="*/ 0 w 10878151"/>
              <a:gd name="connsiteY0" fmla="*/ 1653 h 6450932"/>
              <a:gd name="connsiteX1" fmla="*/ 10876499 w 10878151"/>
              <a:gd name="connsiteY1" fmla="*/ 0 h 6450932"/>
              <a:gd name="connsiteX2" fmla="*/ 10878151 w 10878151"/>
              <a:gd name="connsiteY2" fmla="*/ 6450932 h 6450932"/>
              <a:gd name="connsiteX3" fmla="*/ 579722 w 10878151"/>
              <a:gd name="connsiteY3" fmla="*/ 6442075 h 6450932"/>
              <a:gd name="connsiteX4" fmla="*/ 0 w 10878151"/>
              <a:gd name="connsiteY4" fmla="*/ 5862353 h 6450932"/>
              <a:gd name="connsiteX5" fmla="*/ 0 w 10878151"/>
              <a:gd name="connsiteY5" fmla="*/ 1653 h 6450932"/>
              <a:gd name="connsiteX0" fmla="*/ 0 w 11843451"/>
              <a:gd name="connsiteY0" fmla="*/ 1653 h 6450932"/>
              <a:gd name="connsiteX1" fmla="*/ 11843451 w 11843451"/>
              <a:gd name="connsiteY1" fmla="*/ 0 h 6450932"/>
              <a:gd name="connsiteX2" fmla="*/ 10878151 w 11843451"/>
              <a:gd name="connsiteY2" fmla="*/ 6450932 h 6450932"/>
              <a:gd name="connsiteX3" fmla="*/ 579722 w 11843451"/>
              <a:gd name="connsiteY3" fmla="*/ 6442075 h 6450932"/>
              <a:gd name="connsiteX4" fmla="*/ 0 w 11843451"/>
              <a:gd name="connsiteY4" fmla="*/ 5862353 h 6450932"/>
              <a:gd name="connsiteX5" fmla="*/ 0 w 11843451"/>
              <a:gd name="connsiteY5" fmla="*/ 1653 h 6450932"/>
              <a:gd name="connsiteX0" fmla="*/ 0 w 11855613"/>
              <a:gd name="connsiteY0" fmla="*/ 1653 h 6450932"/>
              <a:gd name="connsiteX1" fmla="*/ 11843451 w 11855613"/>
              <a:gd name="connsiteY1" fmla="*/ 0 h 6450932"/>
              <a:gd name="connsiteX2" fmla="*/ 11855613 w 11855613"/>
              <a:gd name="connsiteY2" fmla="*/ 6450932 h 6450932"/>
              <a:gd name="connsiteX3" fmla="*/ 579722 w 11855613"/>
              <a:gd name="connsiteY3" fmla="*/ 6442075 h 6450932"/>
              <a:gd name="connsiteX4" fmla="*/ 0 w 11855613"/>
              <a:gd name="connsiteY4" fmla="*/ 5862353 h 6450932"/>
              <a:gd name="connsiteX5" fmla="*/ 0 w 11855613"/>
              <a:gd name="connsiteY5" fmla="*/ 1653 h 6450932"/>
              <a:gd name="connsiteX0" fmla="*/ 0 w 11864472"/>
              <a:gd name="connsiteY0" fmla="*/ 1653 h 6450932"/>
              <a:gd name="connsiteX1" fmla="*/ 11864472 w 11864472"/>
              <a:gd name="connsiteY1" fmla="*/ 0 h 6450932"/>
              <a:gd name="connsiteX2" fmla="*/ 11855613 w 11864472"/>
              <a:gd name="connsiteY2" fmla="*/ 6450932 h 6450932"/>
              <a:gd name="connsiteX3" fmla="*/ 579722 w 11864472"/>
              <a:gd name="connsiteY3" fmla="*/ 6442075 h 6450932"/>
              <a:gd name="connsiteX4" fmla="*/ 0 w 11864472"/>
              <a:gd name="connsiteY4" fmla="*/ 5862353 h 6450932"/>
              <a:gd name="connsiteX5" fmla="*/ 0 w 11864472"/>
              <a:gd name="connsiteY5" fmla="*/ 1653 h 6450932"/>
              <a:gd name="connsiteX0" fmla="*/ 0 w 11864472"/>
              <a:gd name="connsiteY0" fmla="*/ 1653 h 6442075"/>
              <a:gd name="connsiteX1" fmla="*/ 11864472 w 11864472"/>
              <a:gd name="connsiteY1" fmla="*/ 0 h 6442075"/>
              <a:gd name="connsiteX2" fmla="*/ 11855613 w 11864472"/>
              <a:gd name="connsiteY2" fmla="*/ 6440421 h 6442075"/>
              <a:gd name="connsiteX3" fmla="*/ 579722 w 11864472"/>
              <a:gd name="connsiteY3" fmla="*/ 6442075 h 6442075"/>
              <a:gd name="connsiteX4" fmla="*/ 0 w 11864472"/>
              <a:gd name="connsiteY4" fmla="*/ 5862353 h 6442075"/>
              <a:gd name="connsiteX5" fmla="*/ 0 w 11864472"/>
              <a:gd name="connsiteY5" fmla="*/ 1653 h 6442075"/>
              <a:gd name="connsiteX0" fmla="*/ 0 w 11855613"/>
              <a:gd name="connsiteY0" fmla="*/ 1653 h 6442075"/>
              <a:gd name="connsiteX1" fmla="*/ 8912928 w 11855613"/>
              <a:gd name="connsiteY1" fmla="*/ 0 h 6442075"/>
              <a:gd name="connsiteX2" fmla="*/ 11855613 w 11855613"/>
              <a:gd name="connsiteY2" fmla="*/ 6440421 h 6442075"/>
              <a:gd name="connsiteX3" fmla="*/ 579722 w 11855613"/>
              <a:gd name="connsiteY3" fmla="*/ 6442075 h 6442075"/>
              <a:gd name="connsiteX4" fmla="*/ 0 w 11855613"/>
              <a:gd name="connsiteY4" fmla="*/ 5862353 h 6442075"/>
              <a:gd name="connsiteX5" fmla="*/ 0 w 11855613"/>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74032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36077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1615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15642"/>
              <a:gd name="connsiteY0" fmla="*/ 1653 h 6442075"/>
              <a:gd name="connsiteX1" fmla="*/ 8912928 w 8915642"/>
              <a:gd name="connsiteY1" fmla="*/ 0 h 6442075"/>
              <a:gd name="connsiteX2" fmla="*/ 8915642 w 8915642"/>
              <a:gd name="connsiteY2" fmla="*/ 6440421 h 6442075"/>
              <a:gd name="connsiteX3" fmla="*/ 579722 w 8915642"/>
              <a:gd name="connsiteY3" fmla="*/ 6442075 h 6442075"/>
              <a:gd name="connsiteX4" fmla="*/ 0 w 8915642"/>
              <a:gd name="connsiteY4" fmla="*/ 5862353 h 6442075"/>
              <a:gd name="connsiteX5" fmla="*/ 0 w 8915642"/>
              <a:gd name="connsiteY5" fmla="*/ 1653 h 6442075"/>
              <a:gd name="connsiteX0" fmla="*/ 0 w 8915642"/>
              <a:gd name="connsiteY0" fmla="*/ 1 h 6618553"/>
              <a:gd name="connsiteX1" fmla="*/ 8912928 w 8915642"/>
              <a:gd name="connsiteY1" fmla="*/ 176478 h 6618553"/>
              <a:gd name="connsiteX2" fmla="*/ 8915642 w 8915642"/>
              <a:gd name="connsiteY2" fmla="*/ 6616899 h 6618553"/>
              <a:gd name="connsiteX3" fmla="*/ 579722 w 8915642"/>
              <a:gd name="connsiteY3" fmla="*/ 6618553 h 6618553"/>
              <a:gd name="connsiteX4" fmla="*/ 0 w 8915642"/>
              <a:gd name="connsiteY4" fmla="*/ 6038831 h 6618553"/>
              <a:gd name="connsiteX5" fmla="*/ 0 w 8915642"/>
              <a:gd name="connsiteY5" fmla="*/ 1 h 6618553"/>
              <a:gd name="connsiteX0" fmla="*/ 0 w 8915642"/>
              <a:gd name="connsiteY0" fmla="*/ 25404 h 6643956"/>
              <a:gd name="connsiteX1" fmla="*/ 6015348 w 8915642"/>
              <a:gd name="connsiteY1" fmla="*/ 0 h 6643956"/>
              <a:gd name="connsiteX2" fmla="*/ 8915642 w 8915642"/>
              <a:gd name="connsiteY2" fmla="*/ 6642302 h 6643956"/>
              <a:gd name="connsiteX3" fmla="*/ 579722 w 8915642"/>
              <a:gd name="connsiteY3" fmla="*/ 6643956 h 6643956"/>
              <a:gd name="connsiteX4" fmla="*/ 0 w 8915642"/>
              <a:gd name="connsiteY4" fmla="*/ 6064234 h 6643956"/>
              <a:gd name="connsiteX5" fmla="*/ 0 w 8915642"/>
              <a:gd name="connsiteY5" fmla="*/ 25404 h 6643956"/>
              <a:gd name="connsiteX0" fmla="*/ 0 w 8915642"/>
              <a:gd name="connsiteY0" fmla="*/ 1653 h 6620205"/>
              <a:gd name="connsiteX1" fmla="*/ 6003473 w 8915642"/>
              <a:gd name="connsiteY1" fmla="*/ 0 h 6620205"/>
              <a:gd name="connsiteX2" fmla="*/ 8915642 w 8915642"/>
              <a:gd name="connsiteY2" fmla="*/ 6618551 h 6620205"/>
              <a:gd name="connsiteX3" fmla="*/ 579722 w 8915642"/>
              <a:gd name="connsiteY3" fmla="*/ 6620205 h 6620205"/>
              <a:gd name="connsiteX4" fmla="*/ 0 w 8915642"/>
              <a:gd name="connsiteY4" fmla="*/ 6040483 h 6620205"/>
              <a:gd name="connsiteX5" fmla="*/ 0 w 8915642"/>
              <a:gd name="connsiteY5" fmla="*/ 1653 h 6620205"/>
              <a:gd name="connsiteX0" fmla="*/ 0 w 8915642"/>
              <a:gd name="connsiteY0" fmla="*/ 96656 h 6620205"/>
              <a:gd name="connsiteX1" fmla="*/ 6003473 w 8915642"/>
              <a:gd name="connsiteY1" fmla="*/ 0 h 6620205"/>
              <a:gd name="connsiteX2" fmla="*/ 8915642 w 8915642"/>
              <a:gd name="connsiteY2" fmla="*/ 6618551 h 6620205"/>
              <a:gd name="connsiteX3" fmla="*/ 579722 w 8915642"/>
              <a:gd name="connsiteY3" fmla="*/ 6620205 h 6620205"/>
              <a:gd name="connsiteX4" fmla="*/ 0 w 8915642"/>
              <a:gd name="connsiteY4" fmla="*/ 6040483 h 6620205"/>
              <a:gd name="connsiteX5" fmla="*/ 0 w 8915642"/>
              <a:gd name="connsiteY5" fmla="*/ 96656 h 6620205"/>
              <a:gd name="connsiteX0" fmla="*/ 0 w 8915642"/>
              <a:gd name="connsiteY0" fmla="*/ 0 h 6642302"/>
              <a:gd name="connsiteX1" fmla="*/ 6003473 w 8915642"/>
              <a:gd name="connsiteY1" fmla="*/ 22097 h 6642302"/>
              <a:gd name="connsiteX2" fmla="*/ 8915642 w 8915642"/>
              <a:gd name="connsiteY2" fmla="*/ 6640648 h 6642302"/>
              <a:gd name="connsiteX3" fmla="*/ 579722 w 8915642"/>
              <a:gd name="connsiteY3" fmla="*/ 6642302 h 6642302"/>
              <a:gd name="connsiteX4" fmla="*/ 0 w 8915642"/>
              <a:gd name="connsiteY4" fmla="*/ 6062580 h 6642302"/>
              <a:gd name="connsiteX5" fmla="*/ 0 w 8915642"/>
              <a:gd name="connsiteY5" fmla="*/ 0 h 6642302"/>
              <a:gd name="connsiteX0" fmla="*/ 0 w 8915642"/>
              <a:gd name="connsiteY0" fmla="*/ 0 h 6642302"/>
              <a:gd name="connsiteX1" fmla="*/ 5932221 w 8915642"/>
              <a:gd name="connsiteY1" fmla="*/ 152725 h 6642302"/>
              <a:gd name="connsiteX2" fmla="*/ 8915642 w 8915642"/>
              <a:gd name="connsiteY2" fmla="*/ 6640648 h 6642302"/>
              <a:gd name="connsiteX3" fmla="*/ 579722 w 8915642"/>
              <a:gd name="connsiteY3" fmla="*/ 6642302 h 6642302"/>
              <a:gd name="connsiteX4" fmla="*/ 0 w 8915642"/>
              <a:gd name="connsiteY4" fmla="*/ 6062580 h 6642302"/>
              <a:gd name="connsiteX5" fmla="*/ 0 w 8915642"/>
              <a:gd name="connsiteY5" fmla="*/ 0 h 6642302"/>
              <a:gd name="connsiteX0" fmla="*/ 0 w 8915642"/>
              <a:gd name="connsiteY0" fmla="*/ 1654 h 6643956"/>
              <a:gd name="connsiteX1" fmla="*/ 6003473 w 8915642"/>
              <a:gd name="connsiteY1" fmla="*/ 0 h 6643956"/>
              <a:gd name="connsiteX2" fmla="*/ 8915642 w 8915642"/>
              <a:gd name="connsiteY2" fmla="*/ 6642302 h 6643956"/>
              <a:gd name="connsiteX3" fmla="*/ 579722 w 8915642"/>
              <a:gd name="connsiteY3" fmla="*/ 6643956 h 6643956"/>
              <a:gd name="connsiteX4" fmla="*/ 0 w 8915642"/>
              <a:gd name="connsiteY4" fmla="*/ 6064234 h 6643956"/>
              <a:gd name="connsiteX5" fmla="*/ 0 w 8915642"/>
              <a:gd name="connsiteY5" fmla="*/ 1654 h 6643956"/>
              <a:gd name="connsiteX0" fmla="*/ 0 w 6018062"/>
              <a:gd name="connsiteY0" fmla="*/ 1654 h 6654178"/>
              <a:gd name="connsiteX1" fmla="*/ 6003473 w 6018062"/>
              <a:gd name="connsiteY1" fmla="*/ 0 h 6654178"/>
              <a:gd name="connsiteX2" fmla="*/ 6018062 w 6018062"/>
              <a:gd name="connsiteY2" fmla="*/ 6654178 h 6654178"/>
              <a:gd name="connsiteX3" fmla="*/ 579722 w 6018062"/>
              <a:gd name="connsiteY3" fmla="*/ 6643956 h 6654178"/>
              <a:gd name="connsiteX4" fmla="*/ 0 w 6018062"/>
              <a:gd name="connsiteY4" fmla="*/ 6064234 h 6654178"/>
              <a:gd name="connsiteX5" fmla="*/ 0 w 6018062"/>
              <a:gd name="connsiteY5" fmla="*/ 1654 h 6654178"/>
              <a:gd name="connsiteX0" fmla="*/ 0 w 6018062"/>
              <a:gd name="connsiteY0" fmla="*/ 203535 h 6654178"/>
              <a:gd name="connsiteX1" fmla="*/ 6003473 w 6018062"/>
              <a:gd name="connsiteY1" fmla="*/ 0 h 6654178"/>
              <a:gd name="connsiteX2" fmla="*/ 6018062 w 6018062"/>
              <a:gd name="connsiteY2" fmla="*/ 6654178 h 6654178"/>
              <a:gd name="connsiteX3" fmla="*/ 579722 w 6018062"/>
              <a:gd name="connsiteY3" fmla="*/ 6643956 h 6654178"/>
              <a:gd name="connsiteX4" fmla="*/ 0 w 6018062"/>
              <a:gd name="connsiteY4" fmla="*/ 6064234 h 6654178"/>
              <a:gd name="connsiteX5" fmla="*/ 0 w 6018062"/>
              <a:gd name="connsiteY5" fmla="*/ 203535 h 6654178"/>
              <a:gd name="connsiteX0" fmla="*/ 0 w 6018062"/>
              <a:gd name="connsiteY0" fmla="*/ 1655 h 6452298"/>
              <a:gd name="connsiteX1" fmla="*/ 4055920 w 6018062"/>
              <a:gd name="connsiteY1" fmla="*/ 0 h 6452298"/>
              <a:gd name="connsiteX2" fmla="*/ 6018062 w 6018062"/>
              <a:gd name="connsiteY2" fmla="*/ 6452298 h 6452298"/>
              <a:gd name="connsiteX3" fmla="*/ 579722 w 6018062"/>
              <a:gd name="connsiteY3" fmla="*/ 6442076 h 6452298"/>
              <a:gd name="connsiteX4" fmla="*/ 0 w 6018062"/>
              <a:gd name="connsiteY4" fmla="*/ 5862354 h 6452298"/>
              <a:gd name="connsiteX5" fmla="*/ 0 w 6018062"/>
              <a:gd name="connsiteY5" fmla="*/ 1655 h 6452298"/>
              <a:gd name="connsiteX0" fmla="*/ 0 w 4055973"/>
              <a:gd name="connsiteY0" fmla="*/ 1655 h 6452298"/>
              <a:gd name="connsiteX1" fmla="*/ 4055920 w 4055973"/>
              <a:gd name="connsiteY1" fmla="*/ 0 h 6452298"/>
              <a:gd name="connsiteX2" fmla="*/ 4046758 w 4055973"/>
              <a:gd name="connsiteY2" fmla="*/ 6452298 h 6452298"/>
              <a:gd name="connsiteX3" fmla="*/ 579722 w 4055973"/>
              <a:gd name="connsiteY3" fmla="*/ 6442076 h 6452298"/>
              <a:gd name="connsiteX4" fmla="*/ 0 w 4055973"/>
              <a:gd name="connsiteY4" fmla="*/ 5862354 h 6452298"/>
              <a:gd name="connsiteX5" fmla="*/ 0 w 4055973"/>
              <a:gd name="connsiteY5" fmla="*/ 1655 h 6452298"/>
              <a:gd name="connsiteX0" fmla="*/ 0 w 4055973"/>
              <a:gd name="connsiteY0" fmla="*/ 0 h 6652523"/>
              <a:gd name="connsiteX1" fmla="*/ 4055920 w 4055973"/>
              <a:gd name="connsiteY1" fmla="*/ 200225 h 6652523"/>
              <a:gd name="connsiteX2" fmla="*/ 4046758 w 4055973"/>
              <a:gd name="connsiteY2" fmla="*/ 6652523 h 6652523"/>
              <a:gd name="connsiteX3" fmla="*/ 579722 w 4055973"/>
              <a:gd name="connsiteY3" fmla="*/ 6642301 h 6652523"/>
              <a:gd name="connsiteX4" fmla="*/ 0 w 4055973"/>
              <a:gd name="connsiteY4" fmla="*/ 6062579 h 6652523"/>
              <a:gd name="connsiteX5" fmla="*/ 0 w 4055973"/>
              <a:gd name="connsiteY5" fmla="*/ 0 h 6652523"/>
              <a:gd name="connsiteX0" fmla="*/ 0 w 4046758"/>
              <a:gd name="connsiteY0" fmla="*/ 0 h 6652523"/>
              <a:gd name="connsiteX1" fmla="*/ 4044045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1655 h 6654178"/>
              <a:gd name="connsiteX1" fmla="*/ 3082144 w 4046758"/>
              <a:gd name="connsiteY1" fmla="*/ 0 h 6654178"/>
              <a:gd name="connsiteX2" fmla="*/ 4046758 w 4046758"/>
              <a:gd name="connsiteY2" fmla="*/ 6654178 h 6654178"/>
              <a:gd name="connsiteX3" fmla="*/ 579722 w 4046758"/>
              <a:gd name="connsiteY3" fmla="*/ 6643956 h 6654178"/>
              <a:gd name="connsiteX4" fmla="*/ 0 w 4046758"/>
              <a:gd name="connsiteY4" fmla="*/ 6064234 h 6654178"/>
              <a:gd name="connsiteX5" fmla="*/ 0 w 4046758"/>
              <a:gd name="connsiteY5" fmla="*/ 1655 h 6654178"/>
              <a:gd name="connsiteX0" fmla="*/ 0 w 4046758"/>
              <a:gd name="connsiteY0" fmla="*/ 0 h 6652523"/>
              <a:gd name="connsiteX1" fmla="*/ 2975266 w 4046758"/>
              <a:gd name="connsiteY1" fmla="*/ 93348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0 h 6652523"/>
              <a:gd name="connsiteX1" fmla="*/ 3070268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0 h 6652523"/>
              <a:gd name="connsiteX1" fmla="*/ 3082144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3082197"/>
              <a:gd name="connsiteY0" fmla="*/ 0 h 6652523"/>
              <a:gd name="connsiteX1" fmla="*/ 3082144 w 3082197"/>
              <a:gd name="connsiteY1" fmla="*/ 10220 h 6652523"/>
              <a:gd name="connsiteX2" fmla="*/ 3072982 w 3082197"/>
              <a:gd name="connsiteY2" fmla="*/ 6652523 h 6652523"/>
              <a:gd name="connsiteX3" fmla="*/ 579722 w 3082197"/>
              <a:gd name="connsiteY3" fmla="*/ 6642301 h 6652523"/>
              <a:gd name="connsiteX4" fmla="*/ 0 w 3082197"/>
              <a:gd name="connsiteY4" fmla="*/ 6062579 h 6652523"/>
              <a:gd name="connsiteX5" fmla="*/ 0 w 3082197"/>
              <a:gd name="connsiteY5" fmla="*/ 0 h 6652523"/>
              <a:gd name="connsiteX0" fmla="*/ 0 w 3072982"/>
              <a:gd name="connsiteY0" fmla="*/ 0 h 6652523"/>
              <a:gd name="connsiteX1" fmla="*/ 3010892 w 3072982"/>
              <a:gd name="connsiteY1" fmla="*/ 164599 h 6652523"/>
              <a:gd name="connsiteX2" fmla="*/ 3072982 w 3072982"/>
              <a:gd name="connsiteY2" fmla="*/ 6652523 h 6652523"/>
              <a:gd name="connsiteX3" fmla="*/ 579722 w 3072982"/>
              <a:gd name="connsiteY3" fmla="*/ 6642301 h 6652523"/>
              <a:gd name="connsiteX4" fmla="*/ 0 w 3072982"/>
              <a:gd name="connsiteY4" fmla="*/ 6062579 h 6652523"/>
              <a:gd name="connsiteX5" fmla="*/ 0 w 3072982"/>
              <a:gd name="connsiteY5" fmla="*/ 0 h 6652523"/>
              <a:gd name="connsiteX0" fmla="*/ 0 w 3082197"/>
              <a:gd name="connsiteY0" fmla="*/ 1656 h 6654179"/>
              <a:gd name="connsiteX1" fmla="*/ 3082144 w 3082197"/>
              <a:gd name="connsiteY1" fmla="*/ 0 h 6654179"/>
              <a:gd name="connsiteX2" fmla="*/ 3072982 w 3082197"/>
              <a:gd name="connsiteY2" fmla="*/ 6654179 h 6654179"/>
              <a:gd name="connsiteX3" fmla="*/ 579722 w 3082197"/>
              <a:gd name="connsiteY3" fmla="*/ 6643957 h 6654179"/>
              <a:gd name="connsiteX4" fmla="*/ 0 w 3082197"/>
              <a:gd name="connsiteY4" fmla="*/ 6064235 h 6654179"/>
              <a:gd name="connsiteX5" fmla="*/ 0 w 3082197"/>
              <a:gd name="connsiteY5" fmla="*/ 1656 h 6654179"/>
              <a:gd name="connsiteX0" fmla="*/ 0 w 3082197"/>
              <a:gd name="connsiteY0" fmla="*/ 1316107 h 6654179"/>
              <a:gd name="connsiteX1" fmla="*/ 3082144 w 3082197"/>
              <a:gd name="connsiteY1" fmla="*/ 0 h 6654179"/>
              <a:gd name="connsiteX2" fmla="*/ 3072982 w 3082197"/>
              <a:gd name="connsiteY2" fmla="*/ 6654179 h 6654179"/>
              <a:gd name="connsiteX3" fmla="*/ 579722 w 3082197"/>
              <a:gd name="connsiteY3" fmla="*/ 6643957 h 6654179"/>
              <a:gd name="connsiteX4" fmla="*/ 0 w 3082197"/>
              <a:gd name="connsiteY4" fmla="*/ 6064235 h 6654179"/>
              <a:gd name="connsiteX5" fmla="*/ 0 w 3082197"/>
              <a:gd name="connsiteY5" fmla="*/ 1316107 h 6654179"/>
              <a:gd name="connsiteX0" fmla="*/ 0 w 3082197"/>
              <a:gd name="connsiteY0" fmla="*/ 1657 h 5339729"/>
              <a:gd name="connsiteX1" fmla="*/ 3082144 w 3082197"/>
              <a:gd name="connsiteY1" fmla="*/ 0 h 5339729"/>
              <a:gd name="connsiteX2" fmla="*/ 3072982 w 3082197"/>
              <a:gd name="connsiteY2" fmla="*/ 5339729 h 5339729"/>
              <a:gd name="connsiteX3" fmla="*/ 579722 w 3082197"/>
              <a:gd name="connsiteY3" fmla="*/ 5329507 h 5339729"/>
              <a:gd name="connsiteX4" fmla="*/ 0 w 3082197"/>
              <a:gd name="connsiteY4" fmla="*/ 4749785 h 5339729"/>
              <a:gd name="connsiteX5" fmla="*/ 0 w 3082197"/>
              <a:gd name="connsiteY5" fmla="*/ 1657 h 5339729"/>
              <a:gd name="connsiteX0" fmla="*/ 0 w 3082197"/>
              <a:gd name="connsiteY0" fmla="*/ 2202416 h 5339729"/>
              <a:gd name="connsiteX1" fmla="*/ 3082144 w 3082197"/>
              <a:gd name="connsiteY1" fmla="*/ 0 h 5339729"/>
              <a:gd name="connsiteX2" fmla="*/ 3072982 w 3082197"/>
              <a:gd name="connsiteY2" fmla="*/ 5339729 h 5339729"/>
              <a:gd name="connsiteX3" fmla="*/ 579722 w 3082197"/>
              <a:gd name="connsiteY3" fmla="*/ 5329507 h 5339729"/>
              <a:gd name="connsiteX4" fmla="*/ 0 w 3082197"/>
              <a:gd name="connsiteY4" fmla="*/ 4749785 h 5339729"/>
              <a:gd name="connsiteX5" fmla="*/ 0 w 3082197"/>
              <a:gd name="connsiteY5" fmla="*/ 2202416 h 5339729"/>
              <a:gd name="connsiteX0" fmla="*/ 0 w 3082197"/>
              <a:gd name="connsiteY0" fmla="*/ 1656 h 3138969"/>
              <a:gd name="connsiteX1" fmla="*/ 3082144 w 3082197"/>
              <a:gd name="connsiteY1" fmla="*/ 0 h 3138969"/>
              <a:gd name="connsiteX2" fmla="*/ 3072982 w 3082197"/>
              <a:gd name="connsiteY2" fmla="*/ 3138969 h 3138969"/>
              <a:gd name="connsiteX3" fmla="*/ 579722 w 3082197"/>
              <a:gd name="connsiteY3" fmla="*/ 3128747 h 3138969"/>
              <a:gd name="connsiteX4" fmla="*/ 0 w 3082197"/>
              <a:gd name="connsiteY4" fmla="*/ 2549025 h 3138969"/>
              <a:gd name="connsiteX5" fmla="*/ 0 w 3082197"/>
              <a:gd name="connsiteY5" fmla="*/ 1656 h 3138969"/>
              <a:gd name="connsiteX0" fmla="*/ 0 w 3082145"/>
              <a:gd name="connsiteY0" fmla="*/ 1656 h 3150544"/>
              <a:gd name="connsiteX1" fmla="*/ 3082144 w 3082145"/>
              <a:gd name="connsiteY1" fmla="*/ 0 h 3150544"/>
              <a:gd name="connsiteX2" fmla="*/ 2772041 w 3082145"/>
              <a:gd name="connsiteY2" fmla="*/ 3150544 h 3150544"/>
              <a:gd name="connsiteX3" fmla="*/ 579722 w 3082145"/>
              <a:gd name="connsiteY3" fmla="*/ 3128747 h 3150544"/>
              <a:gd name="connsiteX4" fmla="*/ 0 w 3082145"/>
              <a:gd name="connsiteY4" fmla="*/ 2549025 h 3150544"/>
              <a:gd name="connsiteX5" fmla="*/ 0 w 3082145"/>
              <a:gd name="connsiteY5" fmla="*/ 1656 h 3150544"/>
              <a:gd name="connsiteX0" fmla="*/ 0 w 2772041"/>
              <a:gd name="connsiteY0" fmla="*/ 1656 h 3150544"/>
              <a:gd name="connsiteX1" fmla="*/ 2769627 w 2772041"/>
              <a:gd name="connsiteY1" fmla="*/ 0 h 3150544"/>
              <a:gd name="connsiteX2" fmla="*/ 2772041 w 2772041"/>
              <a:gd name="connsiteY2" fmla="*/ 3150544 h 3150544"/>
              <a:gd name="connsiteX3" fmla="*/ 579722 w 2772041"/>
              <a:gd name="connsiteY3" fmla="*/ 3128747 h 3150544"/>
              <a:gd name="connsiteX4" fmla="*/ 0 w 2772041"/>
              <a:gd name="connsiteY4" fmla="*/ 2549025 h 3150544"/>
              <a:gd name="connsiteX5" fmla="*/ 0 w 2772041"/>
              <a:gd name="connsiteY5" fmla="*/ 1656 h 3150544"/>
              <a:gd name="connsiteX0" fmla="*/ 0 w 2772041"/>
              <a:gd name="connsiteY0" fmla="*/ 1656 h 3138969"/>
              <a:gd name="connsiteX1" fmla="*/ 2769627 w 2772041"/>
              <a:gd name="connsiteY1" fmla="*/ 0 h 3138969"/>
              <a:gd name="connsiteX2" fmla="*/ 2772041 w 2772041"/>
              <a:gd name="connsiteY2" fmla="*/ 3138969 h 3138969"/>
              <a:gd name="connsiteX3" fmla="*/ 579722 w 2772041"/>
              <a:gd name="connsiteY3" fmla="*/ 3128747 h 3138969"/>
              <a:gd name="connsiteX4" fmla="*/ 0 w 2772041"/>
              <a:gd name="connsiteY4" fmla="*/ 2549025 h 3138969"/>
              <a:gd name="connsiteX5" fmla="*/ 0 w 2772041"/>
              <a:gd name="connsiteY5" fmla="*/ 1656 h 3138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2041" h="3138969">
                <a:moveTo>
                  <a:pt x="0" y="1656"/>
                </a:moveTo>
                <a:lnTo>
                  <a:pt x="2769627" y="0"/>
                </a:lnTo>
                <a:cubicBezTo>
                  <a:pt x="2770532" y="2146807"/>
                  <a:pt x="2771136" y="992162"/>
                  <a:pt x="2772041" y="3138969"/>
                </a:cubicBezTo>
                <a:lnTo>
                  <a:pt x="579722" y="3128747"/>
                </a:lnTo>
                <a:cubicBezTo>
                  <a:pt x="259550" y="3128747"/>
                  <a:pt x="0" y="2869197"/>
                  <a:pt x="0" y="2549025"/>
                </a:cubicBezTo>
                <a:lnTo>
                  <a:pt x="0" y="1656"/>
                </a:lnTo>
                <a:close/>
              </a:path>
            </a:pathLst>
          </a:custGeom>
          <a:noFill/>
        </p:spPr>
        <p:txBody>
          <a:bodyPr>
            <a:normAutofit/>
          </a:bodyPr>
          <a:lstStyle>
            <a:lvl1pPr marL="0" indent="0">
              <a:buNone/>
              <a:defRPr sz="1400">
                <a:solidFill>
                  <a:schemeClr val="tx1"/>
                </a:solidFill>
              </a:defRPr>
            </a:lvl1pPr>
          </a:lstStyle>
          <a:p>
            <a:r>
              <a:rPr lang="en-US"/>
              <a:t>Insert Picture/Text Block</a:t>
            </a:r>
          </a:p>
          <a:p>
            <a:endParaRPr lang="en-US"/>
          </a:p>
          <a:p>
            <a:endParaRPr lang="en-JP"/>
          </a:p>
        </p:txBody>
      </p:sp>
      <p:pic>
        <p:nvPicPr>
          <p:cNvPr id="14" name="Picture 13" descr="Takeda">
            <a:extLst>
              <a:ext uri="{FF2B5EF4-FFF2-40B4-BE49-F238E27FC236}">
                <a16:creationId xmlns:a16="http://schemas.microsoft.com/office/drawing/2014/main" id="{47FD433F-488A-9D46-BDF0-87D0F082AE4B}"/>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46331" y="-1615"/>
            <a:ext cx="1696232" cy="940780"/>
          </a:xfrm>
          <a:prstGeom prst="rect">
            <a:avLst/>
          </a:prstGeom>
        </p:spPr>
      </p:pic>
      <p:sp>
        <p:nvSpPr>
          <p:cNvPr id="18" name="タイトル プレースホルダ 1">
            <a:extLst>
              <a:ext uri="{FF2B5EF4-FFF2-40B4-BE49-F238E27FC236}">
                <a16:creationId xmlns:a16="http://schemas.microsoft.com/office/drawing/2014/main" id="{4FBB8310-69E6-7C4E-A4B1-C022B6FEE2CE}"/>
              </a:ext>
            </a:extLst>
          </p:cNvPr>
          <p:cNvSpPr>
            <a:spLocks noGrp="1"/>
          </p:cNvSpPr>
          <p:nvPr>
            <p:ph type="title" hasCustomPrompt="1"/>
          </p:nvPr>
        </p:nvSpPr>
        <p:spPr>
          <a:xfrm>
            <a:off x="606078" y="161605"/>
            <a:ext cx="9940253" cy="685801"/>
          </a:xfrm>
          <a:prstGeom prst="rect">
            <a:avLst/>
          </a:prstGeom>
        </p:spPr>
        <p:txBody>
          <a:bodyPr vert="horz" lIns="0" tIns="0" rIns="0" bIns="0" rtlCol="0" anchor="ctr">
            <a:normAutofit/>
          </a:bodyPr>
          <a:lstStyle/>
          <a:p>
            <a:r>
              <a:rPr kumimoji="1" lang="en-US" altLang="ja-JP"/>
              <a:t>Click to add title</a:t>
            </a:r>
            <a:endParaRPr kumimoji="1" lang="ja-JP" altLang="en-US"/>
          </a:p>
        </p:txBody>
      </p:sp>
      <p:sp>
        <p:nvSpPr>
          <p:cNvPr id="17" name="Footer Placeholder 8">
            <a:extLst>
              <a:ext uri="{FF2B5EF4-FFF2-40B4-BE49-F238E27FC236}">
                <a16:creationId xmlns:a16="http://schemas.microsoft.com/office/drawing/2014/main" id="{4EF39473-C435-3C4E-9C7B-048D52C3CC92}"/>
              </a:ext>
            </a:extLst>
          </p:cNvPr>
          <p:cNvSpPr>
            <a:spLocks noGrp="1"/>
          </p:cNvSpPr>
          <p:nvPr>
            <p:ph type="ftr" sz="quarter" idx="3"/>
          </p:nvPr>
        </p:nvSpPr>
        <p:spPr>
          <a:xfrm>
            <a:off x="7766050" y="6523001"/>
            <a:ext cx="4114800" cy="196131"/>
          </a:xfrm>
          <a:prstGeom prst="rect">
            <a:avLst/>
          </a:prstGeom>
        </p:spPr>
        <p:txBody>
          <a:bodyPr vert="horz" lIns="91440" tIns="45720" rIns="0" bIns="45720" rtlCol="0" anchor="ctr"/>
          <a:lstStyle>
            <a:lvl1pPr algn="r">
              <a:defRPr sz="800" b="1" spc="100" baseline="0">
                <a:solidFill>
                  <a:schemeClr val="tx1"/>
                </a:solidFill>
              </a:defRPr>
            </a:lvl1pPr>
          </a:lstStyle>
          <a:p>
            <a:r>
              <a:rPr lang="en-US"/>
              <a:t> </a:t>
            </a:r>
            <a:endParaRPr lang="en-JP"/>
          </a:p>
        </p:txBody>
      </p:sp>
      <p:sp>
        <p:nvSpPr>
          <p:cNvPr id="21" name="Rectangle 20">
            <a:extLst>
              <a:ext uri="{FF2B5EF4-FFF2-40B4-BE49-F238E27FC236}">
                <a16:creationId xmlns:a16="http://schemas.microsoft.com/office/drawing/2014/main" id="{0FEF9AE6-D84E-9F43-9506-6676EC51B210}"/>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a:solidFill>
                <a:schemeClr val="accent1"/>
              </a:solidFill>
            </a:endParaRPr>
          </a:p>
        </p:txBody>
      </p:sp>
      <p:sp>
        <p:nvSpPr>
          <p:cNvPr id="28" name="スライド番号プレースホルダ 5">
            <a:extLst>
              <a:ext uri="{FF2B5EF4-FFF2-40B4-BE49-F238E27FC236}">
                <a16:creationId xmlns:a16="http://schemas.microsoft.com/office/drawing/2014/main" id="{F964ADE6-9B0D-EC45-959C-FEEA5CDDFBA9}"/>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9" name="Text Placeholder 6">
            <a:extLst>
              <a:ext uri="{FF2B5EF4-FFF2-40B4-BE49-F238E27FC236}">
                <a16:creationId xmlns:a16="http://schemas.microsoft.com/office/drawing/2014/main" id="{870D8562-3CE7-7044-9BB0-2068A81BF5CB}"/>
              </a:ext>
            </a:extLst>
          </p:cNvPr>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Private and confidential. For internal use only.</a:t>
            </a:r>
          </a:p>
        </p:txBody>
      </p:sp>
      <p:sp>
        <p:nvSpPr>
          <p:cNvPr id="19" name="Text Placeholder 2">
            <a:extLst>
              <a:ext uri="{FF2B5EF4-FFF2-40B4-BE49-F238E27FC236}">
                <a16:creationId xmlns:a16="http://schemas.microsoft.com/office/drawing/2014/main" id="{099C450B-0755-7D4A-9672-E700D6F2E50A}"/>
              </a:ext>
            </a:extLst>
          </p:cNvPr>
          <p:cNvSpPr>
            <a:spLocks noGrp="1"/>
          </p:cNvSpPr>
          <p:nvPr>
            <p:ph type="body" sz="quarter" idx="21" hasCustomPrompt="1"/>
          </p:nvPr>
        </p:nvSpPr>
        <p:spPr>
          <a:xfrm>
            <a:off x="311150" y="1491373"/>
            <a:ext cx="11569699" cy="1464957"/>
          </a:xfrm>
        </p:spPr>
        <p:txBody>
          <a:bodyPr tIns="0" rIns="0" bIns="0" numCol="1" spcCol="126000">
            <a:noAutofit/>
          </a:bodyPr>
          <a:lstStyle>
            <a:lvl1pPr marL="0" indent="0">
              <a:lnSpc>
                <a:spcPct val="100000"/>
              </a:lnSpc>
              <a:spcBef>
                <a:spcPts val="0"/>
              </a:spcBef>
              <a:buNone/>
              <a:defRPr sz="1600" b="1"/>
            </a:lvl1pPr>
            <a:lvl2pPr marL="457068" indent="0">
              <a:buNone/>
              <a:defRPr sz="1800" b="1"/>
            </a:lvl2pPr>
            <a:lvl3pPr marL="914149" indent="0">
              <a:buNone/>
              <a:defRPr sz="1800" b="1"/>
            </a:lvl3pPr>
            <a:lvl4pPr marL="1371219" indent="0">
              <a:buNone/>
              <a:defRPr sz="1800" b="1"/>
            </a:lvl4pPr>
            <a:lvl5pPr marL="1828290" indent="0">
              <a:buNone/>
              <a:defRPr sz="1800" b="1"/>
            </a:lvl5pPr>
          </a:lstStyle>
          <a:p>
            <a:pPr lvl="0"/>
            <a:r>
              <a:rPr lang="en-US"/>
              <a:t>This is your Primary Text.</a:t>
            </a:r>
            <a:endParaRPr lang="en-JP"/>
          </a:p>
        </p:txBody>
      </p:sp>
      <p:sp>
        <p:nvSpPr>
          <p:cNvPr id="20" name="Text Placeholder 6">
            <a:extLst>
              <a:ext uri="{FF2B5EF4-FFF2-40B4-BE49-F238E27FC236}">
                <a16:creationId xmlns:a16="http://schemas.microsoft.com/office/drawing/2014/main" id="{705B1BEB-AC9F-9643-A446-ABE1DDB96144}"/>
              </a:ext>
            </a:extLst>
          </p:cNvPr>
          <p:cNvSpPr>
            <a:spLocks noGrp="1"/>
          </p:cNvSpPr>
          <p:nvPr>
            <p:ph type="body" sz="quarter" idx="22" hasCustomPrompt="1"/>
          </p:nvPr>
        </p:nvSpPr>
        <p:spPr>
          <a:xfrm>
            <a:off x="311149" y="1093767"/>
            <a:ext cx="11569699" cy="272786"/>
          </a:xfrm>
        </p:spPr>
        <p:txBody>
          <a:bodyPr tIns="0" rIns="0" bIns="0" numCol="1">
            <a:noAutofit/>
          </a:bodyPr>
          <a:lstStyle>
            <a:lvl1pPr marL="0" indent="0">
              <a:lnSpc>
                <a:spcPct val="100000"/>
              </a:lnSpc>
              <a:spcBef>
                <a:spcPts val="0"/>
              </a:spcBef>
              <a:spcAft>
                <a:spcPts val="600"/>
              </a:spcAft>
              <a:buNone/>
              <a:defRPr sz="20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Primary Title</a:t>
            </a:r>
          </a:p>
        </p:txBody>
      </p:sp>
    </p:spTree>
    <p:extLst>
      <p:ext uri="{BB962C8B-B14F-4D97-AF65-F5344CB8AC3E}">
        <p14:creationId xmlns:p14="http://schemas.microsoft.com/office/powerpoint/2010/main" val="3734553717"/>
      </p:ext>
    </p:extLst>
  </p:cSld>
  <p:clrMapOvr>
    <a:masterClrMapping/>
  </p:clrMapOvr>
  <p:transition spd="slow">
    <p:push dir="u"/>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Advanced Chart Full Width">
    <p:spTree>
      <p:nvGrpSpPr>
        <p:cNvPr id="1" name=""/>
        <p:cNvGrpSpPr/>
        <p:nvPr/>
      </p:nvGrpSpPr>
      <p:grpSpPr>
        <a:xfrm>
          <a:off x="0" y="0"/>
          <a:ext cx="0" cy="0"/>
          <a:chOff x="0" y="0"/>
          <a:chExt cx="0" cy="0"/>
        </a:xfrm>
      </p:grpSpPr>
      <p:sp>
        <p:nvSpPr>
          <p:cNvPr id="8" name="Chart Placeholder 7">
            <a:extLst>
              <a:ext uri="{FF2B5EF4-FFF2-40B4-BE49-F238E27FC236}">
                <a16:creationId xmlns:a16="http://schemas.microsoft.com/office/drawing/2014/main" id="{A6D4E593-FDCC-D14E-9C5E-5F309E415C26}"/>
              </a:ext>
            </a:extLst>
          </p:cNvPr>
          <p:cNvSpPr>
            <a:spLocks noGrp="1"/>
          </p:cNvSpPr>
          <p:nvPr>
            <p:ph type="chart" sz="quarter" idx="21" hasCustomPrompt="1"/>
          </p:nvPr>
        </p:nvSpPr>
        <p:spPr>
          <a:xfrm>
            <a:off x="309223" y="3076286"/>
            <a:ext cx="11571628" cy="3340389"/>
          </a:xfrm>
          <a:prstGeom prst="rect">
            <a:avLst/>
          </a:prstGeom>
        </p:spPr>
        <p:txBody>
          <a:bodyPr>
            <a:normAutofit/>
          </a:bodyPr>
          <a:lstStyle>
            <a:lvl1pPr marL="0" indent="0">
              <a:buNone/>
              <a:defRPr sz="1400"/>
            </a:lvl1pPr>
          </a:lstStyle>
          <a:p>
            <a:r>
              <a:rPr lang="en-JP"/>
              <a:t>Insert Chart</a:t>
            </a:r>
          </a:p>
        </p:txBody>
      </p:sp>
      <p:pic>
        <p:nvPicPr>
          <p:cNvPr id="11" name="Picture 10" descr="Takeda">
            <a:extLst>
              <a:ext uri="{FF2B5EF4-FFF2-40B4-BE49-F238E27FC236}">
                <a16:creationId xmlns:a16="http://schemas.microsoft.com/office/drawing/2014/main" id="{7EBA21A8-EE4B-6E4B-A794-3FEA5B15990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46331" y="-1615"/>
            <a:ext cx="1696232" cy="940780"/>
          </a:xfrm>
          <a:prstGeom prst="rect">
            <a:avLst/>
          </a:prstGeom>
        </p:spPr>
      </p:pic>
      <p:sp>
        <p:nvSpPr>
          <p:cNvPr id="12" name="タイトル プレースホルダ 1">
            <a:extLst>
              <a:ext uri="{FF2B5EF4-FFF2-40B4-BE49-F238E27FC236}">
                <a16:creationId xmlns:a16="http://schemas.microsoft.com/office/drawing/2014/main" id="{75E45CD2-2EBD-AE47-837E-9F752C565F73}"/>
              </a:ext>
            </a:extLst>
          </p:cNvPr>
          <p:cNvSpPr>
            <a:spLocks noGrp="1"/>
          </p:cNvSpPr>
          <p:nvPr>
            <p:ph type="title" hasCustomPrompt="1"/>
          </p:nvPr>
        </p:nvSpPr>
        <p:spPr>
          <a:xfrm>
            <a:off x="606078" y="161605"/>
            <a:ext cx="9940253" cy="685801"/>
          </a:xfrm>
          <a:prstGeom prst="rect">
            <a:avLst/>
          </a:prstGeom>
        </p:spPr>
        <p:txBody>
          <a:bodyPr vert="horz" lIns="0" tIns="0" rIns="0" bIns="0" rtlCol="0" anchor="ctr">
            <a:normAutofit/>
          </a:bodyPr>
          <a:lstStyle/>
          <a:p>
            <a:r>
              <a:rPr kumimoji="1" lang="en-US" altLang="ja-JP"/>
              <a:t>Click to add title</a:t>
            </a:r>
            <a:endParaRPr kumimoji="1" lang="ja-JP" altLang="en-US"/>
          </a:p>
        </p:txBody>
      </p:sp>
      <p:sp>
        <p:nvSpPr>
          <p:cNvPr id="17" name="Footer Placeholder 8">
            <a:extLst>
              <a:ext uri="{FF2B5EF4-FFF2-40B4-BE49-F238E27FC236}">
                <a16:creationId xmlns:a16="http://schemas.microsoft.com/office/drawing/2014/main" id="{2DC26CE8-1DEF-EE42-861C-B0406E8DC23D}"/>
              </a:ext>
            </a:extLst>
          </p:cNvPr>
          <p:cNvSpPr>
            <a:spLocks noGrp="1"/>
          </p:cNvSpPr>
          <p:nvPr>
            <p:ph type="ftr" sz="quarter" idx="3"/>
          </p:nvPr>
        </p:nvSpPr>
        <p:spPr>
          <a:xfrm>
            <a:off x="7766050" y="6523001"/>
            <a:ext cx="4114800" cy="196131"/>
          </a:xfrm>
          <a:prstGeom prst="rect">
            <a:avLst/>
          </a:prstGeom>
        </p:spPr>
        <p:txBody>
          <a:bodyPr vert="horz" lIns="91440" tIns="45720" rIns="0" bIns="45720" rtlCol="0" anchor="ctr"/>
          <a:lstStyle>
            <a:lvl1pPr algn="r">
              <a:defRPr sz="800" b="1" spc="100" baseline="0">
                <a:solidFill>
                  <a:schemeClr val="tx1"/>
                </a:solidFill>
              </a:defRPr>
            </a:lvl1pPr>
          </a:lstStyle>
          <a:p>
            <a:r>
              <a:rPr lang="en-JP"/>
              <a:t> </a:t>
            </a:r>
          </a:p>
        </p:txBody>
      </p:sp>
      <p:sp>
        <p:nvSpPr>
          <p:cNvPr id="20" name="Rectangle 19">
            <a:extLst>
              <a:ext uri="{FF2B5EF4-FFF2-40B4-BE49-F238E27FC236}">
                <a16:creationId xmlns:a16="http://schemas.microsoft.com/office/drawing/2014/main" id="{4436966D-3DF0-4D41-9D26-4860D147F807}"/>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a:solidFill>
                <a:schemeClr val="accent1"/>
              </a:solidFill>
            </a:endParaRPr>
          </a:p>
        </p:txBody>
      </p:sp>
      <p:sp>
        <p:nvSpPr>
          <p:cNvPr id="23" name="スライド番号プレースホルダ 5">
            <a:extLst>
              <a:ext uri="{FF2B5EF4-FFF2-40B4-BE49-F238E27FC236}">
                <a16:creationId xmlns:a16="http://schemas.microsoft.com/office/drawing/2014/main" id="{600920FB-2D44-F645-865D-89FFECB09573}"/>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4" name="Text Placeholder 6">
            <a:extLst>
              <a:ext uri="{FF2B5EF4-FFF2-40B4-BE49-F238E27FC236}">
                <a16:creationId xmlns:a16="http://schemas.microsoft.com/office/drawing/2014/main" id="{07DE8F7E-1418-1C4C-A62B-2385714992F7}"/>
              </a:ext>
            </a:extLst>
          </p:cNvPr>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Private and confidential. For internal use only.</a:t>
            </a:r>
          </a:p>
        </p:txBody>
      </p:sp>
      <p:sp>
        <p:nvSpPr>
          <p:cNvPr id="14" name="Text Placeholder 2">
            <a:extLst>
              <a:ext uri="{FF2B5EF4-FFF2-40B4-BE49-F238E27FC236}">
                <a16:creationId xmlns:a16="http://schemas.microsoft.com/office/drawing/2014/main" id="{628A960D-6A45-6744-9BDB-7070B443CC64}"/>
              </a:ext>
            </a:extLst>
          </p:cNvPr>
          <p:cNvSpPr>
            <a:spLocks noGrp="1"/>
          </p:cNvSpPr>
          <p:nvPr>
            <p:ph type="body" sz="quarter" idx="20" hasCustomPrompt="1"/>
          </p:nvPr>
        </p:nvSpPr>
        <p:spPr>
          <a:xfrm>
            <a:off x="311150" y="1491373"/>
            <a:ext cx="11569699" cy="1464957"/>
          </a:xfrm>
        </p:spPr>
        <p:txBody>
          <a:bodyPr tIns="0" rIns="0" bIns="0" numCol="1" spcCol="126000">
            <a:noAutofit/>
          </a:bodyPr>
          <a:lstStyle>
            <a:lvl1pPr marL="0" indent="0">
              <a:lnSpc>
                <a:spcPct val="100000"/>
              </a:lnSpc>
              <a:spcBef>
                <a:spcPts val="0"/>
              </a:spcBef>
              <a:buNone/>
              <a:defRPr sz="1600" b="1"/>
            </a:lvl1pPr>
            <a:lvl2pPr marL="457068" indent="0">
              <a:buNone/>
              <a:defRPr sz="1800" b="1"/>
            </a:lvl2pPr>
            <a:lvl3pPr marL="914149" indent="0">
              <a:buNone/>
              <a:defRPr sz="1800" b="1"/>
            </a:lvl3pPr>
            <a:lvl4pPr marL="1371219" indent="0">
              <a:buNone/>
              <a:defRPr sz="1800" b="1"/>
            </a:lvl4pPr>
            <a:lvl5pPr marL="1828290" indent="0">
              <a:buNone/>
              <a:defRPr sz="1800" b="1"/>
            </a:lvl5pPr>
          </a:lstStyle>
          <a:p>
            <a:pPr lvl="0"/>
            <a:r>
              <a:rPr lang="en-US"/>
              <a:t>This is your Primary Text.</a:t>
            </a:r>
            <a:endParaRPr lang="en-JP"/>
          </a:p>
        </p:txBody>
      </p:sp>
      <p:sp>
        <p:nvSpPr>
          <p:cNvPr id="15" name="Text Placeholder 6">
            <a:extLst>
              <a:ext uri="{FF2B5EF4-FFF2-40B4-BE49-F238E27FC236}">
                <a16:creationId xmlns:a16="http://schemas.microsoft.com/office/drawing/2014/main" id="{21493179-5EA4-604B-A9DF-BDA818F0166A}"/>
              </a:ext>
            </a:extLst>
          </p:cNvPr>
          <p:cNvSpPr>
            <a:spLocks noGrp="1"/>
          </p:cNvSpPr>
          <p:nvPr>
            <p:ph type="body" sz="quarter" idx="22" hasCustomPrompt="1"/>
          </p:nvPr>
        </p:nvSpPr>
        <p:spPr>
          <a:xfrm>
            <a:off x="311149" y="1093767"/>
            <a:ext cx="11569699" cy="272786"/>
          </a:xfrm>
        </p:spPr>
        <p:txBody>
          <a:bodyPr tIns="0" rIns="0" bIns="0" numCol="1">
            <a:noAutofit/>
          </a:bodyPr>
          <a:lstStyle>
            <a:lvl1pPr marL="0" indent="0">
              <a:lnSpc>
                <a:spcPct val="100000"/>
              </a:lnSpc>
              <a:spcBef>
                <a:spcPts val="0"/>
              </a:spcBef>
              <a:spcAft>
                <a:spcPts val="600"/>
              </a:spcAft>
              <a:buNone/>
              <a:defRPr sz="20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Primary Title</a:t>
            </a:r>
          </a:p>
        </p:txBody>
      </p:sp>
    </p:spTree>
    <p:extLst>
      <p:ext uri="{BB962C8B-B14F-4D97-AF65-F5344CB8AC3E}">
        <p14:creationId xmlns:p14="http://schemas.microsoft.com/office/powerpoint/2010/main" val="2017281550"/>
      </p:ext>
    </p:extLst>
  </p:cSld>
  <p:clrMapOvr>
    <a:masterClrMapping/>
  </p:clrMapOvr>
  <p:transition spd="slow">
    <p:push dir="u"/>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Advanced Chart 2/3">
    <p:spTree>
      <p:nvGrpSpPr>
        <p:cNvPr id="1" name=""/>
        <p:cNvGrpSpPr/>
        <p:nvPr/>
      </p:nvGrpSpPr>
      <p:grpSpPr>
        <a:xfrm>
          <a:off x="0" y="0"/>
          <a:ext cx="0" cy="0"/>
          <a:chOff x="0" y="0"/>
          <a:chExt cx="0" cy="0"/>
        </a:xfrm>
      </p:grpSpPr>
      <p:sp>
        <p:nvSpPr>
          <p:cNvPr id="8" name="Chart Placeholder 7">
            <a:extLst>
              <a:ext uri="{FF2B5EF4-FFF2-40B4-BE49-F238E27FC236}">
                <a16:creationId xmlns:a16="http://schemas.microsoft.com/office/drawing/2014/main" id="{A6D4E593-FDCC-D14E-9C5E-5F309E415C26}"/>
              </a:ext>
            </a:extLst>
          </p:cNvPr>
          <p:cNvSpPr>
            <a:spLocks noGrp="1"/>
          </p:cNvSpPr>
          <p:nvPr>
            <p:ph type="chart" sz="quarter" idx="21" hasCustomPrompt="1"/>
          </p:nvPr>
        </p:nvSpPr>
        <p:spPr>
          <a:xfrm>
            <a:off x="4227225" y="1093767"/>
            <a:ext cx="7653625" cy="5322908"/>
          </a:xfrm>
          <a:prstGeom prst="rect">
            <a:avLst/>
          </a:prstGeom>
        </p:spPr>
        <p:txBody>
          <a:bodyPr>
            <a:normAutofit/>
          </a:bodyPr>
          <a:lstStyle>
            <a:lvl1pPr marL="0" indent="0">
              <a:buNone/>
              <a:defRPr sz="1400"/>
            </a:lvl1pPr>
          </a:lstStyle>
          <a:p>
            <a:r>
              <a:rPr lang="en-JP"/>
              <a:t>Insert Chart</a:t>
            </a:r>
          </a:p>
        </p:txBody>
      </p:sp>
      <p:sp>
        <p:nvSpPr>
          <p:cNvPr id="9" name="Text Placeholder 6">
            <a:extLst>
              <a:ext uri="{FF2B5EF4-FFF2-40B4-BE49-F238E27FC236}">
                <a16:creationId xmlns:a16="http://schemas.microsoft.com/office/drawing/2014/main" id="{EF65D74B-37DA-0D46-8B56-9B362C84E6B9}"/>
              </a:ext>
            </a:extLst>
          </p:cNvPr>
          <p:cNvSpPr>
            <a:spLocks noGrp="1"/>
          </p:cNvSpPr>
          <p:nvPr>
            <p:ph type="body" sz="quarter" idx="14" hasCustomPrompt="1"/>
          </p:nvPr>
        </p:nvSpPr>
        <p:spPr>
          <a:xfrm>
            <a:off x="311150" y="3178298"/>
            <a:ext cx="3751966" cy="272786"/>
          </a:xfrm>
          <a:prstGeom prst="rect">
            <a:avLst/>
          </a:prstGeom>
        </p:spPr>
        <p:txBody>
          <a:bodyPr tIns="0" rIns="0" bIns="0" numCol="1">
            <a:noAutofit/>
          </a:bodyPr>
          <a:lstStyle>
            <a:lvl1pPr marL="0" indent="0">
              <a:lnSpc>
                <a:spcPct val="100000"/>
              </a:lnSpc>
              <a:spcBef>
                <a:spcPts val="0"/>
              </a:spcBef>
              <a:spcAft>
                <a:spcPts val="600"/>
              </a:spcAft>
              <a:buNone/>
              <a:defRPr sz="18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Secondary Title</a:t>
            </a:r>
          </a:p>
        </p:txBody>
      </p:sp>
      <p:sp>
        <p:nvSpPr>
          <p:cNvPr id="10" name="Text Placeholder 6">
            <a:extLst>
              <a:ext uri="{FF2B5EF4-FFF2-40B4-BE49-F238E27FC236}">
                <a16:creationId xmlns:a16="http://schemas.microsoft.com/office/drawing/2014/main" id="{BF5F6A26-5AAA-884F-A319-DE9881530AA7}"/>
              </a:ext>
            </a:extLst>
          </p:cNvPr>
          <p:cNvSpPr>
            <a:spLocks noGrp="1"/>
          </p:cNvSpPr>
          <p:nvPr>
            <p:ph type="body" sz="quarter" idx="15" hasCustomPrompt="1"/>
          </p:nvPr>
        </p:nvSpPr>
        <p:spPr>
          <a:xfrm>
            <a:off x="311150" y="3575904"/>
            <a:ext cx="3751966" cy="2840771"/>
          </a:xfrm>
          <a:prstGeom prst="rect">
            <a:avLst/>
          </a:prstGeom>
        </p:spPr>
        <p:txBody>
          <a:bodyPr tIns="0" rIns="0" bIns="0" numCol="1">
            <a:noAutofit/>
          </a:bodyPr>
          <a:lstStyle>
            <a:lvl1pPr marL="171450" indent="-171450">
              <a:lnSpc>
                <a:spcPct val="100000"/>
              </a:lnSpc>
              <a:spcBef>
                <a:spcPts val="0"/>
              </a:spcBef>
              <a:spcAft>
                <a:spcPts val="600"/>
              </a:spcAft>
              <a:buFont typeface="Arial" panose="020B0604020202020204" pitchFamily="34" charset="0"/>
              <a:buChar char="•"/>
              <a:defRPr sz="1400" b="0">
                <a:solidFill>
                  <a:schemeClr val="tx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Secondary text.</a:t>
            </a:r>
          </a:p>
        </p:txBody>
      </p:sp>
      <p:pic>
        <p:nvPicPr>
          <p:cNvPr id="12" name="Picture 11" descr="Takeda">
            <a:extLst>
              <a:ext uri="{FF2B5EF4-FFF2-40B4-BE49-F238E27FC236}">
                <a16:creationId xmlns:a16="http://schemas.microsoft.com/office/drawing/2014/main" id="{5D7AA9CA-E651-9E48-B0F3-BDDA45B353E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46331" y="-1615"/>
            <a:ext cx="1696232" cy="940780"/>
          </a:xfrm>
          <a:prstGeom prst="rect">
            <a:avLst/>
          </a:prstGeom>
        </p:spPr>
      </p:pic>
      <p:sp>
        <p:nvSpPr>
          <p:cNvPr id="13" name="タイトル プレースホルダ 1">
            <a:extLst>
              <a:ext uri="{FF2B5EF4-FFF2-40B4-BE49-F238E27FC236}">
                <a16:creationId xmlns:a16="http://schemas.microsoft.com/office/drawing/2014/main" id="{2256F400-EDA8-7F44-BF13-278518497C9E}"/>
              </a:ext>
            </a:extLst>
          </p:cNvPr>
          <p:cNvSpPr>
            <a:spLocks noGrp="1"/>
          </p:cNvSpPr>
          <p:nvPr>
            <p:ph type="title" hasCustomPrompt="1"/>
          </p:nvPr>
        </p:nvSpPr>
        <p:spPr>
          <a:xfrm>
            <a:off x="606078" y="161605"/>
            <a:ext cx="9940253" cy="685801"/>
          </a:xfrm>
          <a:prstGeom prst="rect">
            <a:avLst/>
          </a:prstGeom>
        </p:spPr>
        <p:txBody>
          <a:bodyPr vert="horz" lIns="0" tIns="0" rIns="0" bIns="0" rtlCol="0" anchor="ctr">
            <a:normAutofit/>
          </a:bodyPr>
          <a:lstStyle/>
          <a:p>
            <a:r>
              <a:rPr kumimoji="1" lang="en-US" altLang="ja-JP"/>
              <a:t>Click to add title</a:t>
            </a:r>
            <a:endParaRPr kumimoji="1" lang="ja-JP" altLang="en-US"/>
          </a:p>
        </p:txBody>
      </p:sp>
      <p:sp>
        <p:nvSpPr>
          <p:cNvPr id="15" name="Footer Placeholder 8">
            <a:extLst>
              <a:ext uri="{FF2B5EF4-FFF2-40B4-BE49-F238E27FC236}">
                <a16:creationId xmlns:a16="http://schemas.microsoft.com/office/drawing/2014/main" id="{7136781B-A49B-0A42-B748-01C379A12FF6}"/>
              </a:ext>
            </a:extLst>
          </p:cNvPr>
          <p:cNvSpPr>
            <a:spLocks noGrp="1"/>
          </p:cNvSpPr>
          <p:nvPr>
            <p:ph type="ftr" sz="quarter" idx="3"/>
          </p:nvPr>
        </p:nvSpPr>
        <p:spPr>
          <a:xfrm>
            <a:off x="7766050" y="6523001"/>
            <a:ext cx="4114800" cy="196131"/>
          </a:xfrm>
          <a:prstGeom prst="rect">
            <a:avLst/>
          </a:prstGeom>
        </p:spPr>
        <p:txBody>
          <a:bodyPr vert="horz" lIns="91440" tIns="45720" rIns="0" bIns="45720" rtlCol="0" anchor="ctr"/>
          <a:lstStyle>
            <a:lvl1pPr algn="r">
              <a:defRPr sz="800" b="1" spc="100" baseline="0">
                <a:solidFill>
                  <a:schemeClr val="tx1"/>
                </a:solidFill>
              </a:defRPr>
            </a:lvl1pPr>
          </a:lstStyle>
          <a:p>
            <a:r>
              <a:rPr lang="en-JP"/>
              <a:t> </a:t>
            </a:r>
          </a:p>
        </p:txBody>
      </p:sp>
      <p:sp>
        <p:nvSpPr>
          <p:cNvPr id="21" name="Rectangle 20">
            <a:extLst>
              <a:ext uri="{FF2B5EF4-FFF2-40B4-BE49-F238E27FC236}">
                <a16:creationId xmlns:a16="http://schemas.microsoft.com/office/drawing/2014/main" id="{EAC2B0AC-7801-6C42-BA03-0669DC118159}"/>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a:solidFill>
                <a:schemeClr val="accent1"/>
              </a:solidFill>
            </a:endParaRPr>
          </a:p>
        </p:txBody>
      </p:sp>
      <p:sp>
        <p:nvSpPr>
          <p:cNvPr id="24" name="スライド番号プレースホルダ 5">
            <a:extLst>
              <a:ext uri="{FF2B5EF4-FFF2-40B4-BE49-F238E27FC236}">
                <a16:creationId xmlns:a16="http://schemas.microsoft.com/office/drawing/2014/main" id="{71FCF96E-3BB8-0745-B029-6B6BE4291274}"/>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5" name="Text Placeholder 6">
            <a:extLst>
              <a:ext uri="{FF2B5EF4-FFF2-40B4-BE49-F238E27FC236}">
                <a16:creationId xmlns:a16="http://schemas.microsoft.com/office/drawing/2014/main" id="{875659DC-941F-AA40-8336-C3B1BF32BAD6}"/>
              </a:ext>
            </a:extLst>
          </p:cNvPr>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Private and confidential. For internal use only.</a:t>
            </a:r>
          </a:p>
        </p:txBody>
      </p:sp>
      <p:sp>
        <p:nvSpPr>
          <p:cNvPr id="17" name="Text Placeholder 2">
            <a:extLst>
              <a:ext uri="{FF2B5EF4-FFF2-40B4-BE49-F238E27FC236}">
                <a16:creationId xmlns:a16="http://schemas.microsoft.com/office/drawing/2014/main" id="{45375A5A-6A84-7145-B49C-982F84619406}"/>
              </a:ext>
            </a:extLst>
          </p:cNvPr>
          <p:cNvSpPr>
            <a:spLocks noGrp="1"/>
          </p:cNvSpPr>
          <p:nvPr>
            <p:ph type="body" sz="quarter" idx="20" hasCustomPrompt="1"/>
          </p:nvPr>
        </p:nvSpPr>
        <p:spPr>
          <a:xfrm>
            <a:off x="311151" y="1491373"/>
            <a:ext cx="3751965" cy="1464957"/>
          </a:xfrm>
        </p:spPr>
        <p:txBody>
          <a:bodyPr tIns="0" rIns="0" bIns="0" numCol="1" spcCol="126000">
            <a:noAutofit/>
          </a:bodyPr>
          <a:lstStyle>
            <a:lvl1pPr marL="0" indent="0">
              <a:lnSpc>
                <a:spcPct val="100000"/>
              </a:lnSpc>
              <a:spcBef>
                <a:spcPts val="0"/>
              </a:spcBef>
              <a:buNone/>
              <a:defRPr sz="1600" b="1"/>
            </a:lvl1pPr>
            <a:lvl2pPr marL="457068" indent="0">
              <a:buNone/>
              <a:defRPr sz="1800" b="1"/>
            </a:lvl2pPr>
            <a:lvl3pPr marL="914149" indent="0">
              <a:buNone/>
              <a:defRPr sz="1800" b="1"/>
            </a:lvl3pPr>
            <a:lvl4pPr marL="1371219" indent="0">
              <a:buNone/>
              <a:defRPr sz="1800" b="1"/>
            </a:lvl4pPr>
            <a:lvl5pPr marL="1828290" indent="0">
              <a:buNone/>
              <a:defRPr sz="1800" b="1"/>
            </a:lvl5pPr>
          </a:lstStyle>
          <a:p>
            <a:pPr lvl="0"/>
            <a:r>
              <a:rPr lang="en-US"/>
              <a:t>This is your Primary Text.</a:t>
            </a:r>
            <a:endParaRPr lang="en-JP"/>
          </a:p>
        </p:txBody>
      </p:sp>
      <p:sp>
        <p:nvSpPr>
          <p:cNvPr id="18" name="Text Placeholder 6">
            <a:extLst>
              <a:ext uri="{FF2B5EF4-FFF2-40B4-BE49-F238E27FC236}">
                <a16:creationId xmlns:a16="http://schemas.microsoft.com/office/drawing/2014/main" id="{5F7E9041-544E-3547-AC30-65F55E91E1ED}"/>
              </a:ext>
            </a:extLst>
          </p:cNvPr>
          <p:cNvSpPr>
            <a:spLocks noGrp="1"/>
          </p:cNvSpPr>
          <p:nvPr>
            <p:ph type="body" sz="quarter" idx="22" hasCustomPrompt="1"/>
          </p:nvPr>
        </p:nvSpPr>
        <p:spPr>
          <a:xfrm>
            <a:off x="311150" y="1093767"/>
            <a:ext cx="3751965" cy="272786"/>
          </a:xfrm>
        </p:spPr>
        <p:txBody>
          <a:bodyPr tIns="0" rIns="0" bIns="0" numCol="1">
            <a:noAutofit/>
          </a:bodyPr>
          <a:lstStyle>
            <a:lvl1pPr marL="0" indent="0">
              <a:lnSpc>
                <a:spcPct val="100000"/>
              </a:lnSpc>
              <a:spcBef>
                <a:spcPts val="0"/>
              </a:spcBef>
              <a:spcAft>
                <a:spcPts val="600"/>
              </a:spcAft>
              <a:buNone/>
              <a:defRPr sz="20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Primary Title</a:t>
            </a:r>
          </a:p>
        </p:txBody>
      </p:sp>
    </p:spTree>
    <p:extLst>
      <p:ext uri="{BB962C8B-B14F-4D97-AF65-F5344CB8AC3E}">
        <p14:creationId xmlns:p14="http://schemas.microsoft.com/office/powerpoint/2010/main" val="2012595494"/>
      </p:ext>
    </p:extLst>
  </p:cSld>
  <p:clrMapOvr>
    <a:masterClrMapping/>
  </p:clrMapOvr>
  <p:transition spd="slow">
    <p:push dir="u"/>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Advanced Chart 2 Column">
    <p:spTree>
      <p:nvGrpSpPr>
        <p:cNvPr id="1" name=""/>
        <p:cNvGrpSpPr/>
        <p:nvPr/>
      </p:nvGrpSpPr>
      <p:grpSpPr>
        <a:xfrm>
          <a:off x="0" y="0"/>
          <a:ext cx="0" cy="0"/>
          <a:chOff x="0" y="0"/>
          <a:chExt cx="0" cy="0"/>
        </a:xfrm>
      </p:grpSpPr>
      <p:sp>
        <p:nvSpPr>
          <p:cNvPr id="8" name="Chart Placeholder 7">
            <a:extLst>
              <a:ext uri="{FF2B5EF4-FFF2-40B4-BE49-F238E27FC236}">
                <a16:creationId xmlns:a16="http://schemas.microsoft.com/office/drawing/2014/main" id="{A6D4E593-FDCC-D14E-9C5E-5F309E415C26}"/>
              </a:ext>
            </a:extLst>
          </p:cNvPr>
          <p:cNvSpPr>
            <a:spLocks noGrp="1"/>
          </p:cNvSpPr>
          <p:nvPr>
            <p:ph type="chart" sz="quarter" idx="21" hasCustomPrompt="1"/>
          </p:nvPr>
        </p:nvSpPr>
        <p:spPr>
          <a:xfrm>
            <a:off x="309223" y="3076286"/>
            <a:ext cx="5708650" cy="3340389"/>
          </a:xfrm>
          <a:prstGeom prst="rect">
            <a:avLst/>
          </a:prstGeom>
        </p:spPr>
        <p:txBody>
          <a:bodyPr>
            <a:normAutofit/>
          </a:bodyPr>
          <a:lstStyle>
            <a:lvl1pPr marL="0" indent="0">
              <a:buNone/>
              <a:defRPr sz="1400"/>
            </a:lvl1pPr>
          </a:lstStyle>
          <a:p>
            <a:r>
              <a:rPr lang="en-JP"/>
              <a:t>Insert Chart</a:t>
            </a:r>
          </a:p>
        </p:txBody>
      </p:sp>
      <p:sp>
        <p:nvSpPr>
          <p:cNvPr id="9" name="Chart Placeholder 7">
            <a:extLst>
              <a:ext uri="{FF2B5EF4-FFF2-40B4-BE49-F238E27FC236}">
                <a16:creationId xmlns:a16="http://schemas.microsoft.com/office/drawing/2014/main" id="{F1FC7466-185A-8B44-ABF0-5410C1127700}"/>
              </a:ext>
            </a:extLst>
          </p:cNvPr>
          <p:cNvSpPr>
            <a:spLocks noGrp="1"/>
          </p:cNvSpPr>
          <p:nvPr>
            <p:ph type="chart" sz="quarter" idx="22" hasCustomPrompt="1"/>
          </p:nvPr>
        </p:nvSpPr>
        <p:spPr>
          <a:xfrm>
            <a:off x="6206170" y="3076286"/>
            <a:ext cx="5708650" cy="3340389"/>
          </a:xfrm>
          <a:prstGeom prst="rect">
            <a:avLst/>
          </a:prstGeom>
        </p:spPr>
        <p:txBody>
          <a:bodyPr>
            <a:normAutofit/>
          </a:bodyPr>
          <a:lstStyle>
            <a:lvl1pPr marL="0" indent="0">
              <a:buNone/>
              <a:defRPr sz="1400"/>
            </a:lvl1pPr>
          </a:lstStyle>
          <a:p>
            <a:r>
              <a:rPr lang="en-JP"/>
              <a:t>Insert Chart</a:t>
            </a:r>
          </a:p>
        </p:txBody>
      </p:sp>
      <p:pic>
        <p:nvPicPr>
          <p:cNvPr id="10" name="Picture 9" descr="Takeda">
            <a:extLst>
              <a:ext uri="{FF2B5EF4-FFF2-40B4-BE49-F238E27FC236}">
                <a16:creationId xmlns:a16="http://schemas.microsoft.com/office/drawing/2014/main" id="{F183604A-2112-D443-8B35-2DFEE7121A6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46331" y="-1615"/>
            <a:ext cx="1696232" cy="940780"/>
          </a:xfrm>
          <a:prstGeom prst="rect">
            <a:avLst/>
          </a:prstGeom>
        </p:spPr>
      </p:pic>
      <p:sp>
        <p:nvSpPr>
          <p:cNvPr id="12" name="タイトル プレースホルダ 1">
            <a:extLst>
              <a:ext uri="{FF2B5EF4-FFF2-40B4-BE49-F238E27FC236}">
                <a16:creationId xmlns:a16="http://schemas.microsoft.com/office/drawing/2014/main" id="{906CE02B-33D8-B048-A73D-781A3402C2B1}"/>
              </a:ext>
            </a:extLst>
          </p:cNvPr>
          <p:cNvSpPr>
            <a:spLocks noGrp="1"/>
          </p:cNvSpPr>
          <p:nvPr>
            <p:ph type="title" hasCustomPrompt="1"/>
          </p:nvPr>
        </p:nvSpPr>
        <p:spPr>
          <a:xfrm>
            <a:off x="606078" y="161605"/>
            <a:ext cx="9940253" cy="685801"/>
          </a:xfrm>
          <a:prstGeom prst="rect">
            <a:avLst/>
          </a:prstGeom>
        </p:spPr>
        <p:txBody>
          <a:bodyPr vert="horz" lIns="0" tIns="0" rIns="0" bIns="0" rtlCol="0" anchor="ctr">
            <a:normAutofit/>
          </a:bodyPr>
          <a:lstStyle/>
          <a:p>
            <a:r>
              <a:rPr kumimoji="1" lang="en-US" altLang="ja-JP"/>
              <a:t>Click to add title</a:t>
            </a:r>
            <a:endParaRPr kumimoji="1" lang="ja-JP" altLang="en-US"/>
          </a:p>
        </p:txBody>
      </p:sp>
      <p:sp>
        <p:nvSpPr>
          <p:cNvPr id="14" name="Footer Placeholder 8">
            <a:extLst>
              <a:ext uri="{FF2B5EF4-FFF2-40B4-BE49-F238E27FC236}">
                <a16:creationId xmlns:a16="http://schemas.microsoft.com/office/drawing/2014/main" id="{C2587943-8F51-3542-B7BE-5781719445F9}"/>
              </a:ext>
            </a:extLst>
          </p:cNvPr>
          <p:cNvSpPr>
            <a:spLocks noGrp="1"/>
          </p:cNvSpPr>
          <p:nvPr>
            <p:ph type="ftr" sz="quarter" idx="3"/>
          </p:nvPr>
        </p:nvSpPr>
        <p:spPr>
          <a:xfrm>
            <a:off x="7766050" y="6523001"/>
            <a:ext cx="4114800" cy="196131"/>
          </a:xfrm>
          <a:prstGeom prst="rect">
            <a:avLst/>
          </a:prstGeom>
        </p:spPr>
        <p:txBody>
          <a:bodyPr vert="horz" lIns="91440" tIns="45720" rIns="0" bIns="45720" rtlCol="0" anchor="ctr"/>
          <a:lstStyle>
            <a:lvl1pPr algn="r">
              <a:defRPr sz="800" b="1" spc="100" baseline="0">
                <a:solidFill>
                  <a:schemeClr val="tx1"/>
                </a:solidFill>
              </a:defRPr>
            </a:lvl1pPr>
          </a:lstStyle>
          <a:p>
            <a:r>
              <a:rPr lang="en-JP"/>
              <a:t> </a:t>
            </a:r>
          </a:p>
        </p:txBody>
      </p:sp>
      <p:sp>
        <p:nvSpPr>
          <p:cNvPr id="17" name="Rectangle 16">
            <a:extLst>
              <a:ext uri="{FF2B5EF4-FFF2-40B4-BE49-F238E27FC236}">
                <a16:creationId xmlns:a16="http://schemas.microsoft.com/office/drawing/2014/main" id="{B679FB0B-7616-F04F-9B4C-586869A82E96}"/>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a:solidFill>
                <a:schemeClr val="accent1"/>
              </a:solidFill>
            </a:endParaRPr>
          </a:p>
        </p:txBody>
      </p:sp>
      <p:sp>
        <p:nvSpPr>
          <p:cNvPr id="22" name="スライド番号プレースホルダ 5">
            <a:extLst>
              <a:ext uri="{FF2B5EF4-FFF2-40B4-BE49-F238E27FC236}">
                <a16:creationId xmlns:a16="http://schemas.microsoft.com/office/drawing/2014/main" id="{8AFBB1AB-19B7-1347-93F8-D14235DD2317}"/>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3" name="Text Placeholder 6">
            <a:extLst>
              <a:ext uri="{FF2B5EF4-FFF2-40B4-BE49-F238E27FC236}">
                <a16:creationId xmlns:a16="http://schemas.microsoft.com/office/drawing/2014/main" id="{1C168495-CA79-E440-A93B-B87B36748352}"/>
              </a:ext>
            </a:extLst>
          </p:cNvPr>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Private and confidential. For internal use only.</a:t>
            </a:r>
          </a:p>
        </p:txBody>
      </p:sp>
      <p:sp>
        <p:nvSpPr>
          <p:cNvPr id="15" name="Text Placeholder 2">
            <a:extLst>
              <a:ext uri="{FF2B5EF4-FFF2-40B4-BE49-F238E27FC236}">
                <a16:creationId xmlns:a16="http://schemas.microsoft.com/office/drawing/2014/main" id="{F6F06E4B-A978-4E46-AE6C-67B54F7E34D5}"/>
              </a:ext>
            </a:extLst>
          </p:cNvPr>
          <p:cNvSpPr>
            <a:spLocks noGrp="1"/>
          </p:cNvSpPr>
          <p:nvPr>
            <p:ph type="body" sz="quarter" idx="20" hasCustomPrompt="1"/>
          </p:nvPr>
        </p:nvSpPr>
        <p:spPr>
          <a:xfrm>
            <a:off x="311150" y="1491373"/>
            <a:ext cx="11603669" cy="1464957"/>
          </a:xfrm>
        </p:spPr>
        <p:txBody>
          <a:bodyPr tIns="0" rIns="0" bIns="0" numCol="2" spcCol="126000">
            <a:noAutofit/>
          </a:bodyPr>
          <a:lstStyle>
            <a:lvl1pPr marL="0" indent="0">
              <a:lnSpc>
                <a:spcPct val="100000"/>
              </a:lnSpc>
              <a:spcBef>
                <a:spcPts val="0"/>
              </a:spcBef>
              <a:buNone/>
              <a:defRPr sz="1600" b="1"/>
            </a:lvl1pPr>
            <a:lvl2pPr marL="457068" indent="0">
              <a:buNone/>
              <a:defRPr sz="1800" b="1"/>
            </a:lvl2pPr>
            <a:lvl3pPr marL="914149" indent="0">
              <a:buNone/>
              <a:defRPr sz="1800" b="1"/>
            </a:lvl3pPr>
            <a:lvl4pPr marL="1371219" indent="0">
              <a:buNone/>
              <a:defRPr sz="1800" b="1"/>
            </a:lvl4pPr>
            <a:lvl5pPr marL="1828290" indent="0">
              <a:buNone/>
              <a:defRPr sz="1800" b="1"/>
            </a:lvl5pPr>
          </a:lstStyle>
          <a:p>
            <a:pPr lvl="0"/>
            <a:r>
              <a:rPr lang="en-US"/>
              <a:t>This is your Primary Text.</a:t>
            </a:r>
            <a:endParaRPr lang="en-JP"/>
          </a:p>
        </p:txBody>
      </p:sp>
      <p:sp>
        <p:nvSpPr>
          <p:cNvPr id="18" name="Text Placeholder 6">
            <a:extLst>
              <a:ext uri="{FF2B5EF4-FFF2-40B4-BE49-F238E27FC236}">
                <a16:creationId xmlns:a16="http://schemas.microsoft.com/office/drawing/2014/main" id="{3FF373A1-4E48-6C48-A075-153436CF76DC}"/>
              </a:ext>
            </a:extLst>
          </p:cNvPr>
          <p:cNvSpPr>
            <a:spLocks noGrp="1"/>
          </p:cNvSpPr>
          <p:nvPr>
            <p:ph type="body" sz="quarter" idx="23" hasCustomPrompt="1"/>
          </p:nvPr>
        </p:nvSpPr>
        <p:spPr>
          <a:xfrm>
            <a:off x="311149" y="1093767"/>
            <a:ext cx="11603669" cy="272786"/>
          </a:xfrm>
        </p:spPr>
        <p:txBody>
          <a:bodyPr tIns="0" rIns="0" bIns="0" numCol="1">
            <a:noAutofit/>
          </a:bodyPr>
          <a:lstStyle>
            <a:lvl1pPr marL="0" indent="0">
              <a:lnSpc>
                <a:spcPct val="100000"/>
              </a:lnSpc>
              <a:spcBef>
                <a:spcPts val="0"/>
              </a:spcBef>
              <a:spcAft>
                <a:spcPts val="600"/>
              </a:spcAft>
              <a:buNone/>
              <a:defRPr sz="20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Primary Title</a:t>
            </a:r>
          </a:p>
        </p:txBody>
      </p:sp>
    </p:spTree>
    <p:extLst>
      <p:ext uri="{BB962C8B-B14F-4D97-AF65-F5344CB8AC3E}">
        <p14:creationId xmlns:p14="http://schemas.microsoft.com/office/powerpoint/2010/main" val="1806447709"/>
      </p:ext>
    </p:extLst>
  </p:cSld>
  <p:clrMapOvr>
    <a:masterClrMapping/>
  </p:clrMapOvr>
  <p:transition spd="slow">
    <p:push dir="u"/>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Advanced Chart 3 Column">
    <p:spTree>
      <p:nvGrpSpPr>
        <p:cNvPr id="1" name=""/>
        <p:cNvGrpSpPr/>
        <p:nvPr/>
      </p:nvGrpSpPr>
      <p:grpSpPr>
        <a:xfrm>
          <a:off x="0" y="0"/>
          <a:ext cx="0" cy="0"/>
          <a:chOff x="0" y="0"/>
          <a:chExt cx="0" cy="0"/>
        </a:xfrm>
      </p:grpSpPr>
      <p:sp>
        <p:nvSpPr>
          <p:cNvPr id="8" name="Chart Placeholder 7">
            <a:extLst>
              <a:ext uri="{FF2B5EF4-FFF2-40B4-BE49-F238E27FC236}">
                <a16:creationId xmlns:a16="http://schemas.microsoft.com/office/drawing/2014/main" id="{A6D4E593-FDCC-D14E-9C5E-5F309E415C26}"/>
              </a:ext>
            </a:extLst>
          </p:cNvPr>
          <p:cNvSpPr>
            <a:spLocks noGrp="1"/>
          </p:cNvSpPr>
          <p:nvPr>
            <p:ph type="chart" sz="quarter" idx="21" hasCustomPrompt="1"/>
          </p:nvPr>
        </p:nvSpPr>
        <p:spPr>
          <a:xfrm>
            <a:off x="309224" y="3076286"/>
            <a:ext cx="3757810" cy="3340389"/>
          </a:xfrm>
          <a:prstGeom prst="rect">
            <a:avLst/>
          </a:prstGeom>
        </p:spPr>
        <p:txBody>
          <a:bodyPr>
            <a:normAutofit/>
          </a:bodyPr>
          <a:lstStyle>
            <a:lvl1pPr marL="0" indent="0">
              <a:buNone/>
              <a:defRPr sz="1400"/>
            </a:lvl1pPr>
          </a:lstStyle>
          <a:p>
            <a:r>
              <a:rPr lang="en-JP"/>
              <a:t>Insert Chart</a:t>
            </a:r>
          </a:p>
        </p:txBody>
      </p:sp>
      <p:sp>
        <p:nvSpPr>
          <p:cNvPr id="10" name="Chart Placeholder 7">
            <a:extLst>
              <a:ext uri="{FF2B5EF4-FFF2-40B4-BE49-F238E27FC236}">
                <a16:creationId xmlns:a16="http://schemas.microsoft.com/office/drawing/2014/main" id="{8D9BD23C-1777-C442-B4B0-BADF450483EA}"/>
              </a:ext>
            </a:extLst>
          </p:cNvPr>
          <p:cNvSpPr>
            <a:spLocks noGrp="1"/>
          </p:cNvSpPr>
          <p:nvPr>
            <p:ph type="chart" sz="quarter" idx="22" hasCustomPrompt="1"/>
          </p:nvPr>
        </p:nvSpPr>
        <p:spPr>
          <a:xfrm>
            <a:off x="4217095" y="3076286"/>
            <a:ext cx="3757810" cy="3340389"/>
          </a:xfrm>
          <a:prstGeom prst="rect">
            <a:avLst/>
          </a:prstGeom>
        </p:spPr>
        <p:txBody>
          <a:bodyPr>
            <a:normAutofit/>
          </a:bodyPr>
          <a:lstStyle>
            <a:lvl1pPr marL="0" indent="0">
              <a:buNone/>
              <a:defRPr sz="1400"/>
            </a:lvl1pPr>
          </a:lstStyle>
          <a:p>
            <a:r>
              <a:rPr lang="en-JP"/>
              <a:t>Insert Chart</a:t>
            </a:r>
          </a:p>
        </p:txBody>
      </p:sp>
      <p:sp>
        <p:nvSpPr>
          <p:cNvPr id="11" name="Chart Placeholder 7">
            <a:extLst>
              <a:ext uri="{FF2B5EF4-FFF2-40B4-BE49-F238E27FC236}">
                <a16:creationId xmlns:a16="http://schemas.microsoft.com/office/drawing/2014/main" id="{2D7D413C-2FF1-204A-83C6-B7426603B7C2}"/>
              </a:ext>
            </a:extLst>
          </p:cNvPr>
          <p:cNvSpPr>
            <a:spLocks noGrp="1"/>
          </p:cNvSpPr>
          <p:nvPr>
            <p:ph type="chart" sz="quarter" idx="23" hasCustomPrompt="1"/>
          </p:nvPr>
        </p:nvSpPr>
        <p:spPr>
          <a:xfrm>
            <a:off x="8123041" y="3076286"/>
            <a:ext cx="3757810" cy="3340389"/>
          </a:xfrm>
          <a:prstGeom prst="rect">
            <a:avLst/>
          </a:prstGeom>
        </p:spPr>
        <p:txBody>
          <a:bodyPr>
            <a:normAutofit/>
          </a:bodyPr>
          <a:lstStyle>
            <a:lvl1pPr marL="0" indent="0">
              <a:buNone/>
              <a:defRPr sz="1400"/>
            </a:lvl1pPr>
          </a:lstStyle>
          <a:p>
            <a:r>
              <a:rPr lang="en-JP"/>
              <a:t>Insert Chart</a:t>
            </a:r>
          </a:p>
        </p:txBody>
      </p:sp>
      <p:pic>
        <p:nvPicPr>
          <p:cNvPr id="13" name="Picture 12" descr="Takeda">
            <a:extLst>
              <a:ext uri="{FF2B5EF4-FFF2-40B4-BE49-F238E27FC236}">
                <a16:creationId xmlns:a16="http://schemas.microsoft.com/office/drawing/2014/main" id="{0C4979BF-EBB2-214C-8087-7AC4B2163D8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46331" y="-1615"/>
            <a:ext cx="1696232" cy="940780"/>
          </a:xfrm>
          <a:prstGeom prst="rect">
            <a:avLst/>
          </a:prstGeom>
        </p:spPr>
      </p:pic>
      <p:sp>
        <p:nvSpPr>
          <p:cNvPr id="17" name="タイトル プレースホルダ 1">
            <a:extLst>
              <a:ext uri="{FF2B5EF4-FFF2-40B4-BE49-F238E27FC236}">
                <a16:creationId xmlns:a16="http://schemas.microsoft.com/office/drawing/2014/main" id="{2FFB1535-D35E-D242-B225-DDF1C53BB8D4}"/>
              </a:ext>
            </a:extLst>
          </p:cNvPr>
          <p:cNvSpPr>
            <a:spLocks noGrp="1"/>
          </p:cNvSpPr>
          <p:nvPr>
            <p:ph type="title" hasCustomPrompt="1"/>
          </p:nvPr>
        </p:nvSpPr>
        <p:spPr>
          <a:xfrm>
            <a:off x="606078" y="161605"/>
            <a:ext cx="9940253" cy="685801"/>
          </a:xfrm>
          <a:prstGeom prst="rect">
            <a:avLst/>
          </a:prstGeom>
        </p:spPr>
        <p:txBody>
          <a:bodyPr vert="horz" lIns="0" tIns="0" rIns="0" bIns="0" rtlCol="0" anchor="ctr">
            <a:normAutofit/>
          </a:bodyPr>
          <a:lstStyle/>
          <a:p>
            <a:r>
              <a:rPr kumimoji="1" lang="en-US" altLang="ja-JP"/>
              <a:t>Click to add title</a:t>
            </a:r>
            <a:endParaRPr kumimoji="1" lang="ja-JP" altLang="en-US"/>
          </a:p>
        </p:txBody>
      </p:sp>
      <p:sp>
        <p:nvSpPr>
          <p:cNvPr id="19" name="Footer Placeholder 8">
            <a:extLst>
              <a:ext uri="{FF2B5EF4-FFF2-40B4-BE49-F238E27FC236}">
                <a16:creationId xmlns:a16="http://schemas.microsoft.com/office/drawing/2014/main" id="{47DB5E3C-7053-3645-A234-760F5ED1236A}"/>
              </a:ext>
            </a:extLst>
          </p:cNvPr>
          <p:cNvSpPr>
            <a:spLocks noGrp="1"/>
          </p:cNvSpPr>
          <p:nvPr>
            <p:ph type="ftr" sz="quarter" idx="3"/>
          </p:nvPr>
        </p:nvSpPr>
        <p:spPr>
          <a:xfrm>
            <a:off x="7766050" y="6523001"/>
            <a:ext cx="4114800" cy="196131"/>
          </a:xfrm>
          <a:prstGeom prst="rect">
            <a:avLst/>
          </a:prstGeom>
        </p:spPr>
        <p:txBody>
          <a:bodyPr vert="horz" lIns="91440" tIns="45720" rIns="0" bIns="45720" rtlCol="0" anchor="ctr"/>
          <a:lstStyle>
            <a:lvl1pPr algn="r">
              <a:defRPr sz="800" b="1" spc="100" baseline="0">
                <a:solidFill>
                  <a:schemeClr val="tx1"/>
                </a:solidFill>
              </a:defRPr>
            </a:lvl1pPr>
          </a:lstStyle>
          <a:p>
            <a:r>
              <a:rPr lang="en-JP"/>
              <a:t> </a:t>
            </a:r>
          </a:p>
        </p:txBody>
      </p:sp>
      <p:sp>
        <p:nvSpPr>
          <p:cNvPr id="22" name="Rectangle 21">
            <a:extLst>
              <a:ext uri="{FF2B5EF4-FFF2-40B4-BE49-F238E27FC236}">
                <a16:creationId xmlns:a16="http://schemas.microsoft.com/office/drawing/2014/main" id="{DEFC8CB7-67E9-8A46-B53F-F34ACE18BE87}"/>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a:solidFill>
                <a:schemeClr val="accent1"/>
              </a:solidFill>
            </a:endParaRPr>
          </a:p>
        </p:txBody>
      </p:sp>
      <p:sp>
        <p:nvSpPr>
          <p:cNvPr id="25" name="スライド番号プレースホルダ 5">
            <a:extLst>
              <a:ext uri="{FF2B5EF4-FFF2-40B4-BE49-F238E27FC236}">
                <a16:creationId xmlns:a16="http://schemas.microsoft.com/office/drawing/2014/main" id="{5EB1023E-4E73-AD49-83B0-D7B458250C6F}"/>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6" name="Text Placeholder 6">
            <a:extLst>
              <a:ext uri="{FF2B5EF4-FFF2-40B4-BE49-F238E27FC236}">
                <a16:creationId xmlns:a16="http://schemas.microsoft.com/office/drawing/2014/main" id="{4942DB0C-137A-4E4C-B926-77CEECC512A8}"/>
              </a:ext>
            </a:extLst>
          </p:cNvPr>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Private and confidential. For internal use only.</a:t>
            </a:r>
          </a:p>
        </p:txBody>
      </p:sp>
      <p:sp>
        <p:nvSpPr>
          <p:cNvPr id="15" name="Text Placeholder 2">
            <a:extLst>
              <a:ext uri="{FF2B5EF4-FFF2-40B4-BE49-F238E27FC236}">
                <a16:creationId xmlns:a16="http://schemas.microsoft.com/office/drawing/2014/main" id="{AD1171B1-AEC6-164D-8FE0-E0B9353A55BF}"/>
              </a:ext>
            </a:extLst>
          </p:cNvPr>
          <p:cNvSpPr>
            <a:spLocks noGrp="1"/>
          </p:cNvSpPr>
          <p:nvPr>
            <p:ph type="body" sz="quarter" idx="20" hasCustomPrompt="1"/>
          </p:nvPr>
        </p:nvSpPr>
        <p:spPr>
          <a:xfrm>
            <a:off x="311150" y="1491373"/>
            <a:ext cx="11569699" cy="1464957"/>
          </a:xfrm>
        </p:spPr>
        <p:txBody>
          <a:bodyPr tIns="0" rIns="0" bIns="0" numCol="2" spcCol="126000">
            <a:noAutofit/>
          </a:bodyPr>
          <a:lstStyle>
            <a:lvl1pPr marL="0" indent="0">
              <a:lnSpc>
                <a:spcPct val="100000"/>
              </a:lnSpc>
              <a:spcBef>
                <a:spcPts val="0"/>
              </a:spcBef>
              <a:buNone/>
              <a:defRPr sz="1600" b="1"/>
            </a:lvl1pPr>
            <a:lvl2pPr marL="457068" indent="0">
              <a:buNone/>
              <a:defRPr sz="1800" b="1"/>
            </a:lvl2pPr>
            <a:lvl3pPr marL="914149" indent="0">
              <a:buNone/>
              <a:defRPr sz="1800" b="1"/>
            </a:lvl3pPr>
            <a:lvl4pPr marL="1371219" indent="0">
              <a:buNone/>
              <a:defRPr sz="1800" b="1"/>
            </a:lvl4pPr>
            <a:lvl5pPr marL="1828290" indent="0">
              <a:buNone/>
              <a:defRPr sz="1800" b="1"/>
            </a:lvl5pPr>
          </a:lstStyle>
          <a:p>
            <a:pPr lvl="0"/>
            <a:r>
              <a:rPr lang="en-US"/>
              <a:t>This is your Primary Text.</a:t>
            </a:r>
            <a:endParaRPr lang="en-JP"/>
          </a:p>
        </p:txBody>
      </p:sp>
      <p:sp>
        <p:nvSpPr>
          <p:cNvPr id="18" name="Text Placeholder 6">
            <a:extLst>
              <a:ext uri="{FF2B5EF4-FFF2-40B4-BE49-F238E27FC236}">
                <a16:creationId xmlns:a16="http://schemas.microsoft.com/office/drawing/2014/main" id="{66C4AA1F-8B09-5544-9C70-388A6E2940C9}"/>
              </a:ext>
            </a:extLst>
          </p:cNvPr>
          <p:cNvSpPr>
            <a:spLocks noGrp="1"/>
          </p:cNvSpPr>
          <p:nvPr>
            <p:ph type="body" sz="quarter" idx="24" hasCustomPrompt="1"/>
          </p:nvPr>
        </p:nvSpPr>
        <p:spPr>
          <a:xfrm>
            <a:off x="311149" y="1093767"/>
            <a:ext cx="11569699" cy="272786"/>
          </a:xfrm>
        </p:spPr>
        <p:txBody>
          <a:bodyPr tIns="0" rIns="0" bIns="0" numCol="1">
            <a:noAutofit/>
          </a:bodyPr>
          <a:lstStyle>
            <a:lvl1pPr marL="0" indent="0">
              <a:lnSpc>
                <a:spcPct val="100000"/>
              </a:lnSpc>
              <a:spcBef>
                <a:spcPts val="0"/>
              </a:spcBef>
              <a:spcAft>
                <a:spcPts val="600"/>
              </a:spcAft>
              <a:buNone/>
              <a:defRPr sz="20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Primary Title</a:t>
            </a:r>
          </a:p>
        </p:txBody>
      </p:sp>
    </p:spTree>
    <p:extLst>
      <p:ext uri="{BB962C8B-B14F-4D97-AF65-F5344CB8AC3E}">
        <p14:creationId xmlns:p14="http://schemas.microsoft.com/office/powerpoint/2010/main" val="3884820962"/>
      </p:ext>
    </p:extLst>
  </p:cSld>
  <p:clrMapOvr>
    <a:masterClrMapping/>
  </p:clrMapOvr>
  <p:transition spd="slow">
    <p:push dir="u"/>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19" name="Footer Placeholder 8">
            <a:extLst>
              <a:ext uri="{FF2B5EF4-FFF2-40B4-BE49-F238E27FC236}">
                <a16:creationId xmlns:a16="http://schemas.microsoft.com/office/drawing/2014/main" id="{CDA06C55-0643-C148-AAB1-C4BB26FD7B26}"/>
              </a:ext>
            </a:extLst>
          </p:cNvPr>
          <p:cNvSpPr>
            <a:spLocks noGrp="1"/>
          </p:cNvSpPr>
          <p:nvPr>
            <p:ph type="ftr" sz="quarter" idx="3"/>
          </p:nvPr>
        </p:nvSpPr>
        <p:spPr>
          <a:xfrm>
            <a:off x="7766050" y="6523001"/>
            <a:ext cx="4114800" cy="196131"/>
          </a:xfrm>
          <a:prstGeom prst="rect">
            <a:avLst/>
          </a:prstGeom>
        </p:spPr>
        <p:txBody>
          <a:bodyPr vert="horz" lIns="0" tIns="0" rIns="0" bIns="0" rtlCol="0" anchor="ctr"/>
          <a:lstStyle>
            <a:lvl1pPr algn="r">
              <a:defRPr sz="800" b="1" spc="100" baseline="0">
                <a:solidFill>
                  <a:schemeClr val="tx1"/>
                </a:solidFill>
              </a:defRPr>
            </a:lvl1pPr>
          </a:lstStyle>
          <a:p>
            <a:r>
              <a:rPr lang="en-JP"/>
              <a:t> </a:t>
            </a:r>
          </a:p>
        </p:txBody>
      </p:sp>
      <p:pic>
        <p:nvPicPr>
          <p:cNvPr id="14" name="Picture 13" descr="Takeda">
            <a:extLst>
              <a:ext uri="{FF2B5EF4-FFF2-40B4-BE49-F238E27FC236}">
                <a16:creationId xmlns:a16="http://schemas.microsoft.com/office/drawing/2014/main" id="{A75F5BF7-D49E-8A49-AE81-CB31E57D5A7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46331" y="-1615"/>
            <a:ext cx="1696232" cy="940780"/>
          </a:xfrm>
          <a:prstGeom prst="rect">
            <a:avLst/>
          </a:prstGeom>
        </p:spPr>
      </p:pic>
      <p:sp>
        <p:nvSpPr>
          <p:cNvPr id="22" name="タイトル プレースホルダ 1">
            <a:extLst>
              <a:ext uri="{FF2B5EF4-FFF2-40B4-BE49-F238E27FC236}">
                <a16:creationId xmlns:a16="http://schemas.microsoft.com/office/drawing/2014/main" id="{86D2E5B8-9E2B-DB46-A55A-5F26569C4F99}"/>
              </a:ext>
            </a:extLst>
          </p:cNvPr>
          <p:cNvSpPr>
            <a:spLocks noGrp="1"/>
          </p:cNvSpPr>
          <p:nvPr>
            <p:ph type="title" hasCustomPrompt="1"/>
          </p:nvPr>
        </p:nvSpPr>
        <p:spPr>
          <a:xfrm>
            <a:off x="606078" y="161605"/>
            <a:ext cx="9940253" cy="685801"/>
          </a:xfrm>
          <a:prstGeom prst="rect">
            <a:avLst/>
          </a:prstGeom>
        </p:spPr>
        <p:txBody>
          <a:bodyPr vert="horz" lIns="0" tIns="0" rIns="0" bIns="0" rtlCol="0" anchor="ctr">
            <a:normAutofit/>
          </a:bodyPr>
          <a:lstStyle/>
          <a:p>
            <a:r>
              <a:rPr kumimoji="1" lang="en-US" altLang="ja-JP"/>
              <a:t>Click to add title</a:t>
            </a:r>
            <a:endParaRPr kumimoji="1" lang="ja-JP" altLang="en-US"/>
          </a:p>
        </p:txBody>
      </p:sp>
      <p:sp>
        <p:nvSpPr>
          <p:cNvPr id="20" name="スライド番号プレースホルダ 5">
            <a:extLst>
              <a:ext uri="{FF2B5EF4-FFF2-40B4-BE49-F238E27FC236}">
                <a16:creationId xmlns:a16="http://schemas.microsoft.com/office/drawing/2014/main" id="{51A4825E-63A1-564F-BC3A-FBC167ECE5EB}"/>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1" name="Rectangle 20">
            <a:extLst>
              <a:ext uri="{FF2B5EF4-FFF2-40B4-BE49-F238E27FC236}">
                <a16:creationId xmlns:a16="http://schemas.microsoft.com/office/drawing/2014/main" id="{FCF9CDB0-5730-E246-B31F-F5963CF8EFDC}"/>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a:solidFill>
                <a:schemeClr val="accent1"/>
              </a:solidFill>
            </a:endParaRPr>
          </a:p>
        </p:txBody>
      </p:sp>
      <p:sp>
        <p:nvSpPr>
          <p:cNvPr id="24" name="Text Placeholder 6">
            <a:extLst>
              <a:ext uri="{FF2B5EF4-FFF2-40B4-BE49-F238E27FC236}">
                <a16:creationId xmlns:a16="http://schemas.microsoft.com/office/drawing/2014/main" id="{44EB3013-FCB4-1B4E-A9F2-FD57CF727CCC}"/>
              </a:ext>
            </a:extLst>
          </p:cNvPr>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Private and confidential. For internal use only.</a:t>
            </a:r>
          </a:p>
        </p:txBody>
      </p:sp>
    </p:spTree>
    <p:extLst>
      <p:ext uri="{BB962C8B-B14F-4D97-AF65-F5344CB8AC3E}">
        <p14:creationId xmlns:p14="http://schemas.microsoft.com/office/powerpoint/2010/main" val="3269987049"/>
      </p:ext>
    </p:extLst>
  </p:cSld>
  <p:clrMapOvr>
    <a:masterClrMapping/>
  </p:clrMapOvr>
  <p:transition spd="slow">
    <p:push dir="u"/>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Advanced 2-Column Text">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69F0DD41-BD6B-7941-8305-67EF42EC2B93}"/>
              </a:ext>
            </a:extLst>
          </p:cNvPr>
          <p:cNvSpPr>
            <a:spLocks noGrp="1"/>
          </p:cNvSpPr>
          <p:nvPr>
            <p:ph type="body" sz="quarter" idx="13" hasCustomPrompt="1"/>
          </p:nvPr>
        </p:nvSpPr>
        <p:spPr>
          <a:xfrm>
            <a:off x="311151" y="1491373"/>
            <a:ext cx="11569700" cy="1464957"/>
          </a:xfrm>
        </p:spPr>
        <p:txBody>
          <a:bodyPr tIns="0" rIns="0" bIns="0" numCol="1" spcCol="126000">
            <a:noAutofit/>
          </a:bodyPr>
          <a:lstStyle>
            <a:lvl1pPr marL="0" indent="0">
              <a:lnSpc>
                <a:spcPct val="100000"/>
              </a:lnSpc>
              <a:spcBef>
                <a:spcPts val="0"/>
              </a:spcBef>
              <a:buNone/>
              <a:defRPr sz="1600" b="1"/>
            </a:lvl1pPr>
            <a:lvl2pPr marL="457068" indent="0">
              <a:buNone/>
              <a:defRPr sz="1800" b="1"/>
            </a:lvl2pPr>
            <a:lvl3pPr marL="914149" indent="0">
              <a:buNone/>
              <a:defRPr sz="1800" b="1"/>
            </a:lvl3pPr>
            <a:lvl4pPr marL="1371219" indent="0">
              <a:buNone/>
              <a:defRPr sz="1800" b="1"/>
            </a:lvl4pPr>
            <a:lvl5pPr marL="1828290" indent="0">
              <a:buNone/>
              <a:defRPr sz="1800" b="1"/>
            </a:lvl5pPr>
          </a:lstStyle>
          <a:p>
            <a:pPr lvl="0"/>
            <a:r>
              <a:rPr lang="en-US"/>
              <a:t>This is your Primary Text.</a:t>
            </a:r>
            <a:endParaRPr lang="en-JP"/>
          </a:p>
        </p:txBody>
      </p:sp>
      <p:sp>
        <p:nvSpPr>
          <p:cNvPr id="7" name="Text Placeholder 6">
            <a:extLst>
              <a:ext uri="{FF2B5EF4-FFF2-40B4-BE49-F238E27FC236}">
                <a16:creationId xmlns:a16="http://schemas.microsoft.com/office/drawing/2014/main" id="{65925D82-457F-D84D-B8DF-D8ADFD7E71DF}"/>
              </a:ext>
            </a:extLst>
          </p:cNvPr>
          <p:cNvSpPr>
            <a:spLocks noGrp="1"/>
          </p:cNvSpPr>
          <p:nvPr>
            <p:ph type="body" sz="quarter" idx="14" hasCustomPrompt="1"/>
          </p:nvPr>
        </p:nvSpPr>
        <p:spPr>
          <a:xfrm>
            <a:off x="311150" y="3178298"/>
            <a:ext cx="5708650" cy="272786"/>
          </a:xfrm>
        </p:spPr>
        <p:txBody>
          <a:bodyPr tIns="0" rIns="0" bIns="0" numCol="1">
            <a:noAutofit/>
          </a:bodyPr>
          <a:lstStyle>
            <a:lvl1pPr marL="0" indent="0">
              <a:lnSpc>
                <a:spcPct val="100000"/>
              </a:lnSpc>
              <a:spcBef>
                <a:spcPts val="0"/>
              </a:spcBef>
              <a:spcAft>
                <a:spcPts val="600"/>
              </a:spcAft>
              <a:buNone/>
              <a:defRPr sz="18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Secondary Title</a:t>
            </a:r>
          </a:p>
        </p:txBody>
      </p:sp>
      <p:sp>
        <p:nvSpPr>
          <p:cNvPr id="12" name="Text Placeholder 6">
            <a:extLst>
              <a:ext uri="{FF2B5EF4-FFF2-40B4-BE49-F238E27FC236}">
                <a16:creationId xmlns:a16="http://schemas.microsoft.com/office/drawing/2014/main" id="{FD2406EE-A554-5348-AE6D-4D8B343E6201}"/>
              </a:ext>
            </a:extLst>
          </p:cNvPr>
          <p:cNvSpPr>
            <a:spLocks noGrp="1"/>
          </p:cNvSpPr>
          <p:nvPr>
            <p:ph type="body" sz="quarter" idx="15" hasCustomPrompt="1"/>
          </p:nvPr>
        </p:nvSpPr>
        <p:spPr>
          <a:xfrm>
            <a:off x="311150" y="3575904"/>
            <a:ext cx="5708650" cy="2840771"/>
          </a:xfrm>
        </p:spPr>
        <p:txBody>
          <a:bodyPr tIns="0" rIns="0" bIns="0" numCol="1">
            <a:noAutofit/>
          </a:bodyPr>
          <a:lstStyle>
            <a:lvl1pPr marL="171450" indent="-171450">
              <a:lnSpc>
                <a:spcPct val="100000"/>
              </a:lnSpc>
              <a:spcBef>
                <a:spcPts val="0"/>
              </a:spcBef>
              <a:spcAft>
                <a:spcPts val="600"/>
              </a:spcAft>
              <a:buFont typeface="Arial" panose="020B0604020202020204" pitchFamily="34" charset="0"/>
              <a:buChar char="•"/>
              <a:defRPr sz="1400" b="0">
                <a:solidFill>
                  <a:schemeClr val="tx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Secondary text. </a:t>
            </a:r>
          </a:p>
        </p:txBody>
      </p:sp>
      <p:sp>
        <p:nvSpPr>
          <p:cNvPr id="13" name="Text Placeholder 6">
            <a:extLst>
              <a:ext uri="{FF2B5EF4-FFF2-40B4-BE49-F238E27FC236}">
                <a16:creationId xmlns:a16="http://schemas.microsoft.com/office/drawing/2014/main" id="{C4486BE7-E24B-D445-B95D-8D976B5C5916}"/>
              </a:ext>
            </a:extLst>
          </p:cNvPr>
          <p:cNvSpPr>
            <a:spLocks noGrp="1"/>
          </p:cNvSpPr>
          <p:nvPr>
            <p:ph type="body" sz="quarter" idx="16" hasCustomPrompt="1"/>
          </p:nvPr>
        </p:nvSpPr>
        <p:spPr>
          <a:xfrm>
            <a:off x="6176929" y="3575904"/>
            <a:ext cx="5708650" cy="2840771"/>
          </a:xfrm>
        </p:spPr>
        <p:txBody>
          <a:bodyPr tIns="0" rIns="0" bIns="0" numCol="1">
            <a:noAutofit/>
          </a:bodyPr>
          <a:lstStyle>
            <a:lvl1pPr marL="285750" indent="-285750">
              <a:lnSpc>
                <a:spcPct val="100000"/>
              </a:lnSpc>
              <a:spcBef>
                <a:spcPts val="0"/>
              </a:spcBef>
              <a:spcAft>
                <a:spcPts val="600"/>
              </a:spcAft>
              <a:buFont typeface="Arial" panose="020B0604020202020204" pitchFamily="34" charset="0"/>
              <a:buChar char="•"/>
              <a:defRPr sz="1400" b="0">
                <a:solidFill>
                  <a:schemeClr val="tx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Secondary Text</a:t>
            </a:r>
          </a:p>
        </p:txBody>
      </p:sp>
      <p:sp>
        <p:nvSpPr>
          <p:cNvPr id="16" name="Text Placeholder 6">
            <a:extLst>
              <a:ext uri="{FF2B5EF4-FFF2-40B4-BE49-F238E27FC236}">
                <a16:creationId xmlns:a16="http://schemas.microsoft.com/office/drawing/2014/main" id="{6F66F056-E301-3942-8399-963B744AD76B}"/>
              </a:ext>
            </a:extLst>
          </p:cNvPr>
          <p:cNvSpPr>
            <a:spLocks noGrp="1"/>
          </p:cNvSpPr>
          <p:nvPr>
            <p:ph type="body" sz="quarter" idx="17" hasCustomPrompt="1"/>
          </p:nvPr>
        </p:nvSpPr>
        <p:spPr>
          <a:xfrm>
            <a:off x="311150" y="1093767"/>
            <a:ext cx="11569700" cy="272786"/>
          </a:xfrm>
        </p:spPr>
        <p:txBody>
          <a:bodyPr tIns="0" rIns="0" bIns="0" numCol="1">
            <a:noAutofit/>
          </a:bodyPr>
          <a:lstStyle>
            <a:lvl1pPr marL="0" indent="0">
              <a:lnSpc>
                <a:spcPct val="100000"/>
              </a:lnSpc>
              <a:spcBef>
                <a:spcPts val="0"/>
              </a:spcBef>
              <a:spcAft>
                <a:spcPts val="600"/>
              </a:spcAft>
              <a:buNone/>
              <a:defRPr sz="20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Primary Title</a:t>
            </a:r>
          </a:p>
        </p:txBody>
      </p:sp>
      <p:sp>
        <p:nvSpPr>
          <p:cNvPr id="19" name="Footer Placeholder 8">
            <a:extLst>
              <a:ext uri="{FF2B5EF4-FFF2-40B4-BE49-F238E27FC236}">
                <a16:creationId xmlns:a16="http://schemas.microsoft.com/office/drawing/2014/main" id="{CDA06C55-0643-C148-AAB1-C4BB26FD7B26}"/>
              </a:ext>
            </a:extLst>
          </p:cNvPr>
          <p:cNvSpPr>
            <a:spLocks noGrp="1"/>
          </p:cNvSpPr>
          <p:nvPr>
            <p:ph type="ftr" sz="quarter" idx="3"/>
          </p:nvPr>
        </p:nvSpPr>
        <p:spPr>
          <a:xfrm>
            <a:off x="7766050" y="6524625"/>
            <a:ext cx="4114800" cy="194507"/>
          </a:xfrm>
          <a:prstGeom prst="rect">
            <a:avLst/>
          </a:prstGeom>
        </p:spPr>
        <p:txBody>
          <a:bodyPr vert="horz" lIns="0" tIns="0" rIns="0" bIns="0" rtlCol="0" anchor="ctr"/>
          <a:lstStyle>
            <a:lvl1pPr algn="r">
              <a:defRPr sz="800" b="1" spc="100" baseline="0">
                <a:solidFill>
                  <a:schemeClr val="tx1"/>
                </a:solidFill>
              </a:defRPr>
            </a:lvl1pPr>
          </a:lstStyle>
          <a:p>
            <a:r>
              <a:rPr lang="en-JP"/>
              <a:t> </a:t>
            </a:r>
          </a:p>
        </p:txBody>
      </p:sp>
      <p:pic>
        <p:nvPicPr>
          <p:cNvPr id="14" name="Picture 13" descr="Takeda">
            <a:extLst>
              <a:ext uri="{FF2B5EF4-FFF2-40B4-BE49-F238E27FC236}">
                <a16:creationId xmlns:a16="http://schemas.microsoft.com/office/drawing/2014/main" id="{A75F5BF7-D49E-8A49-AE81-CB31E57D5A7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46331" y="-1615"/>
            <a:ext cx="1696232" cy="940780"/>
          </a:xfrm>
          <a:prstGeom prst="rect">
            <a:avLst/>
          </a:prstGeom>
        </p:spPr>
      </p:pic>
      <p:sp>
        <p:nvSpPr>
          <p:cNvPr id="22" name="タイトル プレースホルダ 1">
            <a:extLst>
              <a:ext uri="{FF2B5EF4-FFF2-40B4-BE49-F238E27FC236}">
                <a16:creationId xmlns:a16="http://schemas.microsoft.com/office/drawing/2014/main" id="{86D2E5B8-9E2B-DB46-A55A-5F26569C4F99}"/>
              </a:ext>
            </a:extLst>
          </p:cNvPr>
          <p:cNvSpPr>
            <a:spLocks noGrp="1"/>
          </p:cNvSpPr>
          <p:nvPr>
            <p:ph type="title" hasCustomPrompt="1"/>
          </p:nvPr>
        </p:nvSpPr>
        <p:spPr>
          <a:xfrm>
            <a:off x="606078" y="161605"/>
            <a:ext cx="9940253" cy="685801"/>
          </a:xfrm>
          <a:prstGeom prst="rect">
            <a:avLst/>
          </a:prstGeom>
        </p:spPr>
        <p:txBody>
          <a:bodyPr vert="horz" lIns="0" tIns="0" rIns="0" bIns="0" rtlCol="0" anchor="ctr">
            <a:normAutofit/>
          </a:bodyPr>
          <a:lstStyle/>
          <a:p>
            <a:r>
              <a:rPr kumimoji="1" lang="en-US" altLang="ja-JP"/>
              <a:t>Click to add title</a:t>
            </a:r>
            <a:endParaRPr kumimoji="1" lang="ja-JP" altLang="en-US"/>
          </a:p>
        </p:txBody>
      </p:sp>
      <p:sp>
        <p:nvSpPr>
          <p:cNvPr id="20" name="Rectangle 19">
            <a:extLst>
              <a:ext uri="{FF2B5EF4-FFF2-40B4-BE49-F238E27FC236}">
                <a16:creationId xmlns:a16="http://schemas.microsoft.com/office/drawing/2014/main" id="{3015E3CB-F694-EC42-B70E-C728F3F2F933}"/>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a:solidFill>
                <a:schemeClr val="accent1"/>
              </a:solidFill>
            </a:endParaRPr>
          </a:p>
        </p:txBody>
      </p:sp>
      <p:sp>
        <p:nvSpPr>
          <p:cNvPr id="23" name="スライド番号プレースホルダ 5">
            <a:extLst>
              <a:ext uri="{FF2B5EF4-FFF2-40B4-BE49-F238E27FC236}">
                <a16:creationId xmlns:a16="http://schemas.microsoft.com/office/drawing/2014/main" id="{3247B7AF-EE58-F847-A606-0F662350432C}"/>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4" name="Text Placeholder 6">
            <a:extLst>
              <a:ext uri="{FF2B5EF4-FFF2-40B4-BE49-F238E27FC236}">
                <a16:creationId xmlns:a16="http://schemas.microsoft.com/office/drawing/2014/main" id="{31D9C203-575D-DE43-B0D0-0D00DFD46724}"/>
              </a:ext>
            </a:extLst>
          </p:cNvPr>
          <p:cNvSpPr>
            <a:spLocks noGrp="1"/>
          </p:cNvSpPr>
          <p:nvPr>
            <p:ph type="body" sz="quarter" idx="18" hasCustomPrompt="1"/>
          </p:nvPr>
        </p:nvSpPr>
        <p:spPr>
          <a:xfrm>
            <a:off x="606078" y="6524625"/>
            <a:ext cx="6968348" cy="203989"/>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Private and confidential. For internal use only.</a:t>
            </a:r>
          </a:p>
        </p:txBody>
      </p:sp>
    </p:spTree>
    <p:extLst>
      <p:ext uri="{BB962C8B-B14F-4D97-AF65-F5344CB8AC3E}">
        <p14:creationId xmlns:p14="http://schemas.microsoft.com/office/powerpoint/2010/main" val="2322287364"/>
      </p:ext>
    </p:extLst>
  </p:cSld>
  <p:clrMapOvr>
    <a:masterClrMapping/>
  </p:clrMapOvr>
  <p:transition spd="slow">
    <p:push dir="u"/>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1_タイトルのみ_コンテントなし">
    <p:spTree>
      <p:nvGrpSpPr>
        <p:cNvPr id="1" name=""/>
        <p:cNvGrpSpPr/>
        <p:nvPr/>
      </p:nvGrpSpPr>
      <p:grpSpPr>
        <a:xfrm>
          <a:off x="0" y="0"/>
          <a:ext cx="0" cy="0"/>
          <a:chOff x="0" y="0"/>
          <a:chExt cx="0" cy="0"/>
        </a:xfrm>
      </p:grpSpPr>
      <p:sp>
        <p:nvSpPr>
          <p:cNvPr id="15" name="Title 14">
            <a:extLst>
              <a:ext uri="{FF2B5EF4-FFF2-40B4-BE49-F238E27FC236}">
                <a16:creationId xmlns:a16="http://schemas.microsoft.com/office/drawing/2014/main" id="{4729DF11-77EA-7E4D-999C-4E7EA206B8A6}"/>
              </a:ext>
            </a:extLst>
          </p:cNvPr>
          <p:cNvSpPr>
            <a:spLocks noGrp="1"/>
          </p:cNvSpPr>
          <p:nvPr>
            <p:ph type="title" hasCustomPrompt="1"/>
          </p:nvPr>
        </p:nvSpPr>
        <p:spPr>
          <a:xfrm>
            <a:off x="527050" y="132770"/>
            <a:ext cx="9720193" cy="703942"/>
          </a:xfrm>
        </p:spPr>
        <p:txBody>
          <a:bodyPr/>
          <a:lstStyle>
            <a:lvl1pPr>
              <a:defRPr baseline="0">
                <a:solidFill>
                  <a:schemeClr val="tx1"/>
                </a:solidFill>
                <a:latin typeface="Calibri" panose="020F0502020204030204" pitchFamily="34" charset="0"/>
                <a:cs typeface="Calibri" panose="020F0502020204030204" pitchFamily="34" charset="0"/>
              </a:defRPr>
            </a:lvl1pPr>
          </a:lstStyle>
          <a:p>
            <a:r>
              <a:rPr lang="en-US"/>
              <a:t>Add your title here</a:t>
            </a:r>
          </a:p>
        </p:txBody>
      </p:sp>
      <p:sp>
        <p:nvSpPr>
          <p:cNvPr id="10" name="Slide Number Placeholder 2">
            <a:extLst>
              <a:ext uri="{FF2B5EF4-FFF2-40B4-BE49-F238E27FC236}">
                <a16:creationId xmlns:a16="http://schemas.microsoft.com/office/drawing/2014/main" id="{5E38DCC3-D6DE-9A44-B5C4-5BC5A32CA652}"/>
              </a:ext>
            </a:extLst>
          </p:cNvPr>
          <p:cNvSpPr>
            <a:spLocks noGrp="1"/>
          </p:cNvSpPr>
          <p:nvPr>
            <p:ph type="sldNum" sz="quarter" idx="4"/>
          </p:nvPr>
        </p:nvSpPr>
        <p:spPr>
          <a:xfrm>
            <a:off x="0" y="6331227"/>
            <a:ext cx="649111" cy="390249"/>
          </a:xfrm>
          <a:prstGeom prst="rect">
            <a:avLst/>
          </a:prstGeom>
        </p:spPr>
        <p:txBody>
          <a:bodyPr rIns="0" anchor="ctr" anchorCtr="0"/>
          <a:lstStyle>
            <a:lvl1pPr algn="r">
              <a:defRPr sz="1000" b="0" i="0">
                <a:solidFill>
                  <a:schemeClr val="bg1">
                    <a:lumMod val="50000"/>
                  </a:schemeClr>
                </a:solidFill>
                <a:latin typeface="Calibri" panose="020F0502020204030204" pitchFamily="34" charset="0"/>
                <a:cs typeface="Calibri" panose="020F0502020204030204" pitchFamily="34" charset="0"/>
              </a:defRPr>
            </a:lvl1pPr>
          </a:lstStyle>
          <a:p>
            <a:fld id="{E9B57936-92EF-4126-AE48-1D9D36D15E98}" type="slidenum">
              <a:rPr lang="ja-JP" altLang="en-US" smtClean="0"/>
              <a:pPr/>
              <a:t>‹#›</a:t>
            </a:fld>
            <a:endParaRPr lang="ja-JP" altLang="en-US"/>
          </a:p>
        </p:txBody>
      </p:sp>
      <p:sp>
        <p:nvSpPr>
          <p:cNvPr id="11" name="Footer Placeholder 4">
            <a:extLst>
              <a:ext uri="{FF2B5EF4-FFF2-40B4-BE49-F238E27FC236}">
                <a16:creationId xmlns:a16="http://schemas.microsoft.com/office/drawing/2014/main" id="{146ACACA-F6F6-8341-87DC-6F1C279AF6F9}"/>
              </a:ext>
            </a:extLst>
          </p:cNvPr>
          <p:cNvSpPr>
            <a:spLocks noGrp="1"/>
          </p:cNvSpPr>
          <p:nvPr>
            <p:ph type="ftr" sz="quarter" idx="3"/>
          </p:nvPr>
        </p:nvSpPr>
        <p:spPr>
          <a:xfrm>
            <a:off x="649111" y="6331227"/>
            <a:ext cx="9598132" cy="390250"/>
          </a:xfrm>
          <a:prstGeom prst="rect">
            <a:avLst/>
          </a:prstGeom>
        </p:spPr>
        <p:txBody>
          <a:bodyPr lIns="72000" anchor="ctr" anchorCtr="0"/>
          <a:lstStyle>
            <a:lvl1pPr>
              <a:defRPr sz="1000" b="0" i="0" baseline="0">
                <a:solidFill>
                  <a:schemeClr val="bg1">
                    <a:lumMod val="50000"/>
                  </a:schemeClr>
                </a:solidFill>
                <a:latin typeface="Calibri" panose="020F0502020204030204" pitchFamily="34" charset="0"/>
                <a:cs typeface="Calibri" panose="020F0502020204030204" pitchFamily="34" charset="0"/>
              </a:defRPr>
            </a:lvl1pPr>
          </a:lstStyle>
          <a:p>
            <a:r>
              <a:rPr lang="en-US" altLang="ja-JP"/>
              <a:t>|  Title  |  DD/MM/YY  |  Confidential</a:t>
            </a:r>
            <a:endParaRPr lang="ja-JP" altLang="en-US"/>
          </a:p>
        </p:txBody>
      </p:sp>
    </p:spTree>
    <p:extLst>
      <p:ext uri="{BB962C8B-B14F-4D97-AF65-F5344CB8AC3E}">
        <p14:creationId xmlns:p14="http://schemas.microsoft.com/office/powerpoint/2010/main" val="93894915"/>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Standard 2-Column Text">
    <p:spTree>
      <p:nvGrpSpPr>
        <p:cNvPr id="1" name=""/>
        <p:cNvGrpSpPr/>
        <p:nvPr/>
      </p:nvGrpSpPr>
      <p:grpSpPr>
        <a:xfrm>
          <a:off x="0" y="0"/>
          <a:ext cx="0" cy="0"/>
          <a:chOff x="0" y="0"/>
          <a:chExt cx="0" cy="0"/>
        </a:xfrm>
      </p:grpSpPr>
      <p:sp>
        <p:nvSpPr>
          <p:cNvPr id="12" name="Text Placeholder 6">
            <a:extLst>
              <a:ext uri="{FF2B5EF4-FFF2-40B4-BE49-F238E27FC236}">
                <a16:creationId xmlns:a16="http://schemas.microsoft.com/office/drawing/2014/main" id="{FD2406EE-A554-5348-AE6D-4D8B343E6201}"/>
              </a:ext>
            </a:extLst>
          </p:cNvPr>
          <p:cNvSpPr>
            <a:spLocks noGrp="1"/>
          </p:cNvSpPr>
          <p:nvPr>
            <p:ph type="body" sz="quarter" idx="15" hasCustomPrompt="1"/>
          </p:nvPr>
        </p:nvSpPr>
        <p:spPr>
          <a:xfrm>
            <a:off x="311150" y="1102385"/>
            <a:ext cx="11569700" cy="5328857"/>
          </a:xfrm>
          <a:prstGeom prst="rect">
            <a:avLst/>
          </a:prstGeom>
        </p:spPr>
        <p:txBody>
          <a:bodyPr tIns="0" rIns="0" bIns="0" numCol="2" spcCol="540000">
            <a:normAutofit/>
          </a:bodyPr>
          <a:lstStyle>
            <a:lvl1pPr marL="0" indent="0">
              <a:lnSpc>
                <a:spcPct val="100000"/>
              </a:lnSpc>
              <a:spcBef>
                <a:spcPts val="0"/>
              </a:spcBef>
              <a:spcAft>
                <a:spcPts val="600"/>
              </a:spcAft>
              <a:buFont typeface="Arial" panose="020B0604020202020204" pitchFamily="34" charset="0"/>
              <a:buNone/>
              <a:defRPr sz="1600" b="0">
                <a:solidFill>
                  <a:schemeClr val="tx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a two-column layout. Click to add content. </a:t>
            </a:r>
          </a:p>
        </p:txBody>
      </p:sp>
      <p:sp>
        <p:nvSpPr>
          <p:cNvPr id="19" name="Footer Placeholder 8">
            <a:extLst>
              <a:ext uri="{FF2B5EF4-FFF2-40B4-BE49-F238E27FC236}">
                <a16:creationId xmlns:a16="http://schemas.microsoft.com/office/drawing/2014/main" id="{CDA06C55-0643-C148-AAB1-C4BB26FD7B26}"/>
              </a:ext>
            </a:extLst>
          </p:cNvPr>
          <p:cNvSpPr>
            <a:spLocks noGrp="1"/>
          </p:cNvSpPr>
          <p:nvPr>
            <p:ph type="ftr" sz="quarter" idx="3"/>
          </p:nvPr>
        </p:nvSpPr>
        <p:spPr>
          <a:xfrm>
            <a:off x="7766050" y="6523001"/>
            <a:ext cx="4114800" cy="196131"/>
          </a:xfrm>
          <a:prstGeom prst="rect">
            <a:avLst/>
          </a:prstGeom>
        </p:spPr>
        <p:txBody>
          <a:bodyPr vert="horz" lIns="0" tIns="0" rIns="0" bIns="0" rtlCol="0" anchor="ctr"/>
          <a:lstStyle>
            <a:lvl1pPr algn="r">
              <a:defRPr sz="800" b="1" spc="100" baseline="0">
                <a:solidFill>
                  <a:schemeClr val="tx1"/>
                </a:solidFill>
              </a:defRPr>
            </a:lvl1pPr>
          </a:lstStyle>
          <a:p>
            <a:r>
              <a:rPr lang="en-JP"/>
              <a:t> </a:t>
            </a:r>
          </a:p>
        </p:txBody>
      </p:sp>
      <p:pic>
        <p:nvPicPr>
          <p:cNvPr id="14" name="Picture 13" descr="Takeda">
            <a:extLst>
              <a:ext uri="{FF2B5EF4-FFF2-40B4-BE49-F238E27FC236}">
                <a16:creationId xmlns:a16="http://schemas.microsoft.com/office/drawing/2014/main" id="{A75F5BF7-D49E-8A49-AE81-CB31E57D5A7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46331" y="-1615"/>
            <a:ext cx="1696232" cy="940780"/>
          </a:xfrm>
          <a:prstGeom prst="rect">
            <a:avLst/>
          </a:prstGeom>
        </p:spPr>
      </p:pic>
      <p:sp>
        <p:nvSpPr>
          <p:cNvPr id="22" name="タイトル プレースホルダ 1">
            <a:extLst>
              <a:ext uri="{FF2B5EF4-FFF2-40B4-BE49-F238E27FC236}">
                <a16:creationId xmlns:a16="http://schemas.microsoft.com/office/drawing/2014/main" id="{86D2E5B8-9E2B-DB46-A55A-5F26569C4F99}"/>
              </a:ext>
            </a:extLst>
          </p:cNvPr>
          <p:cNvSpPr>
            <a:spLocks noGrp="1"/>
          </p:cNvSpPr>
          <p:nvPr>
            <p:ph type="title" hasCustomPrompt="1"/>
          </p:nvPr>
        </p:nvSpPr>
        <p:spPr>
          <a:xfrm>
            <a:off x="606078" y="161605"/>
            <a:ext cx="9940253" cy="685801"/>
          </a:xfrm>
          <a:prstGeom prst="rect">
            <a:avLst/>
          </a:prstGeom>
        </p:spPr>
        <p:txBody>
          <a:bodyPr vert="horz" lIns="0" tIns="0" rIns="0" bIns="0" rtlCol="0" anchor="ctr">
            <a:normAutofit/>
          </a:bodyPr>
          <a:lstStyle/>
          <a:p>
            <a:r>
              <a:rPr kumimoji="1" lang="en-US" altLang="ja-JP"/>
              <a:t>Two-column layout. Click to add title</a:t>
            </a:r>
            <a:endParaRPr kumimoji="1" lang="ja-JP" altLang="en-US"/>
          </a:p>
        </p:txBody>
      </p:sp>
      <p:sp>
        <p:nvSpPr>
          <p:cNvPr id="13" name="Rectangle 12">
            <a:extLst>
              <a:ext uri="{FF2B5EF4-FFF2-40B4-BE49-F238E27FC236}">
                <a16:creationId xmlns:a16="http://schemas.microsoft.com/office/drawing/2014/main" id="{F49634AC-7DDA-D44D-88DB-5850289DD643}"/>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a:solidFill>
                <a:schemeClr val="accent1"/>
              </a:solidFill>
            </a:endParaRPr>
          </a:p>
        </p:txBody>
      </p:sp>
      <p:sp>
        <p:nvSpPr>
          <p:cNvPr id="20" name="スライド番号プレースホルダ 5">
            <a:extLst>
              <a:ext uri="{FF2B5EF4-FFF2-40B4-BE49-F238E27FC236}">
                <a16:creationId xmlns:a16="http://schemas.microsoft.com/office/drawing/2014/main" id="{E22A984C-7436-8C4C-83C8-F2AD67592041}"/>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1" name="Text Placeholder 6">
            <a:extLst>
              <a:ext uri="{FF2B5EF4-FFF2-40B4-BE49-F238E27FC236}">
                <a16:creationId xmlns:a16="http://schemas.microsoft.com/office/drawing/2014/main" id="{0A6720AD-4FA4-A146-AEEB-A4E558BAA3EA}"/>
              </a:ext>
            </a:extLst>
          </p:cNvPr>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Private and confidential. For internal use only.</a:t>
            </a:r>
          </a:p>
        </p:txBody>
      </p:sp>
    </p:spTree>
    <p:extLst>
      <p:ext uri="{BB962C8B-B14F-4D97-AF65-F5344CB8AC3E}">
        <p14:creationId xmlns:p14="http://schemas.microsoft.com/office/powerpoint/2010/main" val="2436503540"/>
      </p:ext>
    </p:extLst>
  </p:cSld>
  <p:clrMapOvr>
    <a:masterClrMapping/>
  </p:clrMapOvr>
  <p:transition spd="slow">
    <p:push dir="u"/>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Tree>
    <p:extLst>
      <p:ext uri="{BB962C8B-B14F-4D97-AF65-F5344CB8AC3E}">
        <p14:creationId xmlns:p14="http://schemas.microsoft.com/office/powerpoint/2010/main" val="1431187993"/>
      </p:ext>
    </p:extLst>
  </p:cSld>
  <p:clrMapOvr>
    <a:masterClrMapping/>
  </p:clrMapOvr>
  <p:transition spd="slow">
    <p:push dir="u"/>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Standard 2-Column Text">
    <p:spTree>
      <p:nvGrpSpPr>
        <p:cNvPr id="1" name=""/>
        <p:cNvGrpSpPr/>
        <p:nvPr/>
      </p:nvGrpSpPr>
      <p:grpSpPr>
        <a:xfrm>
          <a:off x="0" y="0"/>
          <a:ext cx="0" cy="0"/>
          <a:chOff x="0" y="0"/>
          <a:chExt cx="0" cy="0"/>
        </a:xfrm>
      </p:grpSpPr>
      <p:sp>
        <p:nvSpPr>
          <p:cNvPr id="12" name="Text Placeholder 6">
            <a:extLst>
              <a:ext uri="{FF2B5EF4-FFF2-40B4-BE49-F238E27FC236}">
                <a16:creationId xmlns:a16="http://schemas.microsoft.com/office/drawing/2014/main" id="{FD2406EE-A554-5348-AE6D-4D8B343E6201}"/>
              </a:ext>
            </a:extLst>
          </p:cNvPr>
          <p:cNvSpPr>
            <a:spLocks noGrp="1"/>
          </p:cNvSpPr>
          <p:nvPr>
            <p:ph type="body" sz="quarter" idx="15" hasCustomPrompt="1"/>
          </p:nvPr>
        </p:nvSpPr>
        <p:spPr>
          <a:xfrm>
            <a:off x="311150" y="1102385"/>
            <a:ext cx="11569700" cy="5328857"/>
          </a:xfrm>
          <a:prstGeom prst="rect">
            <a:avLst/>
          </a:prstGeom>
        </p:spPr>
        <p:txBody>
          <a:bodyPr tIns="0" rIns="0" bIns="0" numCol="2" spcCol="540000">
            <a:normAutofit/>
          </a:bodyPr>
          <a:lstStyle>
            <a:lvl1pPr marL="0" indent="0">
              <a:lnSpc>
                <a:spcPct val="100000"/>
              </a:lnSpc>
              <a:spcBef>
                <a:spcPts val="0"/>
              </a:spcBef>
              <a:spcAft>
                <a:spcPts val="600"/>
              </a:spcAft>
              <a:buFont typeface="Arial" panose="020B0604020202020204" pitchFamily="34" charset="0"/>
              <a:buNone/>
              <a:defRPr sz="1600" b="0">
                <a:solidFill>
                  <a:schemeClr val="tx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a two-column layout. Click to add content. </a:t>
            </a:r>
          </a:p>
        </p:txBody>
      </p:sp>
      <p:sp>
        <p:nvSpPr>
          <p:cNvPr id="19" name="Footer Placeholder 8">
            <a:extLst>
              <a:ext uri="{FF2B5EF4-FFF2-40B4-BE49-F238E27FC236}">
                <a16:creationId xmlns:a16="http://schemas.microsoft.com/office/drawing/2014/main" id="{CDA06C55-0643-C148-AAB1-C4BB26FD7B26}"/>
              </a:ext>
            </a:extLst>
          </p:cNvPr>
          <p:cNvSpPr>
            <a:spLocks noGrp="1"/>
          </p:cNvSpPr>
          <p:nvPr>
            <p:ph type="ftr" sz="quarter" idx="3"/>
          </p:nvPr>
        </p:nvSpPr>
        <p:spPr>
          <a:xfrm>
            <a:off x="7766050" y="6523001"/>
            <a:ext cx="4114800" cy="196131"/>
          </a:xfrm>
          <a:prstGeom prst="rect">
            <a:avLst/>
          </a:prstGeom>
        </p:spPr>
        <p:txBody>
          <a:bodyPr vert="horz" lIns="0" tIns="0" rIns="0" bIns="0" rtlCol="0" anchor="ctr"/>
          <a:lstStyle>
            <a:lvl1pPr algn="r">
              <a:defRPr sz="800" b="1" spc="100" baseline="0">
                <a:solidFill>
                  <a:schemeClr val="tx1"/>
                </a:solidFill>
              </a:defRPr>
            </a:lvl1pPr>
          </a:lstStyle>
          <a:p>
            <a:r>
              <a:rPr lang="en-JP"/>
              <a:t> </a:t>
            </a:r>
          </a:p>
        </p:txBody>
      </p:sp>
      <p:pic>
        <p:nvPicPr>
          <p:cNvPr id="14" name="Picture 13" descr="Takeda">
            <a:extLst>
              <a:ext uri="{FF2B5EF4-FFF2-40B4-BE49-F238E27FC236}">
                <a16:creationId xmlns:a16="http://schemas.microsoft.com/office/drawing/2014/main" id="{A75F5BF7-D49E-8A49-AE81-CB31E57D5A7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46331" y="-1615"/>
            <a:ext cx="1696232" cy="940780"/>
          </a:xfrm>
          <a:prstGeom prst="rect">
            <a:avLst/>
          </a:prstGeom>
        </p:spPr>
      </p:pic>
      <p:sp>
        <p:nvSpPr>
          <p:cNvPr id="22" name="タイトル プレースホルダ 1">
            <a:extLst>
              <a:ext uri="{FF2B5EF4-FFF2-40B4-BE49-F238E27FC236}">
                <a16:creationId xmlns:a16="http://schemas.microsoft.com/office/drawing/2014/main" id="{86D2E5B8-9E2B-DB46-A55A-5F26569C4F99}"/>
              </a:ext>
            </a:extLst>
          </p:cNvPr>
          <p:cNvSpPr>
            <a:spLocks noGrp="1"/>
          </p:cNvSpPr>
          <p:nvPr>
            <p:ph type="title" hasCustomPrompt="1"/>
          </p:nvPr>
        </p:nvSpPr>
        <p:spPr>
          <a:xfrm>
            <a:off x="606078" y="161605"/>
            <a:ext cx="9940253" cy="685801"/>
          </a:xfrm>
          <a:prstGeom prst="rect">
            <a:avLst/>
          </a:prstGeom>
        </p:spPr>
        <p:txBody>
          <a:bodyPr vert="horz" lIns="0" tIns="0" rIns="0" bIns="0" rtlCol="0" anchor="ctr">
            <a:normAutofit/>
          </a:bodyPr>
          <a:lstStyle/>
          <a:p>
            <a:r>
              <a:rPr kumimoji="1" lang="en-US" altLang="ja-JP"/>
              <a:t>Two-column layout. Click to add title</a:t>
            </a:r>
            <a:endParaRPr kumimoji="1" lang="ja-JP" altLang="en-US"/>
          </a:p>
        </p:txBody>
      </p:sp>
      <p:sp>
        <p:nvSpPr>
          <p:cNvPr id="13" name="Rectangle 12">
            <a:extLst>
              <a:ext uri="{FF2B5EF4-FFF2-40B4-BE49-F238E27FC236}">
                <a16:creationId xmlns:a16="http://schemas.microsoft.com/office/drawing/2014/main" id="{F49634AC-7DDA-D44D-88DB-5850289DD643}"/>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a:solidFill>
                <a:schemeClr val="accent1"/>
              </a:solidFill>
            </a:endParaRPr>
          </a:p>
        </p:txBody>
      </p:sp>
      <p:sp>
        <p:nvSpPr>
          <p:cNvPr id="20" name="スライド番号プレースホルダ 5">
            <a:extLst>
              <a:ext uri="{FF2B5EF4-FFF2-40B4-BE49-F238E27FC236}">
                <a16:creationId xmlns:a16="http://schemas.microsoft.com/office/drawing/2014/main" id="{E22A984C-7436-8C4C-83C8-F2AD67592041}"/>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1" name="Text Placeholder 6">
            <a:extLst>
              <a:ext uri="{FF2B5EF4-FFF2-40B4-BE49-F238E27FC236}">
                <a16:creationId xmlns:a16="http://schemas.microsoft.com/office/drawing/2014/main" id="{0A6720AD-4FA4-A146-AEEB-A4E558BAA3EA}"/>
              </a:ext>
            </a:extLst>
          </p:cNvPr>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Private and confidential. For internal use only.</a:t>
            </a:r>
          </a:p>
        </p:txBody>
      </p:sp>
    </p:spTree>
    <p:extLst>
      <p:ext uri="{BB962C8B-B14F-4D97-AF65-F5344CB8AC3E}">
        <p14:creationId xmlns:p14="http://schemas.microsoft.com/office/powerpoint/2010/main" val="3282154885"/>
      </p:ext>
    </p:extLst>
  </p:cSld>
  <p:clrMapOvr>
    <a:masterClrMapping/>
  </p:clrMapOvr>
  <p:transition spd="slow">
    <p:push dir="u"/>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ection Title Page">
    <p:spTree>
      <p:nvGrpSpPr>
        <p:cNvPr id="1" name=""/>
        <p:cNvGrpSpPr/>
        <p:nvPr/>
      </p:nvGrpSpPr>
      <p:grpSpPr>
        <a:xfrm>
          <a:off x="0" y="0"/>
          <a:ext cx="0" cy="0"/>
          <a:chOff x="0" y="0"/>
          <a:chExt cx="0" cy="0"/>
        </a:xfrm>
      </p:grpSpPr>
      <p:sp>
        <p:nvSpPr>
          <p:cNvPr id="33" name="Title 1">
            <a:extLst>
              <a:ext uri="{FF2B5EF4-FFF2-40B4-BE49-F238E27FC236}">
                <a16:creationId xmlns:a16="http://schemas.microsoft.com/office/drawing/2014/main" id="{E02383DA-65B3-044E-9E1B-2CC00A0B1CC6}"/>
              </a:ext>
            </a:extLst>
          </p:cNvPr>
          <p:cNvSpPr>
            <a:spLocks noGrp="1"/>
          </p:cNvSpPr>
          <p:nvPr>
            <p:ph type="ctrTitle" hasCustomPrompt="1"/>
          </p:nvPr>
        </p:nvSpPr>
        <p:spPr>
          <a:xfrm>
            <a:off x="1194730" y="2303030"/>
            <a:ext cx="4354731" cy="2279130"/>
          </a:xfrm>
          <a:prstGeom prst="rect">
            <a:avLst/>
          </a:prstGeom>
        </p:spPr>
        <p:txBody>
          <a:bodyPr wrap="square" lIns="0" tIns="0" rIns="0" bIns="0" anchor="ctr" anchorCtr="0">
            <a:normAutofit/>
          </a:bodyPr>
          <a:lstStyle>
            <a:lvl1pPr>
              <a:lnSpc>
                <a:spcPts val="3800"/>
              </a:lnSpc>
              <a:defRPr sz="3600" b="1" i="0" baseline="0">
                <a:solidFill>
                  <a:schemeClr val="tx1"/>
                </a:solidFill>
                <a:latin typeface="Calibri" panose="020F0502020204030204" pitchFamily="34" charset="0"/>
                <a:ea typeface="メイリオ" pitchFamily="50" charset="-128"/>
                <a:cs typeface="Calibri" pitchFamily="34" charset="0"/>
              </a:defRPr>
            </a:lvl1pPr>
          </a:lstStyle>
          <a:p>
            <a:r>
              <a:rPr lang="en-GB"/>
              <a:t>Click to add section title</a:t>
            </a:r>
          </a:p>
        </p:txBody>
      </p:sp>
      <p:sp>
        <p:nvSpPr>
          <p:cNvPr id="28" name="Rectangle 27">
            <a:extLst>
              <a:ext uri="{FF2B5EF4-FFF2-40B4-BE49-F238E27FC236}">
                <a16:creationId xmlns:a16="http://schemas.microsoft.com/office/drawing/2014/main" id="{92F9C2FE-7E43-3948-92F0-0CEA804BDBFE}"/>
              </a:ext>
            </a:extLst>
          </p:cNvPr>
          <p:cNvSpPr/>
          <p:nvPr userDrawn="1"/>
        </p:nvSpPr>
        <p:spPr>
          <a:xfrm>
            <a:off x="749005" y="2110246"/>
            <a:ext cx="97200" cy="270718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kumimoji="0" lang="en-US" altLang="en-US" sz="1800">
              <a:solidFill>
                <a:srgbClr val="FFFFFF"/>
              </a:solidFill>
            </a:endParaRPr>
          </a:p>
        </p:txBody>
      </p:sp>
      <p:sp>
        <p:nvSpPr>
          <p:cNvPr id="13" name="Picture Placeholder 9">
            <a:extLst>
              <a:ext uri="{FF2B5EF4-FFF2-40B4-BE49-F238E27FC236}">
                <a16:creationId xmlns:a16="http://schemas.microsoft.com/office/drawing/2014/main" id="{46656F8F-0621-5F47-BF80-4A4E365A2D91}"/>
              </a:ext>
            </a:extLst>
          </p:cNvPr>
          <p:cNvSpPr>
            <a:spLocks noGrp="1"/>
          </p:cNvSpPr>
          <p:nvPr>
            <p:ph type="pic" sz="quarter" idx="10"/>
          </p:nvPr>
        </p:nvSpPr>
        <p:spPr>
          <a:xfrm>
            <a:off x="6642541" y="-1"/>
            <a:ext cx="5565823" cy="6416675"/>
          </a:xfrm>
          <a:custGeom>
            <a:avLst/>
            <a:gdLst>
              <a:gd name="connsiteX0" fmla="*/ 0 w 10888662"/>
              <a:gd name="connsiteY0" fmla="*/ 579722 h 6442075"/>
              <a:gd name="connsiteX1" fmla="*/ 579722 w 10888662"/>
              <a:gd name="connsiteY1" fmla="*/ 0 h 6442075"/>
              <a:gd name="connsiteX2" fmla="*/ 10308940 w 10888662"/>
              <a:gd name="connsiteY2" fmla="*/ 0 h 6442075"/>
              <a:gd name="connsiteX3" fmla="*/ 10888662 w 10888662"/>
              <a:gd name="connsiteY3" fmla="*/ 579722 h 6442075"/>
              <a:gd name="connsiteX4" fmla="*/ 10888662 w 10888662"/>
              <a:gd name="connsiteY4" fmla="*/ 5862353 h 6442075"/>
              <a:gd name="connsiteX5" fmla="*/ 10308940 w 10888662"/>
              <a:gd name="connsiteY5" fmla="*/ 6442075 h 6442075"/>
              <a:gd name="connsiteX6" fmla="*/ 579722 w 10888662"/>
              <a:gd name="connsiteY6" fmla="*/ 6442075 h 6442075"/>
              <a:gd name="connsiteX7" fmla="*/ 0 w 10888662"/>
              <a:gd name="connsiteY7" fmla="*/ 5862353 h 6442075"/>
              <a:gd name="connsiteX8" fmla="*/ 0 w 10888662"/>
              <a:gd name="connsiteY8" fmla="*/ 579722 h 6442075"/>
              <a:gd name="connsiteX0" fmla="*/ 0 w 10888662"/>
              <a:gd name="connsiteY0" fmla="*/ 659657 h 6522010"/>
              <a:gd name="connsiteX1" fmla="*/ 10308940 w 10888662"/>
              <a:gd name="connsiteY1" fmla="*/ 79935 h 6522010"/>
              <a:gd name="connsiteX2" fmla="*/ 10888662 w 10888662"/>
              <a:gd name="connsiteY2" fmla="*/ 659657 h 6522010"/>
              <a:gd name="connsiteX3" fmla="*/ 10888662 w 10888662"/>
              <a:gd name="connsiteY3" fmla="*/ 5942288 h 6522010"/>
              <a:gd name="connsiteX4" fmla="*/ 10308940 w 10888662"/>
              <a:gd name="connsiteY4" fmla="*/ 6522010 h 6522010"/>
              <a:gd name="connsiteX5" fmla="*/ 579722 w 10888662"/>
              <a:gd name="connsiteY5" fmla="*/ 6522010 h 6522010"/>
              <a:gd name="connsiteX6" fmla="*/ 0 w 10888662"/>
              <a:gd name="connsiteY6" fmla="*/ 5942288 h 6522010"/>
              <a:gd name="connsiteX7" fmla="*/ 0 w 10888662"/>
              <a:gd name="connsiteY7" fmla="*/ 659657 h 6522010"/>
              <a:gd name="connsiteX0" fmla="*/ 0 w 10888662"/>
              <a:gd name="connsiteY0" fmla="*/ 579722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579722 h 6442075"/>
              <a:gd name="connsiteX0" fmla="*/ 0 w 10888662"/>
              <a:gd name="connsiteY0" fmla="*/ 129257 h 6569679"/>
              <a:gd name="connsiteX1" fmla="*/ 10308940 w 10888662"/>
              <a:gd name="connsiteY1" fmla="*/ 127604 h 6569679"/>
              <a:gd name="connsiteX2" fmla="*/ 10888662 w 10888662"/>
              <a:gd name="connsiteY2" fmla="*/ 707326 h 6569679"/>
              <a:gd name="connsiteX3" fmla="*/ 10888662 w 10888662"/>
              <a:gd name="connsiteY3" fmla="*/ 5989957 h 6569679"/>
              <a:gd name="connsiteX4" fmla="*/ 10308940 w 10888662"/>
              <a:gd name="connsiteY4" fmla="*/ 6569679 h 6569679"/>
              <a:gd name="connsiteX5" fmla="*/ 579722 w 10888662"/>
              <a:gd name="connsiteY5" fmla="*/ 6569679 h 6569679"/>
              <a:gd name="connsiteX6" fmla="*/ 0 w 10888662"/>
              <a:gd name="connsiteY6" fmla="*/ 5989957 h 6569679"/>
              <a:gd name="connsiteX7" fmla="*/ 0 w 10888662"/>
              <a:gd name="connsiteY7" fmla="*/ 129257 h 6569679"/>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9657299 w 10888662"/>
              <a:gd name="connsiteY4" fmla="*/ 55276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522010"/>
              <a:gd name="connsiteX1" fmla="*/ 10308940 w 10888662"/>
              <a:gd name="connsiteY1" fmla="*/ 0 h 6522010"/>
              <a:gd name="connsiteX2" fmla="*/ 10888662 w 10888662"/>
              <a:gd name="connsiteY2" fmla="*/ 579722 h 6522010"/>
              <a:gd name="connsiteX3" fmla="*/ 10888662 w 10888662"/>
              <a:gd name="connsiteY3" fmla="*/ 5862353 h 6522010"/>
              <a:gd name="connsiteX4" fmla="*/ 579722 w 10888662"/>
              <a:gd name="connsiteY4" fmla="*/ 6442075 h 6522010"/>
              <a:gd name="connsiteX5" fmla="*/ 0 w 10888662"/>
              <a:gd name="connsiteY5" fmla="*/ 5862353 h 6522010"/>
              <a:gd name="connsiteX6" fmla="*/ 0 w 10888662"/>
              <a:gd name="connsiteY6" fmla="*/ 1653 h 6522010"/>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579722 w 10888662"/>
              <a:gd name="connsiteY4" fmla="*/ 6442075 h 6442075"/>
              <a:gd name="connsiteX5" fmla="*/ 0 w 10888662"/>
              <a:gd name="connsiteY5" fmla="*/ 5862353 h 6442075"/>
              <a:gd name="connsiteX6" fmla="*/ 0 w 10888662"/>
              <a:gd name="connsiteY6" fmla="*/ 1653 h 6442075"/>
              <a:gd name="connsiteX0" fmla="*/ 0 w 10888662"/>
              <a:gd name="connsiteY0" fmla="*/ 1653 h 6585432"/>
              <a:gd name="connsiteX1" fmla="*/ 10308940 w 10888662"/>
              <a:gd name="connsiteY1" fmla="*/ 0 h 6585432"/>
              <a:gd name="connsiteX2" fmla="*/ 10888662 w 10888662"/>
              <a:gd name="connsiteY2" fmla="*/ 579722 h 6585432"/>
              <a:gd name="connsiteX3" fmla="*/ 10878151 w 10888662"/>
              <a:gd name="connsiteY3" fmla="*/ 6461442 h 6585432"/>
              <a:gd name="connsiteX4" fmla="*/ 579722 w 10888662"/>
              <a:gd name="connsiteY4" fmla="*/ 6442075 h 6585432"/>
              <a:gd name="connsiteX5" fmla="*/ 0 w 10888662"/>
              <a:gd name="connsiteY5" fmla="*/ 5862353 h 6585432"/>
              <a:gd name="connsiteX6" fmla="*/ 0 w 10888662"/>
              <a:gd name="connsiteY6" fmla="*/ 1653 h 6585432"/>
              <a:gd name="connsiteX0" fmla="*/ 0 w 10888662"/>
              <a:gd name="connsiteY0" fmla="*/ 1653 h 6577502"/>
              <a:gd name="connsiteX1" fmla="*/ 10308940 w 10888662"/>
              <a:gd name="connsiteY1" fmla="*/ 0 h 6577502"/>
              <a:gd name="connsiteX2" fmla="*/ 10888662 w 10888662"/>
              <a:gd name="connsiteY2" fmla="*/ 579722 h 6577502"/>
              <a:gd name="connsiteX3" fmla="*/ 10878151 w 10888662"/>
              <a:gd name="connsiteY3" fmla="*/ 6450932 h 6577502"/>
              <a:gd name="connsiteX4" fmla="*/ 579722 w 10888662"/>
              <a:gd name="connsiteY4" fmla="*/ 6442075 h 6577502"/>
              <a:gd name="connsiteX5" fmla="*/ 0 w 10888662"/>
              <a:gd name="connsiteY5" fmla="*/ 5862353 h 6577502"/>
              <a:gd name="connsiteX6" fmla="*/ 0 w 10888662"/>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0888662"/>
              <a:gd name="connsiteY0" fmla="*/ 1653 h 6450932"/>
              <a:gd name="connsiteX1" fmla="*/ 10308940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0999550"/>
              <a:gd name="connsiteY0" fmla="*/ 1653 h 6450932"/>
              <a:gd name="connsiteX1" fmla="*/ 10844968 w 10999550"/>
              <a:gd name="connsiteY1" fmla="*/ 0 h 6450932"/>
              <a:gd name="connsiteX2" fmla="*/ 10888662 w 10999550"/>
              <a:gd name="connsiteY2" fmla="*/ 579722 h 6450932"/>
              <a:gd name="connsiteX3" fmla="*/ 10878151 w 10999550"/>
              <a:gd name="connsiteY3" fmla="*/ 6450932 h 6450932"/>
              <a:gd name="connsiteX4" fmla="*/ 579722 w 10999550"/>
              <a:gd name="connsiteY4" fmla="*/ 6442075 h 6450932"/>
              <a:gd name="connsiteX5" fmla="*/ 0 w 10999550"/>
              <a:gd name="connsiteY5" fmla="*/ 5862353 h 6450932"/>
              <a:gd name="connsiteX6" fmla="*/ 0 w 10999550"/>
              <a:gd name="connsiteY6" fmla="*/ 1653 h 6450932"/>
              <a:gd name="connsiteX0" fmla="*/ 0 w 11022020"/>
              <a:gd name="connsiteY0" fmla="*/ 1653 h 6450932"/>
              <a:gd name="connsiteX1" fmla="*/ 10876499 w 11022020"/>
              <a:gd name="connsiteY1" fmla="*/ 0 h 6450932"/>
              <a:gd name="connsiteX2" fmla="*/ 10888662 w 11022020"/>
              <a:gd name="connsiteY2" fmla="*/ 579722 h 6450932"/>
              <a:gd name="connsiteX3" fmla="*/ 10878151 w 11022020"/>
              <a:gd name="connsiteY3" fmla="*/ 6450932 h 6450932"/>
              <a:gd name="connsiteX4" fmla="*/ 579722 w 11022020"/>
              <a:gd name="connsiteY4" fmla="*/ 6442075 h 6450932"/>
              <a:gd name="connsiteX5" fmla="*/ 0 w 11022020"/>
              <a:gd name="connsiteY5" fmla="*/ 5862353 h 6450932"/>
              <a:gd name="connsiteX6" fmla="*/ 0 w 11022020"/>
              <a:gd name="connsiteY6" fmla="*/ 1653 h 6450932"/>
              <a:gd name="connsiteX0" fmla="*/ 0 w 10888662"/>
              <a:gd name="connsiteY0" fmla="*/ 1653 h 6450932"/>
              <a:gd name="connsiteX1" fmla="*/ 10876499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2200990"/>
              <a:gd name="connsiteY0" fmla="*/ 1653 h 6450932"/>
              <a:gd name="connsiteX1" fmla="*/ 10876499 w 12200990"/>
              <a:gd name="connsiteY1" fmla="*/ 0 h 6450932"/>
              <a:gd name="connsiteX2" fmla="*/ 10878151 w 12200990"/>
              <a:gd name="connsiteY2" fmla="*/ 6450932 h 6450932"/>
              <a:gd name="connsiteX3" fmla="*/ 579722 w 12200990"/>
              <a:gd name="connsiteY3" fmla="*/ 6442075 h 6450932"/>
              <a:gd name="connsiteX4" fmla="*/ 0 w 12200990"/>
              <a:gd name="connsiteY4" fmla="*/ 5862353 h 6450932"/>
              <a:gd name="connsiteX5" fmla="*/ 0 w 12200990"/>
              <a:gd name="connsiteY5" fmla="*/ 1653 h 6450932"/>
              <a:gd name="connsiteX0" fmla="*/ 0 w 11640630"/>
              <a:gd name="connsiteY0" fmla="*/ 1653 h 6450932"/>
              <a:gd name="connsiteX1" fmla="*/ 10876499 w 11640630"/>
              <a:gd name="connsiteY1" fmla="*/ 0 h 6450932"/>
              <a:gd name="connsiteX2" fmla="*/ 10878151 w 11640630"/>
              <a:gd name="connsiteY2" fmla="*/ 6450932 h 6450932"/>
              <a:gd name="connsiteX3" fmla="*/ 579722 w 11640630"/>
              <a:gd name="connsiteY3" fmla="*/ 6442075 h 6450932"/>
              <a:gd name="connsiteX4" fmla="*/ 0 w 11640630"/>
              <a:gd name="connsiteY4" fmla="*/ 5862353 h 6450932"/>
              <a:gd name="connsiteX5" fmla="*/ 0 w 11640630"/>
              <a:gd name="connsiteY5" fmla="*/ 1653 h 6450932"/>
              <a:gd name="connsiteX0" fmla="*/ 0 w 10878151"/>
              <a:gd name="connsiteY0" fmla="*/ 1653 h 6450932"/>
              <a:gd name="connsiteX1" fmla="*/ 10876499 w 10878151"/>
              <a:gd name="connsiteY1" fmla="*/ 0 h 6450932"/>
              <a:gd name="connsiteX2" fmla="*/ 10878151 w 10878151"/>
              <a:gd name="connsiteY2" fmla="*/ 6450932 h 6450932"/>
              <a:gd name="connsiteX3" fmla="*/ 579722 w 10878151"/>
              <a:gd name="connsiteY3" fmla="*/ 6442075 h 6450932"/>
              <a:gd name="connsiteX4" fmla="*/ 0 w 10878151"/>
              <a:gd name="connsiteY4" fmla="*/ 5862353 h 6450932"/>
              <a:gd name="connsiteX5" fmla="*/ 0 w 10878151"/>
              <a:gd name="connsiteY5" fmla="*/ 1653 h 6450932"/>
              <a:gd name="connsiteX0" fmla="*/ 0 w 11843451"/>
              <a:gd name="connsiteY0" fmla="*/ 1653 h 6450932"/>
              <a:gd name="connsiteX1" fmla="*/ 11843451 w 11843451"/>
              <a:gd name="connsiteY1" fmla="*/ 0 h 6450932"/>
              <a:gd name="connsiteX2" fmla="*/ 10878151 w 11843451"/>
              <a:gd name="connsiteY2" fmla="*/ 6450932 h 6450932"/>
              <a:gd name="connsiteX3" fmla="*/ 579722 w 11843451"/>
              <a:gd name="connsiteY3" fmla="*/ 6442075 h 6450932"/>
              <a:gd name="connsiteX4" fmla="*/ 0 w 11843451"/>
              <a:gd name="connsiteY4" fmla="*/ 5862353 h 6450932"/>
              <a:gd name="connsiteX5" fmla="*/ 0 w 11843451"/>
              <a:gd name="connsiteY5" fmla="*/ 1653 h 6450932"/>
              <a:gd name="connsiteX0" fmla="*/ 0 w 11855613"/>
              <a:gd name="connsiteY0" fmla="*/ 1653 h 6450932"/>
              <a:gd name="connsiteX1" fmla="*/ 11843451 w 11855613"/>
              <a:gd name="connsiteY1" fmla="*/ 0 h 6450932"/>
              <a:gd name="connsiteX2" fmla="*/ 11855613 w 11855613"/>
              <a:gd name="connsiteY2" fmla="*/ 6450932 h 6450932"/>
              <a:gd name="connsiteX3" fmla="*/ 579722 w 11855613"/>
              <a:gd name="connsiteY3" fmla="*/ 6442075 h 6450932"/>
              <a:gd name="connsiteX4" fmla="*/ 0 w 11855613"/>
              <a:gd name="connsiteY4" fmla="*/ 5862353 h 6450932"/>
              <a:gd name="connsiteX5" fmla="*/ 0 w 11855613"/>
              <a:gd name="connsiteY5" fmla="*/ 1653 h 6450932"/>
              <a:gd name="connsiteX0" fmla="*/ 0 w 11864472"/>
              <a:gd name="connsiteY0" fmla="*/ 1653 h 6450932"/>
              <a:gd name="connsiteX1" fmla="*/ 11864472 w 11864472"/>
              <a:gd name="connsiteY1" fmla="*/ 0 h 6450932"/>
              <a:gd name="connsiteX2" fmla="*/ 11855613 w 11864472"/>
              <a:gd name="connsiteY2" fmla="*/ 6450932 h 6450932"/>
              <a:gd name="connsiteX3" fmla="*/ 579722 w 11864472"/>
              <a:gd name="connsiteY3" fmla="*/ 6442075 h 6450932"/>
              <a:gd name="connsiteX4" fmla="*/ 0 w 11864472"/>
              <a:gd name="connsiteY4" fmla="*/ 5862353 h 6450932"/>
              <a:gd name="connsiteX5" fmla="*/ 0 w 11864472"/>
              <a:gd name="connsiteY5" fmla="*/ 1653 h 6450932"/>
              <a:gd name="connsiteX0" fmla="*/ 0 w 11864472"/>
              <a:gd name="connsiteY0" fmla="*/ 1653 h 6442075"/>
              <a:gd name="connsiteX1" fmla="*/ 11864472 w 11864472"/>
              <a:gd name="connsiteY1" fmla="*/ 0 h 6442075"/>
              <a:gd name="connsiteX2" fmla="*/ 11855613 w 11864472"/>
              <a:gd name="connsiteY2" fmla="*/ 6440421 h 6442075"/>
              <a:gd name="connsiteX3" fmla="*/ 579722 w 11864472"/>
              <a:gd name="connsiteY3" fmla="*/ 6442075 h 6442075"/>
              <a:gd name="connsiteX4" fmla="*/ 0 w 11864472"/>
              <a:gd name="connsiteY4" fmla="*/ 5862353 h 6442075"/>
              <a:gd name="connsiteX5" fmla="*/ 0 w 11864472"/>
              <a:gd name="connsiteY5" fmla="*/ 1653 h 6442075"/>
              <a:gd name="connsiteX0" fmla="*/ 0 w 11864472"/>
              <a:gd name="connsiteY0" fmla="*/ 0 h 6630428"/>
              <a:gd name="connsiteX1" fmla="*/ 11864472 w 11864472"/>
              <a:gd name="connsiteY1" fmla="*/ 188353 h 6630428"/>
              <a:gd name="connsiteX2" fmla="*/ 11855613 w 11864472"/>
              <a:gd name="connsiteY2" fmla="*/ 6628774 h 6630428"/>
              <a:gd name="connsiteX3" fmla="*/ 579722 w 11864472"/>
              <a:gd name="connsiteY3" fmla="*/ 6630428 h 6630428"/>
              <a:gd name="connsiteX4" fmla="*/ 0 w 11864472"/>
              <a:gd name="connsiteY4" fmla="*/ 6050706 h 6630428"/>
              <a:gd name="connsiteX5" fmla="*/ 0 w 11864472"/>
              <a:gd name="connsiteY5" fmla="*/ 0 h 6630428"/>
              <a:gd name="connsiteX0" fmla="*/ 0 w 11864472"/>
              <a:gd name="connsiteY0" fmla="*/ 13527 h 6643955"/>
              <a:gd name="connsiteX1" fmla="*/ 11864472 w 11864472"/>
              <a:gd name="connsiteY1" fmla="*/ 0 h 6643955"/>
              <a:gd name="connsiteX2" fmla="*/ 11855613 w 11864472"/>
              <a:gd name="connsiteY2" fmla="*/ 6642301 h 6643955"/>
              <a:gd name="connsiteX3" fmla="*/ 579722 w 11864472"/>
              <a:gd name="connsiteY3" fmla="*/ 6643955 h 6643955"/>
              <a:gd name="connsiteX4" fmla="*/ 0 w 11864472"/>
              <a:gd name="connsiteY4" fmla="*/ 6064233 h 6643955"/>
              <a:gd name="connsiteX5" fmla="*/ 0 w 11864472"/>
              <a:gd name="connsiteY5" fmla="*/ 13527 h 6643955"/>
              <a:gd name="connsiteX0" fmla="*/ 0 w 11864472"/>
              <a:gd name="connsiteY0" fmla="*/ 1319813 h 6643955"/>
              <a:gd name="connsiteX1" fmla="*/ 11864472 w 11864472"/>
              <a:gd name="connsiteY1" fmla="*/ 0 h 6643955"/>
              <a:gd name="connsiteX2" fmla="*/ 11855613 w 11864472"/>
              <a:gd name="connsiteY2" fmla="*/ 6642301 h 6643955"/>
              <a:gd name="connsiteX3" fmla="*/ 579722 w 11864472"/>
              <a:gd name="connsiteY3" fmla="*/ 6643955 h 6643955"/>
              <a:gd name="connsiteX4" fmla="*/ 0 w 11864472"/>
              <a:gd name="connsiteY4" fmla="*/ 6064233 h 6643955"/>
              <a:gd name="connsiteX5" fmla="*/ 0 w 11864472"/>
              <a:gd name="connsiteY5" fmla="*/ 1319813 h 6643955"/>
              <a:gd name="connsiteX0" fmla="*/ 0 w 11864472"/>
              <a:gd name="connsiteY0" fmla="*/ 13527 h 5337669"/>
              <a:gd name="connsiteX1" fmla="*/ 11864472 w 11864472"/>
              <a:gd name="connsiteY1" fmla="*/ 0 h 5337669"/>
              <a:gd name="connsiteX2" fmla="*/ 11855613 w 11864472"/>
              <a:gd name="connsiteY2" fmla="*/ 5336015 h 5337669"/>
              <a:gd name="connsiteX3" fmla="*/ 579722 w 11864472"/>
              <a:gd name="connsiteY3" fmla="*/ 5337669 h 5337669"/>
              <a:gd name="connsiteX4" fmla="*/ 0 w 11864472"/>
              <a:gd name="connsiteY4" fmla="*/ 4757947 h 5337669"/>
              <a:gd name="connsiteX5" fmla="*/ 0 w 11864472"/>
              <a:gd name="connsiteY5" fmla="*/ 13527 h 5337669"/>
              <a:gd name="connsiteX0" fmla="*/ 0 w 11864472"/>
              <a:gd name="connsiteY0" fmla="*/ 1652 h 5337669"/>
              <a:gd name="connsiteX1" fmla="*/ 11864472 w 11864472"/>
              <a:gd name="connsiteY1" fmla="*/ 0 h 5337669"/>
              <a:gd name="connsiteX2" fmla="*/ 11855613 w 11864472"/>
              <a:gd name="connsiteY2" fmla="*/ 5336015 h 5337669"/>
              <a:gd name="connsiteX3" fmla="*/ 579722 w 11864472"/>
              <a:gd name="connsiteY3" fmla="*/ 5337669 h 5337669"/>
              <a:gd name="connsiteX4" fmla="*/ 0 w 11864472"/>
              <a:gd name="connsiteY4" fmla="*/ 4757947 h 5337669"/>
              <a:gd name="connsiteX5" fmla="*/ 0 w 11864472"/>
              <a:gd name="connsiteY5" fmla="*/ 1652 h 5337669"/>
              <a:gd name="connsiteX0" fmla="*/ 0 w 11864472"/>
              <a:gd name="connsiteY0" fmla="*/ 2201927 h 5337669"/>
              <a:gd name="connsiteX1" fmla="*/ 11864472 w 11864472"/>
              <a:gd name="connsiteY1" fmla="*/ 0 h 5337669"/>
              <a:gd name="connsiteX2" fmla="*/ 11855613 w 11864472"/>
              <a:gd name="connsiteY2" fmla="*/ 5336015 h 5337669"/>
              <a:gd name="connsiteX3" fmla="*/ 579722 w 11864472"/>
              <a:gd name="connsiteY3" fmla="*/ 5337669 h 5337669"/>
              <a:gd name="connsiteX4" fmla="*/ 0 w 11864472"/>
              <a:gd name="connsiteY4" fmla="*/ 4757947 h 5337669"/>
              <a:gd name="connsiteX5" fmla="*/ 0 w 11864472"/>
              <a:gd name="connsiteY5" fmla="*/ 2201927 h 5337669"/>
              <a:gd name="connsiteX0" fmla="*/ 0 w 11864472"/>
              <a:gd name="connsiteY0" fmla="*/ 1652 h 3137394"/>
              <a:gd name="connsiteX1" fmla="*/ 11864472 w 11864472"/>
              <a:gd name="connsiteY1" fmla="*/ 0 h 3137394"/>
              <a:gd name="connsiteX2" fmla="*/ 11855613 w 11864472"/>
              <a:gd name="connsiteY2" fmla="*/ 3135740 h 3137394"/>
              <a:gd name="connsiteX3" fmla="*/ 579722 w 11864472"/>
              <a:gd name="connsiteY3" fmla="*/ 3137394 h 3137394"/>
              <a:gd name="connsiteX4" fmla="*/ 0 w 11864472"/>
              <a:gd name="connsiteY4" fmla="*/ 2557672 h 3137394"/>
              <a:gd name="connsiteX5" fmla="*/ 0 w 11864472"/>
              <a:gd name="connsiteY5" fmla="*/ 1652 h 3137394"/>
              <a:gd name="connsiteX0" fmla="*/ 0 w 11864472"/>
              <a:gd name="connsiteY0" fmla="*/ 0 h 3420555"/>
              <a:gd name="connsiteX1" fmla="*/ 11864472 w 11864472"/>
              <a:gd name="connsiteY1" fmla="*/ 283161 h 3420555"/>
              <a:gd name="connsiteX2" fmla="*/ 11855613 w 11864472"/>
              <a:gd name="connsiteY2" fmla="*/ 3418901 h 3420555"/>
              <a:gd name="connsiteX3" fmla="*/ 579722 w 11864472"/>
              <a:gd name="connsiteY3" fmla="*/ 3420555 h 3420555"/>
              <a:gd name="connsiteX4" fmla="*/ 0 w 11864472"/>
              <a:gd name="connsiteY4" fmla="*/ 2840833 h 3420555"/>
              <a:gd name="connsiteX5" fmla="*/ 0 w 11864472"/>
              <a:gd name="connsiteY5" fmla="*/ 0 h 3420555"/>
              <a:gd name="connsiteX0" fmla="*/ 0 w 11864472"/>
              <a:gd name="connsiteY0" fmla="*/ 1652 h 3422207"/>
              <a:gd name="connsiteX1" fmla="*/ 11864472 w 11864472"/>
              <a:gd name="connsiteY1" fmla="*/ 0 h 3422207"/>
              <a:gd name="connsiteX2" fmla="*/ 11855613 w 11864472"/>
              <a:gd name="connsiteY2" fmla="*/ 3420553 h 3422207"/>
              <a:gd name="connsiteX3" fmla="*/ 579722 w 11864472"/>
              <a:gd name="connsiteY3" fmla="*/ 3422207 h 3422207"/>
              <a:gd name="connsiteX4" fmla="*/ 0 w 11864472"/>
              <a:gd name="connsiteY4" fmla="*/ 2842485 h 3422207"/>
              <a:gd name="connsiteX5" fmla="*/ 0 w 11864472"/>
              <a:gd name="connsiteY5" fmla="*/ 1652 h 3422207"/>
              <a:gd name="connsiteX0" fmla="*/ 0 w 11855613"/>
              <a:gd name="connsiteY0" fmla="*/ 0 h 3420555"/>
              <a:gd name="connsiteX1" fmla="*/ 11834492 w 11855613"/>
              <a:gd name="connsiteY1" fmla="*/ 58309 h 3420555"/>
              <a:gd name="connsiteX2" fmla="*/ 11855613 w 11855613"/>
              <a:gd name="connsiteY2" fmla="*/ 3418901 h 3420555"/>
              <a:gd name="connsiteX3" fmla="*/ 579722 w 11855613"/>
              <a:gd name="connsiteY3" fmla="*/ 3420555 h 3420555"/>
              <a:gd name="connsiteX4" fmla="*/ 0 w 11855613"/>
              <a:gd name="connsiteY4" fmla="*/ 2840833 h 3420555"/>
              <a:gd name="connsiteX5" fmla="*/ 0 w 11855613"/>
              <a:gd name="connsiteY5" fmla="*/ 0 h 3420555"/>
              <a:gd name="connsiteX0" fmla="*/ 0 w 11855613"/>
              <a:gd name="connsiteY0" fmla="*/ 1652 h 3362246"/>
              <a:gd name="connsiteX1" fmla="*/ 11834492 w 11855613"/>
              <a:gd name="connsiteY1" fmla="*/ 0 h 3362246"/>
              <a:gd name="connsiteX2" fmla="*/ 11855613 w 11855613"/>
              <a:gd name="connsiteY2" fmla="*/ 3360592 h 3362246"/>
              <a:gd name="connsiteX3" fmla="*/ 579722 w 11855613"/>
              <a:gd name="connsiteY3" fmla="*/ 3362246 h 3362246"/>
              <a:gd name="connsiteX4" fmla="*/ 0 w 11855613"/>
              <a:gd name="connsiteY4" fmla="*/ 2782524 h 3362246"/>
              <a:gd name="connsiteX5" fmla="*/ 0 w 11855613"/>
              <a:gd name="connsiteY5" fmla="*/ 1652 h 3362246"/>
              <a:gd name="connsiteX0" fmla="*/ 0 w 11864473"/>
              <a:gd name="connsiteY0" fmla="*/ 0 h 3360594"/>
              <a:gd name="connsiteX1" fmla="*/ 11864473 w 11864473"/>
              <a:gd name="connsiteY1" fmla="*/ 13338 h 3360594"/>
              <a:gd name="connsiteX2" fmla="*/ 11855613 w 11864473"/>
              <a:gd name="connsiteY2" fmla="*/ 3358940 h 3360594"/>
              <a:gd name="connsiteX3" fmla="*/ 579722 w 11864473"/>
              <a:gd name="connsiteY3" fmla="*/ 3360594 h 3360594"/>
              <a:gd name="connsiteX4" fmla="*/ 0 w 11864473"/>
              <a:gd name="connsiteY4" fmla="*/ 2780872 h 3360594"/>
              <a:gd name="connsiteX5" fmla="*/ 0 w 11864473"/>
              <a:gd name="connsiteY5" fmla="*/ 0 h 3360594"/>
              <a:gd name="connsiteX0" fmla="*/ 0 w 11864473"/>
              <a:gd name="connsiteY0" fmla="*/ 1652 h 3362246"/>
              <a:gd name="connsiteX1" fmla="*/ 11864473 w 11864473"/>
              <a:gd name="connsiteY1" fmla="*/ 0 h 3362246"/>
              <a:gd name="connsiteX2" fmla="*/ 11855613 w 11864473"/>
              <a:gd name="connsiteY2" fmla="*/ 3360592 h 3362246"/>
              <a:gd name="connsiteX3" fmla="*/ 579722 w 11864473"/>
              <a:gd name="connsiteY3" fmla="*/ 3362246 h 3362246"/>
              <a:gd name="connsiteX4" fmla="*/ 0 w 11864473"/>
              <a:gd name="connsiteY4" fmla="*/ 2782524 h 3362246"/>
              <a:gd name="connsiteX5" fmla="*/ 0 w 11864473"/>
              <a:gd name="connsiteY5" fmla="*/ 1652 h 3362246"/>
              <a:gd name="connsiteX0" fmla="*/ 0 w 11855629"/>
              <a:gd name="connsiteY0" fmla="*/ 1652 h 3362246"/>
              <a:gd name="connsiteX1" fmla="*/ 11459359 w 11855629"/>
              <a:gd name="connsiteY1" fmla="*/ 0 h 3362246"/>
              <a:gd name="connsiteX2" fmla="*/ 11855613 w 11855629"/>
              <a:gd name="connsiteY2" fmla="*/ 3360592 h 3362246"/>
              <a:gd name="connsiteX3" fmla="*/ 579722 w 11855629"/>
              <a:gd name="connsiteY3" fmla="*/ 3362246 h 3362246"/>
              <a:gd name="connsiteX4" fmla="*/ 0 w 11855629"/>
              <a:gd name="connsiteY4" fmla="*/ 2782524 h 3362246"/>
              <a:gd name="connsiteX5" fmla="*/ 0 w 11855629"/>
              <a:gd name="connsiteY5" fmla="*/ 1652 h 3362246"/>
              <a:gd name="connsiteX0" fmla="*/ 0 w 11459359"/>
              <a:gd name="connsiteY0" fmla="*/ 1652 h 3362246"/>
              <a:gd name="connsiteX1" fmla="*/ 11459359 w 11459359"/>
              <a:gd name="connsiteY1" fmla="*/ 0 h 3362246"/>
              <a:gd name="connsiteX2" fmla="*/ 11438924 w 11459359"/>
              <a:gd name="connsiteY2" fmla="*/ 3360592 h 3362246"/>
              <a:gd name="connsiteX3" fmla="*/ 579722 w 11459359"/>
              <a:gd name="connsiteY3" fmla="*/ 3362246 h 3362246"/>
              <a:gd name="connsiteX4" fmla="*/ 0 w 11459359"/>
              <a:gd name="connsiteY4" fmla="*/ 2782524 h 3362246"/>
              <a:gd name="connsiteX5" fmla="*/ 0 w 11459359"/>
              <a:gd name="connsiteY5" fmla="*/ 1652 h 3362246"/>
              <a:gd name="connsiteX0" fmla="*/ 0 w 11459359"/>
              <a:gd name="connsiteY0" fmla="*/ 1652 h 3362246"/>
              <a:gd name="connsiteX1" fmla="*/ 11459359 w 11459359"/>
              <a:gd name="connsiteY1" fmla="*/ 0 h 3362246"/>
              <a:gd name="connsiteX2" fmla="*/ 11438924 w 11459359"/>
              <a:gd name="connsiteY2" fmla="*/ 3360592 h 3362246"/>
              <a:gd name="connsiteX3" fmla="*/ 1584742 w 11459359"/>
              <a:gd name="connsiteY3" fmla="*/ 3362246 h 3362246"/>
              <a:gd name="connsiteX4" fmla="*/ 0 w 11459359"/>
              <a:gd name="connsiteY4" fmla="*/ 2782524 h 3362246"/>
              <a:gd name="connsiteX5" fmla="*/ 0 w 11459359"/>
              <a:gd name="connsiteY5" fmla="*/ 1652 h 3362246"/>
              <a:gd name="connsiteX0" fmla="*/ 0 w 11459359"/>
              <a:gd name="connsiteY0" fmla="*/ 1652 h 3360592"/>
              <a:gd name="connsiteX1" fmla="*/ 11459359 w 11459359"/>
              <a:gd name="connsiteY1" fmla="*/ 0 h 3360592"/>
              <a:gd name="connsiteX2" fmla="*/ 11438924 w 11459359"/>
              <a:gd name="connsiteY2" fmla="*/ 3360592 h 3360592"/>
              <a:gd name="connsiteX3" fmla="*/ 1188396 w 11459359"/>
              <a:gd name="connsiteY3" fmla="*/ 3358591 h 3360592"/>
              <a:gd name="connsiteX4" fmla="*/ 0 w 11459359"/>
              <a:gd name="connsiteY4" fmla="*/ 2782524 h 3360592"/>
              <a:gd name="connsiteX5" fmla="*/ 0 w 11459359"/>
              <a:gd name="connsiteY5" fmla="*/ 1652 h 3360592"/>
              <a:gd name="connsiteX0" fmla="*/ 0 w 11459359"/>
              <a:gd name="connsiteY0" fmla="*/ 1652 h 3360592"/>
              <a:gd name="connsiteX1" fmla="*/ 11459359 w 11459359"/>
              <a:gd name="connsiteY1" fmla="*/ 0 h 3360592"/>
              <a:gd name="connsiteX2" fmla="*/ 11438924 w 11459359"/>
              <a:gd name="connsiteY2" fmla="*/ 3360592 h 3360592"/>
              <a:gd name="connsiteX3" fmla="*/ 1188396 w 11459359"/>
              <a:gd name="connsiteY3" fmla="*/ 3358591 h 3360592"/>
              <a:gd name="connsiteX4" fmla="*/ 0 w 11459359"/>
              <a:gd name="connsiteY4" fmla="*/ 2946995 h 3360592"/>
              <a:gd name="connsiteX5" fmla="*/ 0 w 11459359"/>
              <a:gd name="connsiteY5" fmla="*/ 1652 h 3360592"/>
              <a:gd name="connsiteX0" fmla="*/ 0 w 11459359"/>
              <a:gd name="connsiteY0" fmla="*/ 1652 h 3360592"/>
              <a:gd name="connsiteX1" fmla="*/ 11459359 w 11459359"/>
              <a:gd name="connsiteY1" fmla="*/ 0 h 3360592"/>
              <a:gd name="connsiteX2" fmla="*/ 11438924 w 11459359"/>
              <a:gd name="connsiteY2" fmla="*/ 3360592 h 3360592"/>
              <a:gd name="connsiteX3" fmla="*/ 1188396 w 11459359"/>
              <a:gd name="connsiteY3" fmla="*/ 3358591 h 3360592"/>
              <a:gd name="connsiteX4" fmla="*/ 0 w 11459359"/>
              <a:gd name="connsiteY4" fmla="*/ 2946995 h 3360592"/>
              <a:gd name="connsiteX5" fmla="*/ 0 w 11459359"/>
              <a:gd name="connsiteY5" fmla="*/ 1652 h 3360592"/>
              <a:gd name="connsiteX0" fmla="*/ 0 w 11459359"/>
              <a:gd name="connsiteY0" fmla="*/ 1652 h 3360592"/>
              <a:gd name="connsiteX1" fmla="*/ 11459359 w 11459359"/>
              <a:gd name="connsiteY1" fmla="*/ 0 h 3360592"/>
              <a:gd name="connsiteX2" fmla="*/ 11438924 w 11459359"/>
              <a:gd name="connsiteY2" fmla="*/ 3360592 h 3360592"/>
              <a:gd name="connsiteX3" fmla="*/ 1188396 w 11459359"/>
              <a:gd name="connsiteY3" fmla="*/ 3358591 h 3360592"/>
              <a:gd name="connsiteX4" fmla="*/ 0 w 11459359"/>
              <a:gd name="connsiteY4" fmla="*/ 2946995 h 3360592"/>
              <a:gd name="connsiteX5" fmla="*/ 0 w 11459359"/>
              <a:gd name="connsiteY5" fmla="*/ 1652 h 33605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459359" h="3360592">
                <a:moveTo>
                  <a:pt x="0" y="1652"/>
                </a:moveTo>
                <a:lnTo>
                  <a:pt x="11459359" y="0"/>
                </a:lnTo>
                <a:cubicBezTo>
                  <a:pt x="11456406" y="1115201"/>
                  <a:pt x="11441877" y="2245391"/>
                  <a:pt x="11438924" y="3360592"/>
                </a:cubicBezTo>
                <a:lnTo>
                  <a:pt x="1188396" y="3358591"/>
                </a:lnTo>
                <a:cubicBezTo>
                  <a:pt x="848612" y="3356903"/>
                  <a:pt x="0" y="3267167"/>
                  <a:pt x="0" y="2946995"/>
                </a:cubicBezTo>
                <a:lnTo>
                  <a:pt x="0" y="1652"/>
                </a:lnTo>
                <a:close/>
              </a:path>
            </a:pathLst>
          </a:custGeom>
          <a:noFill/>
        </p:spPr>
        <p:txBody>
          <a:bodyPr/>
          <a:lstStyle>
            <a:lvl1pPr marL="0" indent="0">
              <a:buNone/>
              <a:defRPr sz="2400">
                <a:solidFill>
                  <a:schemeClr val="bg1"/>
                </a:solidFill>
              </a:defRPr>
            </a:lvl1pPr>
          </a:lstStyle>
          <a:p>
            <a:r>
              <a:rPr lang="en-US"/>
              <a:t>Click icon to add picture</a:t>
            </a:r>
            <a:endParaRPr lang="en-JP"/>
          </a:p>
        </p:txBody>
      </p:sp>
    </p:spTree>
    <p:extLst>
      <p:ext uri="{BB962C8B-B14F-4D97-AF65-F5344CB8AC3E}">
        <p14:creationId xmlns:p14="http://schemas.microsoft.com/office/powerpoint/2010/main" val="2860235769"/>
      </p:ext>
    </p:extLst>
  </p:cSld>
  <p:clrMapOvr>
    <a:masterClrMapping/>
  </p:clrMapOvr>
  <p:transition spd="slow">
    <p:push dir="u"/>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Blank slide">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30A5DA52-BBAF-EA48-AEC6-EA08F428CF57}"/>
              </a:ext>
            </a:extLst>
          </p:cNvPr>
          <p:cNvSpPr>
            <a:spLocks noGrp="1"/>
          </p:cNvSpPr>
          <p:nvPr>
            <p:ph type="body" sz="quarter" idx="10" hasCustomPrompt="1"/>
          </p:nvPr>
        </p:nvSpPr>
        <p:spPr>
          <a:xfrm>
            <a:off x="300038" y="371959"/>
            <a:ext cx="11591925" cy="6044716"/>
          </a:xfrm>
          <a:prstGeom prst="rect">
            <a:avLst/>
          </a:prstGeom>
        </p:spPr>
        <p:txBody>
          <a:bodyPr anchor="ctr" anchorCtr="0"/>
          <a:lstStyle>
            <a:lvl1pPr marL="0" indent="0" algn="ctr">
              <a:lnSpc>
                <a:spcPct val="100000"/>
              </a:lnSpc>
              <a:buNone/>
              <a:defRPr sz="3000"/>
            </a:lvl1pPr>
          </a:lstStyle>
          <a:p>
            <a:pPr lvl="0"/>
            <a:r>
              <a:rPr lang="en-US"/>
              <a:t>Blank slide</a:t>
            </a:r>
            <a:endParaRPr lang="en-JP"/>
          </a:p>
        </p:txBody>
      </p:sp>
    </p:spTree>
    <p:extLst>
      <p:ext uri="{BB962C8B-B14F-4D97-AF65-F5344CB8AC3E}">
        <p14:creationId xmlns:p14="http://schemas.microsoft.com/office/powerpoint/2010/main" val="2123171799"/>
      </p:ext>
    </p:extLst>
  </p:cSld>
  <p:clrMapOvr>
    <a:masterClrMapping/>
  </p:clrMapOvr>
  <p:transition spd="slow">
    <p:push dir="u"/>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tags" Target="../tags/tag2.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oleObject" Target="../embeddings/oleObject1.bin"/><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3.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7.xml"/><Relationship Id="rId13" Type="http://schemas.openxmlformats.org/officeDocument/2006/relationships/slideLayout" Target="../slideLayouts/slideLayout32.xml"/><Relationship Id="rId18" Type="http://schemas.openxmlformats.org/officeDocument/2006/relationships/slideLayout" Target="../slideLayouts/slideLayout37.xml"/><Relationship Id="rId3" Type="http://schemas.openxmlformats.org/officeDocument/2006/relationships/slideLayout" Target="../slideLayouts/slideLayout22.xml"/><Relationship Id="rId21" Type="http://schemas.openxmlformats.org/officeDocument/2006/relationships/tags" Target="../tags/tag4.xml"/><Relationship Id="rId7" Type="http://schemas.openxmlformats.org/officeDocument/2006/relationships/slideLayout" Target="../slideLayouts/slideLayout26.xml"/><Relationship Id="rId12" Type="http://schemas.openxmlformats.org/officeDocument/2006/relationships/slideLayout" Target="../slideLayouts/slideLayout31.xml"/><Relationship Id="rId17" Type="http://schemas.openxmlformats.org/officeDocument/2006/relationships/slideLayout" Target="../slideLayouts/slideLayout36.xml"/><Relationship Id="rId2" Type="http://schemas.openxmlformats.org/officeDocument/2006/relationships/slideLayout" Target="../slideLayouts/slideLayout21.xml"/><Relationship Id="rId16" Type="http://schemas.openxmlformats.org/officeDocument/2006/relationships/slideLayout" Target="../slideLayouts/slideLayout35.xml"/><Relationship Id="rId20" Type="http://schemas.openxmlformats.org/officeDocument/2006/relationships/theme" Target="../theme/theme2.xml"/><Relationship Id="rId1" Type="http://schemas.openxmlformats.org/officeDocument/2006/relationships/slideLayout" Target="../slideLayouts/slideLayout20.xml"/><Relationship Id="rId6" Type="http://schemas.openxmlformats.org/officeDocument/2006/relationships/slideLayout" Target="../slideLayouts/slideLayout25.xml"/><Relationship Id="rId11" Type="http://schemas.openxmlformats.org/officeDocument/2006/relationships/slideLayout" Target="../slideLayouts/slideLayout30.xml"/><Relationship Id="rId24" Type="http://schemas.openxmlformats.org/officeDocument/2006/relationships/image" Target="../media/image1.emf"/><Relationship Id="rId5" Type="http://schemas.openxmlformats.org/officeDocument/2006/relationships/slideLayout" Target="../slideLayouts/slideLayout24.xml"/><Relationship Id="rId15" Type="http://schemas.openxmlformats.org/officeDocument/2006/relationships/slideLayout" Target="../slideLayouts/slideLayout34.xml"/><Relationship Id="rId23" Type="http://schemas.openxmlformats.org/officeDocument/2006/relationships/oleObject" Target="../embeddings/oleObject1.bin"/><Relationship Id="rId10" Type="http://schemas.openxmlformats.org/officeDocument/2006/relationships/slideLayout" Target="../slideLayouts/slideLayout29.xml"/><Relationship Id="rId19" Type="http://schemas.openxmlformats.org/officeDocument/2006/relationships/slideLayout" Target="../slideLayouts/slideLayout38.xml"/><Relationship Id="rId4" Type="http://schemas.openxmlformats.org/officeDocument/2006/relationships/slideLayout" Target="../slideLayouts/slideLayout23.xml"/><Relationship Id="rId9" Type="http://schemas.openxmlformats.org/officeDocument/2006/relationships/slideLayout" Target="../slideLayouts/slideLayout28.xml"/><Relationship Id="rId14" Type="http://schemas.openxmlformats.org/officeDocument/2006/relationships/slideLayout" Target="../slideLayouts/slideLayout33.xml"/><Relationship Id="rId22" Type="http://schemas.openxmlformats.org/officeDocument/2006/relationships/tags" Target="../tags/tag5.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6.xml"/><Relationship Id="rId13" Type="http://schemas.openxmlformats.org/officeDocument/2006/relationships/slideLayout" Target="../slideLayouts/slideLayout51.xml"/><Relationship Id="rId18" Type="http://schemas.openxmlformats.org/officeDocument/2006/relationships/slideLayout" Target="../slideLayouts/slideLayout56.xml"/><Relationship Id="rId3" Type="http://schemas.openxmlformats.org/officeDocument/2006/relationships/slideLayout" Target="../slideLayouts/slideLayout41.xml"/><Relationship Id="rId21" Type="http://schemas.openxmlformats.org/officeDocument/2006/relationships/theme" Target="../theme/theme3.xml"/><Relationship Id="rId7" Type="http://schemas.openxmlformats.org/officeDocument/2006/relationships/slideLayout" Target="../slideLayouts/slideLayout45.xml"/><Relationship Id="rId12" Type="http://schemas.openxmlformats.org/officeDocument/2006/relationships/slideLayout" Target="../slideLayouts/slideLayout50.xml"/><Relationship Id="rId17" Type="http://schemas.openxmlformats.org/officeDocument/2006/relationships/slideLayout" Target="../slideLayouts/slideLayout55.xml"/><Relationship Id="rId25" Type="http://schemas.openxmlformats.org/officeDocument/2006/relationships/image" Target="../media/image1.emf"/><Relationship Id="rId2" Type="http://schemas.openxmlformats.org/officeDocument/2006/relationships/slideLayout" Target="../slideLayouts/slideLayout40.xml"/><Relationship Id="rId16" Type="http://schemas.openxmlformats.org/officeDocument/2006/relationships/slideLayout" Target="../slideLayouts/slideLayout54.xml"/><Relationship Id="rId20" Type="http://schemas.openxmlformats.org/officeDocument/2006/relationships/slideLayout" Target="../slideLayouts/slideLayout58.xml"/><Relationship Id="rId1" Type="http://schemas.openxmlformats.org/officeDocument/2006/relationships/slideLayout" Target="../slideLayouts/slideLayout39.xml"/><Relationship Id="rId6" Type="http://schemas.openxmlformats.org/officeDocument/2006/relationships/slideLayout" Target="../slideLayouts/slideLayout44.xml"/><Relationship Id="rId11" Type="http://schemas.openxmlformats.org/officeDocument/2006/relationships/slideLayout" Target="../slideLayouts/slideLayout49.xml"/><Relationship Id="rId24" Type="http://schemas.openxmlformats.org/officeDocument/2006/relationships/oleObject" Target="../embeddings/oleObject1.bin"/><Relationship Id="rId5" Type="http://schemas.openxmlformats.org/officeDocument/2006/relationships/slideLayout" Target="../slideLayouts/slideLayout43.xml"/><Relationship Id="rId15" Type="http://schemas.openxmlformats.org/officeDocument/2006/relationships/slideLayout" Target="../slideLayouts/slideLayout53.xml"/><Relationship Id="rId23" Type="http://schemas.openxmlformats.org/officeDocument/2006/relationships/tags" Target="../tags/tag7.xml"/><Relationship Id="rId10" Type="http://schemas.openxmlformats.org/officeDocument/2006/relationships/slideLayout" Target="../slideLayouts/slideLayout48.xml"/><Relationship Id="rId19" Type="http://schemas.openxmlformats.org/officeDocument/2006/relationships/slideLayout" Target="../slideLayouts/slideLayout57.xml"/><Relationship Id="rId4" Type="http://schemas.openxmlformats.org/officeDocument/2006/relationships/slideLayout" Target="../slideLayouts/slideLayout42.xml"/><Relationship Id="rId9" Type="http://schemas.openxmlformats.org/officeDocument/2006/relationships/slideLayout" Target="../slideLayouts/slideLayout47.xml"/><Relationship Id="rId14" Type="http://schemas.openxmlformats.org/officeDocument/2006/relationships/slideLayout" Target="../slideLayouts/slideLayout52.xml"/><Relationship Id="rId22" Type="http://schemas.openxmlformats.org/officeDocument/2006/relationships/tags" Target="../tags/tag6.xml"/></Relationships>
</file>

<file path=ppt/slideMasters/_rels/slideMaster4.xml.rels><?xml version="1.0" encoding="UTF-8" standalone="yes"?>
<Relationships xmlns="http://schemas.openxmlformats.org/package/2006/relationships"><Relationship Id="rId3" Type="http://schemas.openxmlformats.org/officeDocument/2006/relationships/tags" Target="../tags/tag8.xml"/><Relationship Id="rId2" Type="http://schemas.openxmlformats.org/officeDocument/2006/relationships/theme" Target="../theme/theme4.xml"/><Relationship Id="rId1" Type="http://schemas.openxmlformats.org/officeDocument/2006/relationships/slideLayout" Target="../slideLayouts/slideLayout59.xml"/><Relationship Id="rId6" Type="http://schemas.openxmlformats.org/officeDocument/2006/relationships/image" Target="../media/image1.emf"/><Relationship Id="rId5" Type="http://schemas.openxmlformats.org/officeDocument/2006/relationships/oleObject" Target="../embeddings/oleObject1.bin"/><Relationship Id="rId4" Type="http://schemas.openxmlformats.org/officeDocument/2006/relationships/tags" Target="../tags/tag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283D300-2124-42DF-B73B-3D3D4C546EC6}"/>
              </a:ext>
            </a:extLst>
          </p:cNvPr>
          <p:cNvGraphicFramePr>
            <a:graphicFrameLocks noChangeAspect="1"/>
          </p:cNvGraphicFramePr>
          <p:nvPr userDrawn="1">
            <p:custDataLst>
              <p:tags r:id="rId21"/>
            </p:custDataLst>
            <p:extLst>
              <p:ext uri="{D42A27DB-BD31-4B8C-83A1-F6EECF244321}">
                <p14:modId xmlns:p14="http://schemas.microsoft.com/office/powerpoint/2010/main" val="41529467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3" imgW="395" imgH="394" progId="TCLayout.ActiveDocument.1">
                  <p:embed/>
                </p:oleObj>
              </mc:Choice>
              <mc:Fallback>
                <p:oleObj name="think-cell Slide" r:id="rId23" imgW="395" imgH="394" progId="TCLayout.ActiveDocument.1">
                  <p:embed/>
                  <p:pic>
                    <p:nvPicPr>
                      <p:cNvPr id="4" name="Object 3" hidden="1">
                        <a:extLst>
                          <a:ext uri="{FF2B5EF4-FFF2-40B4-BE49-F238E27FC236}">
                            <a16:creationId xmlns:a16="http://schemas.microsoft.com/office/drawing/2014/main" id="{D283D300-2124-42DF-B73B-3D3D4C546EC6}"/>
                          </a:ext>
                        </a:extLst>
                      </p:cNvPr>
                      <p:cNvPicPr/>
                      <p:nvPr/>
                    </p:nvPicPr>
                    <p:blipFill>
                      <a:blip r:embed="rId24"/>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B895B28-7064-4AD0-A15D-88F99BCA9BAD}"/>
              </a:ext>
            </a:extLst>
          </p:cNvPr>
          <p:cNvSpPr/>
          <p:nvPr userDrawn="1">
            <p:custDataLst>
              <p:tags r:id="rId2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kumimoji="1" lang="en-US" altLang="ja-JP" sz="2800" b="0" i="0" baseline="0">
              <a:latin typeface="Calibri" panose="020F0502020204030204" pitchFamily="34" charset="0"/>
              <a:ea typeface="メイリオ" panose="020B0604030504040204" pitchFamily="50" charset="-128"/>
              <a:cs typeface="Calibri" panose="020F0502020204030204" pitchFamily="34" charset="0"/>
              <a:sym typeface="Calibri" panose="020F0502020204030204" pitchFamily="34" charset="0"/>
            </a:endParaRPr>
          </a:p>
        </p:txBody>
      </p:sp>
      <p:sp>
        <p:nvSpPr>
          <p:cNvPr id="3" name="テキスト プレースホルダ 2"/>
          <p:cNvSpPr>
            <a:spLocks noGrp="1"/>
          </p:cNvSpPr>
          <p:nvPr>
            <p:ph type="body" idx="1"/>
          </p:nvPr>
        </p:nvSpPr>
        <p:spPr>
          <a:xfrm>
            <a:off x="311150" y="1233487"/>
            <a:ext cx="11569700" cy="5183187"/>
          </a:xfrm>
          <a:prstGeom prst="rect">
            <a:avLst/>
          </a:prstGeom>
        </p:spPr>
        <p:txBody>
          <a:bodyPr vert="horz" lIns="0" tIns="45710" rIns="91420" bIns="45710" rtlCol="0">
            <a:normAutofit/>
          </a:bodyPr>
          <a:lstStyle/>
          <a:p>
            <a:pPr lvl="0"/>
            <a:r>
              <a:rPr kumimoji="1" lang="en-US" altLang="ja-JP"/>
              <a:t>Master text</a:t>
            </a:r>
            <a:endParaRPr kumimoji="1" lang="ja-JP" altLang="en-US"/>
          </a:p>
        </p:txBody>
      </p:sp>
      <p:sp>
        <p:nvSpPr>
          <p:cNvPr id="11" name="Footer Placeholder 8">
            <a:extLst>
              <a:ext uri="{FF2B5EF4-FFF2-40B4-BE49-F238E27FC236}">
                <a16:creationId xmlns:a16="http://schemas.microsoft.com/office/drawing/2014/main" id="{44E43001-C216-284A-9EBD-E54B5DD295CE}"/>
              </a:ext>
            </a:extLst>
          </p:cNvPr>
          <p:cNvSpPr>
            <a:spLocks noGrp="1"/>
          </p:cNvSpPr>
          <p:nvPr>
            <p:ph type="ftr" sz="quarter" idx="3"/>
          </p:nvPr>
        </p:nvSpPr>
        <p:spPr>
          <a:xfrm>
            <a:off x="7766050" y="6489701"/>
            <a:ext cx="4114800" cy="229432"/>
          </a:xfrm>
          <a:prstGeom prst="rect">
            <a:avLst/>
          </a:prstGeom>
        </p:spPr>
        <p:txBody>
          <a:bodyPr vert="horz" lIns="91440" tIns="45720" rIns="91440" bIns="45720" rtlCol="0" anchor="ctr"/>
          <a:lstStyle>
            <a:lvl1pPr algn="r">
              <a:defRPr sz="800" b="1" spc="100" baseline="0">
                <a:solidFill>
                  <a:schemeClr val="tx1"/>
                </a:solidFill>
              </a:defRPr>
            </a:lvl1pPr>
          </a:lstStyle>
          <a:p>
            <a:r>
              <a:rPr lang="en-JP"/>
              <a:t> </a:t>
            </a:r>
          </a:p>
        </p:txBody>
      </p:sp>
      <p:sp>
        <p:nvSpPr>
          <p:cNvPr id="9" name="タイトル プレースホルダ 1">
            <a:extLst>
              <a:ext uri="{FF2B5EF4-FFF2-40B4-BE49-F238E27FC236}">
                <a16:creationId xmlns:a16="http://schemas.microsoft.com/office/drawing/2014/main" id="{D7981A12-E00B-604C-B863-7CBF31AA6408}"/>
              </a:ext>
            </a:extLst>
          </p:cNvPr>
          <p:cNvSpPr>
            <a:spLocks noGrp="1"/>
          </p:cNvSpPr>
          <p:nvPr>
            <p:ph type="title"/>
          </p:nvPr>
        </p:nvSpPr>
        <p:spPr>
          <a:xfrm>
            <a:off x="606078" y="161605"/>
            <a:ext cx="9895084" cy="685801"/>
          </a:xfrm>
          <a:prstGeom prst="rect">
            <a:avLst/>
          </a:prstGeom>
        </p:spPr>
        <p:txBody>
          <a:bodyPr vert="horz" lIns="0" tIns="0" rIns="0" bIns="0" rtlCol="0" anchor="ctr">
            <a:normAutofit/>
          </a:bodyPr>
          <a:lstStyle/>
          <a:p>
            <a:r>
              <a:rPr kumimoji="1" lang="en-US" altLang="ja-JP"/>
              <a:t>Master title</a:t>
            </a:r>
            <a:endParaRPr kumimoji="1" lang="ja-JP" altLang="en-US"/>
          </a:p>
        </p:txBody>
      </p:sp>
      <p:sp>
        <p:nvSpPr>
          <p:cNvPr id="13" name="スライド番号プレースホルダ 5">
            <a:extLst>
              <a:ext uri="{FF2B5EF4-FFF2-40B4-BE49-F238E27FC236}">
                <a16:creationId xmlns:a16="http://schemas.microsoft.com/office/drawing/2014/main" id="{C7AA5A17-3F2F-B94B-9342-A137057B898D}"/>
              </a:ext>
            </a:extLst>
          </p:cNvPr>
          <p:cNvSpPr>
            <a:spLocks noGrp="1"/>
          </p:cNvSpPr>
          <p:nvPr>
            <p:ph type="sldNum" sz="quarter" idx="4"/>
          </p:nvPr>
        </p:nvSpPr>
        <p:spPr>
          <a:xfrm>
            <a:off x="311150" y="6489701"/>
            <a:ext cx="589856" cy="229432"/>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Tree>
    <p:extLst>
      <p:ext uri="{BB962C8B-B14F-4D97-AF65-F5344CB8AC3E}">
        <p14:creationId xmlns:p14="http://schemas.microsoft.com/office/powerpoint/2010/main" val="3808317105"/>
      </p:ext>
    </p:extLst>
  </p:cSld>
  <p:clrMap bg1="lt1" tx1="dk1" bg2="lt2" tx2="dk2" accent1="accent1" accent2="accent2" accent3="accent3" accent4="accent4" accent5="accent5" accent6="accent6" hlink="hlink" folHlink="folHlink"/>
  <p:sldLayoutIdLst>
    <p:sldLayoutId id="2147483772" r:id="rId1"/>
    <p:sldLayoutId id="2147483773" r:id="rId2"/>
    <p:sldLayoutId id="2147483774" r:id="rId3"/>
    <p:sldLayoutId id="2147483775" r:id="rId4"/>
    <p:sldLayoutId id="2147483776" r:id="rId5"/>
    <p:sldLayoutId id="2147483777" r:id="rId6"/>
    <p:sldLayoutId id="2147483778" r:id="rId7"/>
    <p:sldLayoutId id="2147483779" r:id="rId8"/>
    <p:sldLayoutId id="2147483780" r:id="rId9"/>
    <p:sldLayoutId id="2147483781" r:id="rId10"/>
    <p:sldLayoutId id="2147483782" r:id="rId11"/>
    <p:sldLayoutId id="2147483783" r:id="rId12"/>
    <p:sldLayoutId id="2147483784" r:id="rId13"/>
    <p:sldLayoutId id="2147483785" r:id="rId14"/>
    <p:sldLayoutId id="2147483786" r:id="rId15"/>
    <p:sldLayoutId id="2147483787" r:id="rId16"/>
    <p:sldLayoutId id="2147483788" r:id="rId17"/>
    <p:sldLayoutId id="2147483789" r:id="rId18"/>
    <p:sldLayoutId id="2147483790" r:id="rId19"/>
  </p:sldLayoutIdLst>
  <p:transition spd="slow">
    <p:push dir="u"/>
  </p:transition>
  <p:hf hdr="0" ftr="0" dt="0"/>
  <p:txStyles>
    <p:titleStyle>
      <a:lvl1pPr algn="l" defTabSz="914150" rtl="0" eaLnBrk="1" latinLnBrk="0" hangingPunct="1">
        <a:lnSpc>
          <a:spcPts val="2800"/>
        </a:lnSpc>
        <a:spcBef>
          <a:spcPct val="0"/>
        </a:spcBef>
        <a:buNone/>
        <a:defRPr kumimoji="1" sz="2800" b="1" i="0" kern="1200" baseline="0">
          <a:solidFill>
            <a:schemeClr val="tx1"/>
          </a:solidFill>
          <a:latin typeface="Calibri" panose="020F0502020204030204" pitchFamily="34" charset="0"/>
          <a:ea typeface="メイリオ" pitchFamily="50" charset="-128"/>
          <a:cs typeface="Calibri" pitchFamily="34" charset="0"/>
        </a:defRPr>
      </a:lvl1pPr>
    </p:titleStyle>
    <p:bodyStyle>
      <a:lvl1pPr marL="457071" indent="-457071" algn="l" defTabSz="914150" rtl="0" eaLnBrk="1" latinLnBrk="0" hangingPunct="1">
        <a:spcBef>
          <a:spcPct val="20000"/>
        </a:spcBef>
        <a:buClr>
          <a:srgbClr val="4C4948"/>
        </a:buClr>
        <a:buFont typeface="Arial" panose="020B0604020202020204" pitchFamily="34" charset="0"/>
        <a:buChar char="•"/>
        <a:defRPr kumimoji="1" sz="2000" b="0" i="0" kern="1200" baseline="0">
          <a:solidFill>
            <a:schemeClr val="tx1"/>
          </a:solidFill>
          <a:latin typeface="Calibri" panose="020F0502020204030204" pitchFamily="34" charset="0"/>
          <a:ea typeface="メイリオ" pitchFamily="50" charset="-128"/>
          <a:cs typeface="Calibri" pitchFamily="34" charset="0"/>
        </a:defRPr>
      </a:lvl1pPr>
      <a:lvl2pPr marL="742745" indent="-285677" algn="l" defTabSz="914150" rtl="0" eaLnBrk="1" latinLnBrk="0" hangingPunct="1">
        <a:spcBef>
          <a:spcPct val="20000"/>
        </a:spcBef>
        <a:buClr>
          <a:srgbClr val="4C4948"/>
        </a:buClr>
        <a:buFont typeface="Arial" pitchFamily="34" charset="0"/>
        <a:buChar char="–"/>
        <a:defRPr kumimoji="1" sz="2000" b="0" i="0" kern="1200">
          <a:solidFill>
            <a:schemeClr val="tx1"/>
          </a:solidFill>
          <a:latin typeface="Calibri" panose="020F0502020204030204" pitchFamily="34" charset="0"/>
          <a:ea typeface="メイリオ" pitchFamily="50" charset="-128"/>
          <a:cs typeface="Calibri" pitchFamily="34" charset="0"/>
        </a:defRPr>
      </a:lvl2pPr>
      <a:lvl3pPr marL="1142690" indent="-228541" algn="l" defTabSz="914150" rtl="0" eaLnBrk="1" latinLnBrk="0" hangingPunct="1">
        <a:spcBef>
          <a:spcPct val="20000"/>
        </a:spcBef>
        <a:buClr>
          <a:srgbClr val="4C4948"/>
        </a:buClr>
        <a:buFont typeface="Arial" pitchFamily="34" charset="0"/>
        <a:buChar char="•"/>
        <a:defRPr kumimoji="1" sz="2000" b="0" i="0" kern="1200" baseline="0">
          <a:solidFill>
            <a:schemeClr val="tx1"/>
          </a:solidFill>
          <a:latin typeface="Calibri" panose="020F0502020204030204" pitchFamily="34" charset="0"/>
          <a:ea typeface="メイリオ" pitchFamily="50" charset="-128"/>
          <a:cs typeface="Calibri" pitchFamily="34" charset="0"/>
        </a:defRPr>
      </a:lvl3pPr>
      <a:lvl4pPr marL="1599760" indent="-228541" algn="l" defTabSz="914150" rtl="0" eaLnBrk="1" latinLnBrk="0" hangingPunct="1">
        <a:spcBef>
          <a:spcPct val="20000"/>
        </a:spcBef>
        <a:buClr>
          <a:srgbClr val="4C4948"/>
        </a:buClr>
        <a:buFont typeface="Arial" pitchFamily="34" charset="0"/>
        <a:buChar char="–"/>
        <a:defRPr kumimoji="1" sz="2000" b="0" i="0" kern="1200" baseline="0">
          <a:solidFill>
            <a:schemeClr val="tx1"/>
          </a:solidFill>
          <a:latin typeface="Calibri" panose="020F0502020204030204" pitchFamily="34" charset="0"/>
          <a:ea typeface="メイリオ" pitchFamily="50" charset="-128"/>
          <a:cs typeface="Calibri" pitchFamily="34" charset="0"/>
        </a:defRPr>
      </a:lvl4pPr>
      <a:lvl5pPr marL="2056831" indent="-228541" algn="l" defTabSz="914150" rtl="0" eaLnBrk="1" latinLnBrk="0" hangingPunct="1">
        <a:spcBef>
          <a:spcPct val="20000"/>
        </a:spcBef>
        <a:buClr>
          <a:srgbClr val="4C4948"/>
        </a:buClr>
        <a:buFont typeface="Arial" pitchFamily="34" charset="0"/>
        <a:buChar char="»"/>
        <a:defRPr kumimoji="1" sz="2000" b="0" i="0" kern="1200" baseline="0">
          <a:solidFill>
            <a:schemeClr val="tx1"/>
          </a:solidFill>
          <a:latin typeface="Calibri" panose="020F0502020204030204" pitchFamily="34" charset="0"/>
          <a:ea typeface="メイリオ" pitchFamily="50" charset="-128"/>
          <a:cs typeface="Calibri" pitchFamily="34" charset="0"/>
        </a:defRPr>
      </a:lvl5pPr>
      <a:lvl6pPr marL="2513910"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0986"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8061"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5142"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9pPr>
    </p:bodyStyle>
    <p:otherStyle>
      <a:defPPr>
        <a:defRPr lang="ja-JP"/>
      </a:defPPr>
      <a:lvl1pPr marL="0" algn="l" defTabSz="914150" rtl="0" eaLnBrk="1" latinLnBrk="0" hangingPunct="1">
        <a:defRPr kumimoji="1" sz="1867" kern="1200">
          <a:solidFill>
            <a:schemeClr val="tx1"/>
          </a:solidFill>
          <a:latin typeface="+mn-lt"/>
          <a:ea typeface="+mn-ea"/>
          <a:cs typeface="+mn-cs"/>
        </a:defRPr>
      </a:lvl1pPr>
      <a:lvl2pPr marL="457071" algn="l" defTabSz="914150" rtl="0" eaLnBrk="1" latinLnBrk="0" hangingPunct="1">
        <a:defRPr kumimoji="1" sz="1867" kern="1200">
          <a:solidFill>
            <a:schemeClr val="tx1"/>
          </a:solidFill>
          <a:latin typeface="+mn-lt"/>
          <a:ea typeface="+mn-ea"/>
          <a:cs typeface="+mn-cs"/>
        </a:defRPr>
      </a:lvl2pPr>
      <a:lvl3pPr marL="914150" algn="l" defTabSz="914150" rtl="0" eaLnBrk="1" latinLnBrk="0" hangingPunct="1">
        <a:defRPr kumimoji="1" sz="1867" kern="1200">
          <a:solidFill>
            <a:schemeClr val="tx1"/>
          </a:solidFill>
          <a:latin typeface="+mn-lt"/>
          <a:ea typeface="+mn-ea"/>
          <a:cs typeface="+mn-cs"/>
        </a:defRPr>
      </a:lvl3pPr>
      <a:lvl4pPr marL="1371226" algn="l" defTabSz="914150" rtl="0" eaLnBrk="1" latinLnBrk="0" hangingPunct="1">
        <a:defRPr kumimoji="1" sz="1867" kern="1200">
          <a:solidFill>
            <a:schemeClr val="tx1"/>
          </a:solidFill>
          <a:latin typeface="+mn-lt"/>
          <a:ea typeface="+mn-ea"/>
          <a:cs typeface="+mn-cs"/>
        </a:defRPr>
      </a:lvl4pPr>
      <a:lvl5pPr marL="1828301" algn="l" defTabSz="914150" rtl="0" eaLnBrk="1" latinLnBrk="0" hangingPunct="1">
        <a:defRPr kumimoji="1" sz="1867" kern="1200">
          <a:solidFill>
            <a:schemeClr val="tx1"/>
          </a:solidFill>
          <a:latin typeface="+mn-lt"/>
          <a:ea typeface="+mn-ea"/>
          <a:cs typeface="+mn-cs"/>
        </a:defRPr>
      </a:lvl5pPr>
      <a:lvl6pPr marL="2285382" algn="l" defTabSz="914150" rtl="0" eaLnBrk="1" latinLnBrk="0" hangingPunct="1">
        <a:defRPr kumimoji="1" sz="1867" kern="1200">
          <a:solidFill>
            <a:schemeClr val="tx1"/>
          </a:solidFill>
          <a:latin typeface="+mn-lt"/>
          <a:ea typeface="+mn-ea"/>
          <a:cs typeface="+mn-cs"/>
        </a:defRPr>
      </a:lvl6pPr>
      <a:lvl7pPr marL="2742450" algn="l" defTabSz="914150" rtl="0" eaLnBrk="1" latinLnBrk="0" hangingPunct="1">
        <a:defRPr kumimoji="1" sz="1867" kern="1200">
          <a:solidFill>
            <a:schemeClr val="tx1"/>
          </a:solidFill>
          <a:latin typeface="+mn-lt"/>
          <a:ea typeface="+mn-ea"/>
          <a:cs typeface="+mn-cs"/>
        </a:defRPr>
      </a:lvl7pPr>
      <a:lvl8pPr marL="3199520" algn="l" defTabSz="914150" rtl="0" eaLnBrk="1" latinLnBrk="0" hangingPunct="1">
        <a:defRPr kumimoji="1" sz="1867" kern="1200">
          <a:solidFill>
            <a:schemeClr val="tx1"/>
          </a:solidFill>
          <a:latin typeface="+mn-lt"/>
          <a:ea typeface="+mn-ea"/>
          <a:cs typeface="+mn-cs"/>
        </a:defRPr>
      </a:lvl8pPr>
      <a:lvl9pPr marL="3656591" algn="l" defTabSz="914150" rtl="0" eaLnBrk="1" latinLnBrk="0" hangingPunct="1">
        <a:defRPr kumimoji="1" sz="1867"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77">
          <p15:clr>
            <a:srgbClr val="F26B43"/>
          </p15:clr>
        </p15:guide>
        <p15:guide id="2" pos="189">
          <p15:clr>
            <a:srgbClr val="F26B43"/>
          </p15:clr>
        </p15:guide>
        <p15:guide id="3" pos="7491">
          <p15:clr>
            <a:srgbClr val="F26B43"/>
          </p15:clr>
        </p15:guide>
        <p15:guide id="4" orient="horz" pos="4042">
          <p15:clr>
            <a:srgbClr val="F26B43"/>
          </p15:clr>
        </p15:guide>
        <p15:guide id="5" pos="370">
          <p15:clr>
            <a:srgbClr val="F26B43"/>
          </p15:clr>
        </p15:guide>
        <p15:guide id="6" orient="horz" pos="4088">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283D300-2124-42DF-B73B-3D3D4C546EC6}"/>
              </a:ext>
            </a:extLst>
          </p:cNvPr>
          <p:cNvGraphicFramePr>
            <a:graphicFrameLocks noChangeAspect="1"/>
          </p:cNvGraphicFramePr>
          <p:nvPr userDrawn="1">
            <p:custDataLst>
              <p:tags r:id="rId21"/>
            </p:custDataLst>
            <p:extLst>
              <p:ext uri="{D42A27DB-BD31-4B8C-83A1-F6EECF244321}">
                <p14:modId xmlns:p14="http://schemas.microsoft.com/office/powerpoint/2010/main" val="36338690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3" imgW="395" imgH="394" progId="TCLayout.ActiveDocument.1">
                  <p:embed/>
                </p:oleObj>
              </mc:Choice>
              <mc:Fallback>
                <p:oleObj name="think-cell Slide" r:id="rId23" imgW="395" imgH="394" progId="TCLayout.ActiveDocument.1">
                  <p:embed/>
                  <p:pic>
                    <p:nvPicPr>
                      <p:cNvPr id="4" name="Object 3" hidden="1">
                        <a:extLst>
                          <a:ext uri="{FF2B5EF4-FFF2-40B4-BE49-F238E27FC236}">
                            <a16:creationId xmlns:a16="http://schemas.microsoft.com/office/drawing/2014/main" id="{D283D300-2124-42DF-B73B-3D3D4C546EC6}"/>
                          </a:ext>
                        </a:extLst>
                      </p:cNvPr>
                      <p:cNvPicPr/>
                      <p:nvPr/>
                    </p:nvPicPr>
                    <p:blipFill>
                      <a:blip r:embed="rId24"/>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B895B28-7064-4AD0-A15D-88F99BCA9BAD}"/>
              </a:ext>
            </a:extLst>
          </p:cNvPr>
          <p:cNvSpPr/>
          <p:nvPr userDrawn="1">
            <p:custDataLst>
              <p:tags r:id="rId2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kumimoji="1" lang="en-US" altLang="ja-JP" sz="2800" b="0" i="0" baseline="0">
              <a:latin typeface="Calibri" panose="020F0502020204030204" pitchFamily="34" charset="0"/>
              <a:ea typeface="メイリオ" panose="020B0604030504040204" pitchFamily="50" charset="-128"/>
              <a:cs typeface="Calibri" panose="020F0502020204030204" pitchFamily="34" charset="0"/>
              <a:sym typeface="Calibri" panose="020F0502020204030204" pitchFamily="34" charset="0"/>
            </a:endParaRPr>
          </a:p>
        </p:txBody>
      </p:sp>
      <p:sp>
        <p:nvSpPr>
          <p:cNvPr id="3" name="テキスト プレースホルダ 2"/>
          <p:cNvSpPr>
            <a:spLocks noGrp="1"/>
          </p:cNvSpPr>
          <p:nvPr>
            <p:ph type="body" idx="1"/>
          </p:nvPr>
        </p:nvSpPr>
        <p:spPr>
          <a:xfrm>
            <a:off x="311150" y="1233487"/>
            <a:ext cx="11569700" cy="5183187"/>
          </a:xfrm>
          <a:prstGeom prst="rect">
            <a:avLst/>
          </a:prstGeom>
        </p:spPr>
        <p:txBody>
          <a:bodyPr vert="horz" lIns="0" tIns="45710" rIns="91420" bIns="45710" rtlCol="0">
            <a:normAutofit/>
          </a:bodyPr>
          <a:lstStyle/>
          <a:p>
            <a:pPr lvl="0"/>
            <a:r>
              <a:rPr kumimoji="1" lang="en-US" altLang="ja-JP"/>
              <a:t>Master text</a:t>
            </a:r>
            <a:endParaRPr kumimoji="1" lang="ja-JP" altLang="en-US"/>
          </a:p>
        </p:txBody>
      </p:sp>
      <p:sp>
        <p:nvSpPr>
          <p:cNvPr id="11" name="Footer Placeholder 8">
            <a:extLst>
              <a:ext uri="{FF2B5EF4-FFF2-40B4-BE49-F238E27FC236}">
                <a16:creationId xmlns:a16="http://schemas.microsoft.com/office/drawing/2014/main" id="{44E43001-C216-284A-9EBD-E54B5DD295CE}"/>
              </a:ext>
            </a:extLst>
          </p:cNvPr>
          <p:cNvSpPr>
            <a:spLocks noGrp="1"/>
          </p:cNvSpPr>
          <p:nvPr>
            <p:ph type="ftr" sz="quarter" idx="3"/>
          </p:nvPr>
        </p:nvSpPr>
        <p:spPr>
          <a:xfrm>
            <a:off x="7766050" y="6489701"/>
            <a:ext cx="4114800" cy="229432"/>
          </a:xfrm>
          <a:prstGeom prst="rect">
            <a:avLst/>
          </a:prstGeom>
        </p:spPr>
        <p:txBody>
          <a:bodyPr vert="horz" lIns="91440" tIns="45720" rIns="91440" bIns="45720" rtlCol="0" anchor="ctr"/>
          <a:lstStyle>
            <a:lvl1pPr algn="r">
              <a:defRPr sz="800" b="1" spc="100" baseline="0">
                <a:solidFill>
                  <a:schemeClr val="tx1"/>
                </a:solidFill>
              </a:defRPr>
            </a:lvl1pPr>
          </a:lstStyle>
          <a:p>
            <a:r>
              <a:rPr lang="en-JP"/>
              <a:t> </a:t>
            </a:r>
          </a:p>
        </p:txBody>
      </p:sp>
      <p:sp>
        <p:nvSpPr>
          <p:cNvPr id="9" name="タイトル プレースホルダ 1">
            <a:extLst>
              <a:ext uri="{FF2B5EF4-FFF2-40B4-BE49-F238E27FC236}">
                <a16:creationId xmlns:a16="http://schemas.microsoft.com/office/drawing/2014/main" id="{D7981A12-E00B-604C-B863-7CBF31AA6408}"/>
              </a:ext>
            </a:extLst>
          </p:cNvPr>
          <p:cNvSpPr>
            <a:spLocks noGrp="1"/>
          </p:cNvSpPr>
          <p:nvPr>
            <p:ph type="title"/>
          </p:nvPr>
        </p:nvSpPr>
        <p:spPr>
          <a:xfrm>
            <a:off x="606078" y="161605"/>
            <a:ext cx="9895084" cy="685801"/>
          </a:xfrm>
          <a:prstGeom prst="rect">
            <a:avLst/>
          </a:prstGeom>
        </p:spPr>
        <p:txBody>
          <a:bodyPr vert="horz" lIns="0" tIns="0" rIns="0" bIns="0" rtlCol="0" anchor="ctr">
            <a:normAutofit/>
          </a:bodyPr>
          <a:lstStyle/>
          <a:p>
            <a:r>
              <a:rPr kumimoji="1" lang="en-US" altLang="ja-JP"/>
              <a:t>Master title</a:t>
            </a:r>
            <a:endParaRPr kumimoji="1" lang="ja-JP" altLang="en-US"/>
          </a:p>
        </p:txBody>
      </p:sp>
      <p:sp>
        <p:nvSpPr>
          <p:cNvPr id="13" name="スライド番号プレースホルダ 5">
            <a:extLst>
              <a:ext uri="{FF2B5EF4-FFF2-40B4-BE49-F238E27FC236}">
                <a16:creationId xmlns:a16="http://schemas.microsoft.com/office/drawing/2014/main" id="{C7AA5A17-3F2F-B94B-9342-A137057B898D}"/>
              </a:ext>
            </a:extLst>
          </p:cNvPr>
          <p:cNvSpPr>
            <a:spLocks noGrp="1"/>
          </p:cNvSpPr>
          <p:nvPr>
            <p:ph type="sldNum" sz="quarter" idx="4"/>
          </p:nvPr>
        </p:nvSpPr>
        <p:spPr>
          <a:xfrm>
            <a:off x="311150" y="6489701"/>
            <a:ext cx="589856" cy="229432"/>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Tree>
    <p:extLst>
      <p:ext uri="{BB962C8B-B14F-4D97-AF65-F5344CB8AC3E}">
        <p14:creationId xmlns:p14="http://schemas.microsoft.com/office/powerpoint/2010/main" val="4049287727"/>
      </p:ext>
    </p:extLst>
  </p:cSld>
  <p:clrMap bg1="lt1" tx1="dk1" bg2="lt2" tx2="dk2" accent1="accent1" accent2="accent2" accent3="accent3" accent4="accent4" accent5="accent5" accent6="accent6" hlink="hlink" folHlink="folHlink"/>
  <p:sldLayoutIdLst>
    <p:sldLayoutId id="2147483792" r:id="rId1"/>
    <p:sldLayoutId id="2147483793" r:id="rId2"/>
    <p:sldLayoutId id="2147483794" r:id="rId3"/>
    <p:sldLayoutId id="2147483795" r:id="rId4"/>
    <p:sldLayoutId id="2147483796" r:id="rId5"/>
    <p:sldLayoutId id="2147483797" r:id="rId6"/>
    <p:sldLayoutId id="2147483798" r:id="rId7"/>
    <p:sldLayoutId id="2147483799" r:id="rId8"/>
    <p:sldLayoutId id="2147483800" r:id="rId9"/>
    <p:sldLayoutId id="2147483801" r:id="rId10"/>
    <p:sldLayoutId id="2147483802" r:id="rId11"/>
    <p:sldLayoutId id="2147483803" r:id="rId12"/>
    <p:sldLayoutId id="2147483804" r:id="rId13"/>
    <p:sldLayoutId id="2147483805" r:id="rId14"/>
    <p:sldLayoutId id="2147483806" r:id="rId15"/>
    <p:sldLayoutId id="2147483807" r:id="rId16"/>
    <p:sldLayoutId id="2147483808" r:id="rId17"/>
    <p:sldLayoutId id="2147483809" r:id="rId18"/>
    <p:sldLayoutId id="2147483810" r:id="rId19"/>
  </p:sldLayoutIdLst>
  <p:transition spd="slow">
    <p:push dir="u"/>
  </p:transition>
  <p:hf hdr="0" ftr="0" dt="0"/>
  <p:txStyles>
    <p:titleStyle>
      <a:lvl1pPr algn="l" defTabSz="914150" rtl="0" eaLnBrk="1" latinLnBrk="0" hangingPunct="1">
        <a:lnSpc>
          <a:spcPts val="2800"/>
        </a:lnSpc>
        <a:spcBef>
          <a:spcPct val="0"/>
        </a:spcBef>
        <a:buNone/>
        <a:defRPr kumimoji="1" sz="2800" b="1" i="0" kern="1200" baseline="0">
          <a:solidFill>
            <a:schemeClr val="tx1"/>
          </a:solidFill>
          <a:latin typeface="Calibri" panose="020F0502020204030204" pitchFamily="34" charset="0"/>
          <a:ea typeface="メイリオ" pitchFamily="50" charset="-128"/>
          <a:cs typeface="Calibri" pitchFamily="34" charset="0"/>
        </a:defRPr>
      </a:lvl1pPr>
    </p:titleStyle>
    <p:bodyStyle>
      <a:lvl1pPr marL="457071" indent="-457071" algn="l" defTabSz="914150" rtl="0" eaLnBrk="1" latinLnBrk="0" hangingPunct="1">
        <a:spcBef>
          <a:spcPct val="20000"/>
        </a:spcBef>
        <a:buClr>
          <a:srgbClr val="4C4948"/>
        </a:buClr>
        <a:buFont typeface="Arial" panose="020B0604020202020204" pitchFamily="34" charset="0"/>
        <a:buChar char="•"/>
        <a:defRPr kumimoji="1" sz="2000" b="0" i="0" kern="1200" baseline="0">
          <a:solidFill>
            <a:schemeClr val="tx1"/>
          </a:solidFill>
          <a:latin typeface="Calibri" panose="020F0502020204030204" pitchFamily="34" charset="0"/>
          <a:ea typeface="メイリオ" pitchFamily="50" charset="-128"/>
          <a:cs typeface="Calibri" pitchFamily="34" charset="0"/>
        </a:defRPr>
      </a:lvl1pPr>
      <a:lvl2pPr marL="742745" indent="-285677" algn="l" defTabSz="914150" rtl="0" eaLnBrk="1" latinLnBrk="0" hangingPunct="1">
        <a:spcBef>
          <a:spcPct val="20000"/>
        </a:spcBef>
        <a:buClr>
          <a:srgbClr val="4C4948"/>
        </a:buClr>
        <a:buFont typeface="Arial" pitchFamily="34" charset="0"/>
        <a:buChar char="–"/>
        <a:defRPr kumimoji="1" sz="2000" b="0" i="0" kern="1200">
          <a:solidFill>
            <a:schemeClr val="tx1"/>
          </a:solidFill>
          <a:latin typeface="Calibri" panose="020F0502020204030204" pitchFamily="34" charset="0"/>
          <a:ea typeface="メイリオ" pitchFamily="50" charset="-128"/>
          <a:cs typeface="Calibri" pitchFamily="34" charset="0"/>
        </a:defRPr>
      </a:lvl2pPr>
      <a:lvl3pPr marL="1142690" indent="-228541" algn="l" defTabSz="914150" rtl="0" eaLnBrk="1" latinLnBrk="0" hangingPunct="1">
        <a:spcBef>
          <a:spcPct val="20000"/>
        </a:spcBef>
        <a:buClr>
          <a:srgbClr val="4C4948"/>
        </a:buClr>
        <a:buFont typeface="Arial" pitchFamily="34" charset="0"/>
        <a:buChar char="•"/>
        <a:defRPr kumimoji="1" sz="2000" b="0" i="0" kern="1200" baseline="0">
          <a:solidFill>
            <a:schemeClr val="tx1"/>
          </a:solidFill>
          <a:latin typeface="Calibri" panose="020F0502020204030204" pitchFamily="34" charset="0"/>
          <a:ea typeface="メイリオ" pitchFamily="50" charset="-128"/>
          <a:cs typeface="Calibri" pitchFamily="34" charset="0"/>
        </a:defRPr>
      </a:lvl3pPr>
      <a:lvl4pPr marL="1599760" indent="-228541" algn="l" defTabSz="914150" rtl="0" eaLnBrk="1" latinLnBrk="0" hangingPunct="1">
        <a:spcBef>
          <a:spcPct val="20000"/>
        </a:spcBef>
        <a:buClr>
          <a:srgbClr val="4C4948"/>
        </a:buClr>
        <a:buFont typeface="Arial" pitchFamily="34" charset="0"/>
        <a:buChar char="–"/>
        <a:defRPr kumimoji="1" sz="2000" b="0" i="0" kern="1200" baseline="0">
          <a:solidFill>
            <a:schemeClr val="tx1"/>
          </a:solidFill>
          <a:latin typeface="Calibri" panose="020F0502020204030204" pitchFamily="34" charset="0"/>
          <a:ea typeface="メイリオ" pitchFamily="50" charset="-128"/>
          <a:cs typeface="Calibri" pitchFamily="34" charset="0"/>
        </a:defRPr>
      </a:lvl4pPr>
      <a:lvl5pPr marL="2056831" indent="-228541" algn="l" defTabSz="914150" rtl="0" eaLnBrk="1" latinLnBrk="0" hangingPunct="1">
        <a:spcBef>
          <a:spcPct val="20000"/>
        </a:spcBef>
        <a:buClr>
          <a:srgbClr val="4C4948"/>
        </a:buClr>
        <a:buFont typeface="Arial" pitchFamily="34" charset="0"/>
        <a:buChar char="»"/>
        <a:defRPr kumimoji="1" sz="2000" b="0" i="0" kern="1200" baseline="0">
          <a:solidFill>
            <a:schemeClr val="tx1"/>
          </a:solidFill>
          <a:latin typeface="Calibri" panose="020F0502020204030204" pitchFamily="34" charset="0"/>
          <a:ea typeface="メイリオ" pitchFamily="50" charset="-128"/>
          <a:cs typeface="Calibri" pitchFamily="34" charset="0"/>
        </a:defRPr>
      </a:lvl5pPr>
      <a:lvl6pPr marL="2513910"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0986"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8061"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5142"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9pPr>
    </p:bodyStyle>
    <p:otherStyle>
      <a:defPPr>
        <a:defRPr lang="ja-JP"/>
      </a:defPPr>
      <a:lvl1pPr marL="0" algn="l" defTabSz="914150" rtl="0" eaLnBrk="1" latinLnBrk="0" hangingPunct="1">
        <a:defRPr kumimoji="1" sz="1867" kern="1200">
          <a:solidFill>
            <a:schemeClr val="tx1"/>
          </a:solidFill>
          <a:latin typeface="+mn-lt"/>
          <a:ea typeface="+mn-ea"/>
          <a:cs typeface="+mn-cs"/>
        </a:defRPr>
      </a:lvl1pPr>
      <a:lvl2pPr marL="457071" algn="l" defTabSz="914150" rtl="0" eaLnBrk="1" latinLnBrk="0" hangingPunct="1">
        <a:defRPr kumimoji="1" sz="1867" kern="1200">
          <a:solidFill>
            <a:schemeClr val="tx1"/>
          </a:solidFill>
          <a:latin typeface="+mn-lt"/>
          <a:ea typeface="+mn-ea"/>
          <a:cs typeface="+mn-cs"/>
        </a:defRPr>
      </a:lvl2pPr>
      <a:lvl3pPr marL="914150" algn="l" defTabSz="914150" rtl="0" eaLnBrk="1" latinLnBrk="0" hangingPunct="1">
        <a:defRPr kumimoji="1" sz="1867" kern="1200">
          <a:solidFill>
            <a:schemeClr val="tx1"/>
          </a:solidFill>
          <a:latin typeface="+mn-lt"/>
          <a:ea typeface="+mn-ea"/>
          <a:cs typeface="+mn-cs"/>
        </a:defRPr>
      </a:lvl3pPr>
      <a:lvl4pPr marL="1371226" algn="l" defTabSz="914150" rtl="0" eaLnBrk="1" latinLnBrk="0" hangingPunct="1">
        <a:defRPr kumimoji="1" sz="1867" kern="1200">
          <a:solidFill>
            <a:schemeClr val="tx1"/>
          </a:solidFill>
          <a:latin typeface="+mn-lt"/>
          <a:ea typeface="+mn-ea"/>
          <a:cs typeface="+mn-cs"/>
        </a:defRPr>
      </a:lvl4pPr>
      <a:lvl5pPr marL="1828301" algn="l" defTabSz="914150" rtl="0" eaLnBrk="1" latinLnBrk="0" hangingPunct="1">
        <a:defRPr kumimoji="1" sz="1867" kern="1200">
          <a:solidFill>
            <a:schemeClr val="tx1"/>
          </a:solidFill>
          <a:latin typeface="+mn-lt"/>
          <a:ea typeface="+mn-ea"/>
          <a:cs typeface="+mn-cs"/>
        </a:defRPr>
      </a:lvl5pPr>
      <a:lvl6pPr marL="2285382" algn="l" defTabSz="914150" rtl="0" eaLnBrk="1" latinLnBrk="0" hangingPunct="1">
        <a:defRPr kumimoji="1" sz="1867" kern="1200">
          <a:solidFill>
            <a:schemeClr val="tx1"/>
          </a:solidFill>
          <a:latin typeface="+mn-lt"/>
          <a:ea typeface="+mn-ea"/>
          <a:cs typeface="+mn-cs"/>
        </a:defRPr>
      </a:lvl6pPr>
      <a:lvl7pPr marL="2742450" algn="l" defTabSz="914150" rtl="0" eaLnBrk="1" latinLnBrk="0" hangingPunct="1">
        <a:defRPr kumimoji="1" sz="1867" kern="1200">
          <a:solidFill>
            <a:schemeClr val="tx1"/>
          </a:solidFill>
          <a:latin typeface="+mn-lt"/>
          <a:ea typeface="+mn-ea"/>
          <a:cs typeface="+mn-cs"/>
        </a:defRPr>
      </a:lvl7pPr>
      <a:lvl8pPr marL="3199520" algn="l" defTabSz="914150" rtl="0" eaLnBrk="1" latinLnBrk="0" hangingPunct="1">
        <a:defRPr kumimoji="1" sz="1867" kern="1200">
          <a:solidFill>
            <a:schemeClr val="tx1"/>
          </a:solidFill>
          <a:latin typeface="+mn-lt"/>
          <a:ea typeface="+mn-ea"/>
          <a:cs typeface="+mn-cs"/>
        </a:defRPr>
      </a:lvl8pPr>
      <a:lvl9pPr marL="3656591" algn="l" defTabSz="914150" rtl="0" eaLnBrk="1" latinLnBrk="0" hangingPunct="1">
        <a:defRPr kumimoji="1" sz="1867"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77">
          <p15:clr>
            <a:srgbClr val="F26B43"/>
          </p15:clr>
        </p15:guide>
        <p15:guide id="2" pos="189">
          <p15:clr>
            <a:srgbClr val="F26B43"/>
          </p15:clr>
        </p15:guide>
        <p15:guide id="3" pos="7491">
          <p15:clr>
            <a:srgbClr val="F26B43"/>
          </p15:clr>
        </p15:guide>
        <p15:guide id="4" orient="horz" pos="4042">
          <p15:clr>
            <a:srgbClr val="F26B43"/>
          </p15:clr>
        </p15:guide>
        <p15:guide id="5" pos="370">
          <p15:clr>
            <a:srgbClr val="F26B43"/>
          </p15:clr>
        </p15:guide>
        <p15:guide id="6" orient="horz" pos="4088">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283D300-2124-42DF-B73B-3D3D4C546EC6}"/>
              </a:ext>
            </a:extLst>
          </p:cNvPr>
          <p:cNvGraphicFramePr>
            <a:graphicFrameLocks noChangeAspect="1"/>
          </p:cNvGraphicFramePr>
          <p:nvPr userDrawn="1">
            <p:custDataLst>
              <p:tags r:id="rId22"/>
            </p:custDataLst>
            <p:extLst>
              <p:ext uri="{D42A27DB-BD31-4B8C-83A1-F6EECF244321}">
                <p14:modId xmlns:p14="http://schemas.microsoft.com/office/powerpoint/2010/main" val="35852690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4" imgW="395" imgH="394" progId="TCLayout.ActiveDocument.1">
                  <p:embed/>
                </p:oleObj>
              </mc:Choice>
              <mc:Fallback>
                <p:oleObj name="think-cell Slide" r:id="rId24" imgW="395" imgH="394" progId="TCLayout.ActiveDocument.1">
                  <p:embed/>
                  <p:pic>
                    <p:nvPicPr>
                      <p:cNvPr id="4" name="Object 3" hidden="1">
                        <a:extLst>
                          <a:ext uri="{FF2B5EF4-FFF2-40B4-BE49-F238E27FC236}">
                            <a16:creationId xmlns:a16="http://schemas.microsoft.com/office/drawing/2014/main" id="{D283D300-2124-42DF-B73B-3D3D4C546EC6}"/>
                          </a:ext>
                        </a:extLst>
                      </p:cNvPr>
                      <p:cNvPicPr/>
                      <p:nvPr/>
                    </p:nvPicPr>
                    <p:blipFill>
                      <a:blip r:embed="rId2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B895B28-7064-4AD0-A15D-88F99BCA9BAD}"/>
              </a:ext>
            </a:extLst>
          </p:cNvPr>
          <p:cNvSpPr/>
          <p:nvPr userDrawn="1">
            <p:custDataLst>
              <p:tags r:id="rId2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kumimoji="1" lang="en-US" altLang="ja-JP" sz="2800" b="0" i="0" baseline="0">
              <a:latin typeface="Calibri" panose="020F0502020204030204" pitchFamily="34" charset="0"/>
              <a:ea typeface="メイリオ" panose="020B0604030504040204" pitchFamily="50" charset="-128"/>
              <a:cs typeface="Calibri" panose="020F0502020204030204" pitchFamily="34" charset="0"/>
              <a:sym typeface="Calibri" panose="020F0502020204030204" pitchFamily="34" charset="0"/>
            </a:endParaRPr>
          </a:p>
        </p:txBody>
      </p:sp>
      <p:sp>
        <p:nvSpPr>
          <p:cNvPr id="3" name="テキスト プレースホルダ 2"/>
          <p:cNvSpPr>
            <a:spLocks noGrp="1"/>
          </p:cNvSpPr>
          <p:nvPr>
            <p:ph type="body" idx="1"/>
          </p:nvPr>
        </p:nvSpPr>
        <p:spPr>
          <a:xfrm>
            <a:off x="311150" y="1233487"/>
            <a:ext cx="11569700" cy="5183187"/>
          </a:xfrm>
          <a:prstGeom prst="rect">
            <a:avLst/>
          </a:prstGeom>
        </p:spPr>
        <p:txBody>
          <a:bodyPr vert="horz" lIns="0" tIns="45710" rIns="91420" bIns="45710" rtlCol="0">
            <a:normAutofit/>
          </a:bodyPr>
          <a:lstStyle/>
          <a:p>
            <a:pPr lvl="0"/>
            <a:r>
              <a:rPr kumimoji="1" lang="en-US" altLang="ja-JP"/>
              <a:t>Master text</a:t>
            </a:r>
            <a:endParaRPr kumimoji="1" lang="ja-JP" altLang="en-US"/>
          </a:p>
        </p:txBody>
      </p:sp>
      <p:sp>
        <p:nvSpPr>
          <p:cNvPr id="11" name="Footer Placeholder 8">
            <a:extLst>
              <a:ext uri="{FF2B5EF4-FFF2-40B4-BE49-F238E27FC236}">
                <a16:creationId xmlns:a16="http://schemas.microsoft.com/office/drawing/2014/main" id="{44E43001-C216-284A-9EBD-E54B5DD295CE}"/>
              </a:ext>
            </a:extLst>
          </p:cNvPr>
          <p:cNvSpPr>
            <a:spLocks noGrp="1"/>
          </p:cNvSpPr>
          <p:nvPr>
            <p:ph type="ftr" sz="quarter" idx="3"/>
          </p:nvPr>
        </p:nvSpPr>
        <p:spPr>
          <a:xfrm>
            <a:off x="7766050" y="6489701"/>
            <a:ext cx="4114800" cy="229432"/>
          </a:xfrm>
          <a:prstGeom prst="rect">
            <a:avLst/>
          </a:prstGeom>
        </p:spPr>
        <p:txBody>
          <a:bodyPr vert="horz" lIns="91440" tIns="45720" rIns="91440" bIns="45720" rtlCol="0" anchor="ctr"/>
          <a:lstStyle>
            <a:lvl1pPr algn="r">
              <a:defRPr sz="800" b="1" spc="100" baseline="0">
                <a:solidFill>
                  <a:schemeClr val="tx1"/>
                </a:solidFill>
              </a:defRPr>
            </a:lvl1pPr>
          </a:lstStyle>
          <a:p>
            <a:r>
              <a:rPr lang="en-JP"/>
              <a:t> </a:t>
            </a:r>
          </a:p>
        </p:txBody>
      </p:sp>
      <p:sp>
        <p:nvSpPr>
          <p:cNvPr id="9" name="タイトル プレースホルダ 1">
            <a:extLst>
              <a:ext uri="{FF2B5EF4-FFF2-40B4-BE49-F238E27FC236}">
                <a16:creationId xmlns:a16="http://schemas.microsoft.com/office/drawing/2014/main" id="{D7981A12-E00B-604C-B863-7CBF31AA6408}"/>
              </a:ext>
            </a:extLst>
          </p:cNvPr>
          <p:cNvSpPr>
            <a:spLocks noGrp="1"/>
          </p:cNvSpPr>
          <p:nvPr>
            <p:ph type="title"/>
          </p:nvPr>
        </p:nvSpPr>
        <p:spPr>
          <a:xfrm>
            <a:off x="606078" y="161605"/>
            <a:ext cx="9895084" cy="685801"/>
          </a:xfrm>
          <a:prstGeom prst="rect">
            <a:avLst/>
          </a:prstGeom>
        </p:spPr>
        <p:txBody>
          <a:bodyPr vert="horz" lIns="0" tIns="0" rIns="0" bIns="0" rtlCol="0" anchor="ctr">
            <a:normAutofit/>
          </a:bodyPr>
          <a:lstStyle/>
          <a:p>
            <a:r>
              <a:rPr kumimoji="1" lang="en-US" altLang="ja-JP"/>
              <a:t>Master title</a:t>
            </a:r>
            <a:endParaRPr kumimoji="1" lang="ja-JP" altLang="en-US"/>
          </a:p>
        </p:txBody>
      </p:sp>
      <p:sp>
        <p:nvSpPr>
          <p:cNvPr id="13" name="スライド番号プレースホルダ 5">
            <a:extLst>
              <a:ext uri="{FF2B5EF4-FFF2-40B4-BE49-F238E27FC236}">
                <a16:creationId xmlns:a16="http://schemas.microsoft.com/office/drawing/2014/main" id="{C7AA5A17-3F2F-B94B-9342-A137057B898D}"/>
              </a:ext>
            </a:extLst>
          </p:cNvPr>
          <p:cNvSpPr>
            <a:spLocks noGrp="1"/>
          </p:cNvSpPr>
          <p:nvPr>
            <p:ph type="sldNum" sz="quarter" idx="4"/>
          </p:nvPr>
        </p:nvSpPr>
        <p:spPr>
          <a:xfrm>
            <a:off x="311150" y="6489701"/>
            <a:ext cx="589856" cy="229432"/>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Tree>
    <p:extLst>
      <p:ext uri="{BB962C8B-B14F-4D97-AF65-F5344CB8AC3E}">
        <p14:creationId xmlns:p14="http://schemas.microsoft.com/office/powerpoint/2010/main" val="1064869001"/>
      </p:ext>
    </p:extLst>
  </p:cSld>
  <p:clrMap bg1="lt1" tx1="dk1" bg2="lt2" tx2="dk2" accent1="accent1" accent2="accent2" accent3="accent3" accent4="accent4" accent5="accent5" accent6="accent6" hlink="hlink" folHlink="folHlink"/>
  <p:sldLayoutIdLst>
    <p:sldLayoutId id="2147483815" r:id="rId1"/>
    <p:sldLayoutId id="2147483816" r:id="rId2"/>
    <p:sldLayoutId id="2147483817" r:id="rId3"/>
    <p:sldLayoutId id="2147483818" r:id="rId4"/>
    <p:sldLayoutId id="2147483819" r:id="rId5"/>
    <p:sldLayoutId id="2147483820" r:id="rId6"/>
    <p:sldLayoutId id="2147483821" r:id="rId7"/>
    <p:sldLayoutId id="2147483822" r:id="rId8"/>
    <p:sldLayoutId id="2147483823" r:id="rId9"/>
    <p:sldLayoutId id="2147483824" r:id="rId10"/>
    <p:sldLayoutId id="2147483825" r:id="rId11"/>
    <p:sldLayoutId id="2147483826" r:id="rId12"/>
    <p:sldLayoutId id="2147483827" r:id="rId13"/>
    <p:sldLayoutId id="2147483828" r:id="rId14"/>
    <p:sldLayoutId id="2147483829" r:id="rId15"/>
    <p:sldLayoutId id="2147483830" r:id="rId16"/>
    <p:sldLayoutId id="2147483831" r:id="rId17"/>
    <p:sldLayoutId id="2147483832" r:id="rId18"/>
    <p:sldLayoutId id="2147483833" r:id="rId19"/>
    <p:sldLayoutId id="2147483834" r:id="rId20"/>
  </p:sldLayoutIdLst>
  <p:transition spd="slow">
    <p:push dir="u"/>
  </p:transition>
  <p:hf hdr="0" dt="0"/>
  <p:txStyles>
    <p:titleStyle>
      <a:lvl1pPr algn="l" defTabSz="914150" rtl="0" eaLnBrk="1" latinLnBrk="0" hangingPunct="1">
        <a:lnSpc>
          <a:spcPts val="2800"/>
        </a:lnSpc>
        <a:spcBef>
          <a:spcPct val="0"/>
        </a:spcBef>
        <a:buNone/>
        <a:defRPr kumimoji="1" sz="2800" b="1" i="0" kern="1200" baseline="0">
          <a:solidFill>
            <a:schemeClr val="tx1"/>
          </a:solidFill>
          <a:latin typeface="Calibri" panose="020F0502020204030204" pitchFamily="34" charset="0"/>
          <a:ea typeface="メイリオ" pitchFamily="50" charset="-128"/>
          <a:cs typeface="Calibri" pitchFamily="34" charset="0"/>
        </a:defRPr>
      </a:lvl1pPr>
    </p:titleStyle>
    <p:bodyStyle>
      <a:lvl1pPr marL="457071" indent="-457071" algn="l" defTabSz="914150" rtl="0" eaLnBrk="1" latinLnBrk="0" hangingPunct="1">
        <a:spcBef>
          <a:spcPct val="20000"/>
        </a:spcBef>
        <a:buClr>
          <a:srgbClr val="4C4948"/>
        </a:buClr>
        <a:buFont typeface="Arial" panose="020B0604020202020204" pitchFamily="34" charset="0"/>
        <a:buChar char="•"/>
        <a:defRPr kumimoji="1" sz="2000" b="0" i="0" kern="1200" baseline="0">
          <a:solidFill>
            <a:schemeClr val="tx1"/>
          </a:solidFill>
          <a:latin typeface="Calibri" panose="020F0502020204030204" pitchFamily="34" charset="0"/>
          <a:ea typeface="メイリオ" pitchFamily="50" charset="-128"/>
          <a:cs typeface="Calibri" pitchFamily="34" charset="0"/>
        </a:defRPr>
      </a:lvl1pPr>
      <a:lvl2pPr marL="742745" indent="-285677" algn="l" defTabSz="914150" rtl="0" eaLnBrk="1" latinLnBrk="0" hangingPunct="1">
        <a:spcBef>
          <a:spcPct val="20000"/>
        </a:spcBef>
        <a:buClr>
          <a:srgbClr val="4C4948"/>
        </a:buClr>
        <a:buFont typeface="Arial" pitchFamily="34" charset="0"/>
        <a:buChar char="–"/>
        <a:defRPr kumimoji="1" sz="2000" b="0" i="0" kern="1200">
          <a:solidFill>
            <a:schemeClr val="tx1"/>
          </a:solidFill>
          <a:latin typeface="Calibri" panose="020F0502020204030204" pitchFamily="34" charset="0"/>
          <a:ea typeface="メイリオ" pitchFamily="50" charset="-128"/>
          <a:cs typeface="Calibri" pitchFamily="34" charset="0"/>
        </a:defRPr>
      </a:lvl2pPr>
      <a:lvl3pPr marL="1142690" indent="-228541" algn="l" defTabSz="914150" rtl="0" eaLnBrk="1" latinLnBrk="0" hangingPunct="1">
        <a:spcBef>
          <a:spcPct val="20000"/>
        </a:spcBef>
        <a:buClr>
          <a:srgbClr val="4C4948"/>
        </a:buClr>
        <a:buFont typeface="Arial" pitchFamily="34" charset="0"/>
        <a:buChar char="•"/>
        <a:defRPr kumimoji="1" sz="2000" b="0" i="0" kern="1200" baseline="0">
          <a:solidFill>
            <a:schemeClr val="tx1"/>
          </a:solidFill>
          <a:latin typeface="Calibri" panose="020F0502020204030204" pitchFamily="34" charset="0"/>
          <a:ea typeface="メイリオ" pitchFamily="50" charset="-128"/>
          <a:cs typeface="Calibri" pitchFamily="34" charset="0"/>
        </a:defRPr>
      </a:lvl3pPr>
      <a:lvl4pPr marL="1599760" indent="-228541" algn="l" defTabSz="914150" rtl="0" eaLnBrk="1" latinLnBrk="0" hangingPunct="1">
        <a:spcBef>
          <a:spcPct val="20000"/>
        </a:spcBef>
        <a:buClr>
          <a:srgbClr val="4C4948"/>
        </a:buClr>
        <a:buFont typeface="Arial" pitchFamily="34" charset="0"/>
        <a:buChar char="–"/>
        <a:defRPr kumimoji="1" sz="2000" b="0" i="0" kern="1200" baseline="0">
          <a:solidFill>
            <a:schemeClr val="tx1"/>
          </a:solidFill>
          <a:latin typeface="Calibri" panose="020F0502020204030204" pitchFamily="34" charset="0"/>
          <a:ea typeface="メイリオ" pitchFamily="50" charset="-128"/>
          <a:cs typeface="Calibri" pitchFamily="34" charset="0"/>
        </a:defRPr>
      </a:lvl4pPr>
      <a:lvl5pPr marL="2056831" indent="-228541" algn="l" defTabSz="914150" rtl="0" eaLnBrk="1" latinLnBrk="0" hangingPunct="1">
        <a:spcBef>
          <a:spcPct val="20000"/>
        </a:spcBef>
        <a:buClr>
          <a:srgbClr val="4C4948"/>
        </a:buClr>
        <a:buFont typeface="Arial" pitchFamily="34" charset="0"/>
        <a:buChar char="»"/>
        <a:defRPr kumimoji="1" sz="2000" b="0" i="0" kern="1200" baseline="0">
          <a:solidFill>
            <a:schemeClr val="tx1"/>
          </a:solidFill>
          <a:latin typeface="Calibri" panose="020F0502020204030204" pitchFamily="34" charset="0"/>
          <a:ea typeface="メイリオ" pitchFamily="50" charset="-128"/>
          <a:cs typeface="Calibri" pitchFamily="34" charset="0"/>
        </a:defRPr>
      </a:lvl5pPr>
      <a:lvl6pPr marL="2513910"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0986"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8061"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5142"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9pPr>
    </p:bodyStyle>
    <p:otherStyle>
      <a:defPPr>
        <a:defRPr lang="ja-JP"/>
      </a:defPPr>
      <a:lvl1pPr marL="0" algn="l" defTabSz="914150" rtl="0" eaLnBrk="1" latinLnBrk="0" hangingPunct="1">
        <a:defRPr kumimoji="1" sz="1867" kern="1200">
          <a:solidFill>
            <a:schemeClr val="tx1"/>
          </a:solidFill>
          <a:latin typeface="+mn-lt"/>
          <a:ea typeface="+mn-ea"/>
          <a:cs typeface="+mn-cs"/>
        </a:defRPr>
      </a:lvl1pPr>
      <a:lvl2pPr marL="457071" algn="l" defTabSz="914150" rtl="0" eaLnBrk="1" latinLnBrk="0" hangingPunct="1">
        <a:defRPr kumimoji="1" sz="1867" kern="1200">
          <a:solidFill>
            <a:schemeClr val="tx1"/>
          </a:solidFill>
          <a:latin typeface="+mn-lt"/>
          <a:ea typeface="+mn-ea"/>
          <a:cs typeface="+mn-cs"/>
        </a:defRPr>
      </a:lvl2pPr>
      <a:lvl3pPr marL="914150" algn="l" defTabSz="914150" rtl="0" eaLnBrk="1" latinLnBrk="0" hangingPunct="1">
        <a:defRPr kumimoji="1" sz="1867" kern="1200">
          <a:solidFill>
            <a:schemeClr val="tx1"/>
          </a:solidFill>
          <a:latin typeface="+mn-lt"/>
          <a:ea typeface="+mn-ea"/>
          <a:cs typeface="+mn-cs"/>
        </a:defRPr>
      </a:lvl3pPr>
      <a:lvl4pPr marL="1371226" algn="l" defTabSz="914150" rtl="0" eaLnBrk="1" latinLnBrk="0" hangingPunct="1">
        <a:defRPr kumimoji="1" sz="1867" kern="1200">
          <a:solidFill>
            <a:schemeClr val="tx1"/>
          </a:solidFill>
          <a:latin typeface="+mn-lt"/>
          <a:ea typeface="+mn-ea"/>
          <a:cs typeface="+mn-cs"/>
        </a:defRPr>
      </a:lvl4pPr>
      <a:lvl5pPr marL="1828301" algn="l" defTabSz="914150" rtl="0" eaLnBrk="1" latinLnBrk="0" hangingPunct="1">
        <a:defRPr kumimoji="1" sz="1867" kern="1200">
          <a:solidFill>
            <a:schemeClr val="tx1"/>
          </a:solidFill>
          <a:latin typeface="+mn-lt"/>
          <a:ea typeface="+mn-ea"/>
          <a:cs typeface="+mn-cs"/>
        </a:defRPr>
      </a:lvl5pPr>
      <a:lvl6pPr marL="2285382" algn="l" defTabSz="914150" rtl="0" eaLnBrk="1" latinLnBrk="0" hangingPunct="1">
        <a:defRPr kumimoji="1" sz="1867" kern="1200">
          <a:solidFill>
            <a:schemeClr val="tx1"/>
          </a:solidFill>
          <a:latin typeface="+mn-lt"/>
          <a:ea typeface="+mn-ea"/>
          <a:cs typeface="+mn-cs"/>
        </a:defRPr>
      </a:lvl6pPr>
      <a:lvl7pPr marL="2742450" algn="l" defTabSz="914150" rtl="0" eaLnBrk="1" latinLnBrk="0" hangingPunct="1">
        <a:defRPr kumimoji="1" sz="1867" kern="1200">
          <a:solidFill>
            <a:schemeClr val="tx1"/>
          </a:solidFill>
          <a:latin typeface="+mn-lt"/>
          <a:ea typeface="+mn-ea"/>
          <a:cs typeface="+mn-cs"/>
        </a:defRPr>
      </a:lvl7pPr>
      <a:lvl8pPr marL="3199520" algn="l" defTabSz="914150" rtl="0" eaLnBrk="1" latinLnBrk="0" hangingPunct="1">
        <a:defRPr kumimoji="1" sz="1867" kern="1200">
          <a:solidFill>
            <a:schemeClr val="tx1"/>
          </a:solidFill>
          <a:latin typeface="+mn-lt"/>
          <a:ea typeface="+mn-ea"/>
          <a:cs typeface="+mn-cs"/>
        </a:defRPr>
      </a:lvl8pPr>
      <a:lvl9pPr marL="3656591" algn="l" defTabSz="914150" rtl="0" eaLnBrk="1" latinLnBrk="0" hangingPunct="1">
        <a:defRPr kumimoji="1" sz="1867"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77">
          <p15:clr>
            <a:srgbClr val="F26B43"/>
          </p15:clr>
        </p15:guide>
        <p15:guide id="2" pos="189">
          <p15:clr>
            <a:srgbClr val="F26B43"/>
          </p15:clr>
        </p15:guide>
        <p15:guide id="3" pos="7491">
          <p15:clr>
            <a:srgbClr val="F26B43"/>
          </p15:clr>
        </p15:guide>
        <p15:guide id="4" orient="horz" pos="4042">
          <p15:clr>
            <a:srgbClr val="F26B43"/>
          </p15:clr>
        </p15:guide>
        <p15:guide id="5" pos="370">
          <p15:clr>
            <a:srgbClr val="F26B43"/>
          </p15:clr>
        </p15:guide>
        <p15:guide id="6" orient="horz" pos="4088">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283D300-2124-42DF-B73B-3D3D4C546EC6}"/>
              </a:ext>
            </a:extLst>
          </p:cNvPr>
          <p:cNvGraphicFramePr>
            <a:graphicFrameLocks noChangeAspect="1"/>
          </p:cNvGraphicFramePr>
          <p:nvPr userDrawn="1">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4" name="Object 3" hidden="1">
                        <a:extLst>
                          <a:ext uri="{FF2B5EF4-FFF2-40B4-BE49-F238E27FC236}">
                            <a16:creationId xmlns:a16="http://schemas.microsoft.com/office/drawing/2014/main" id="{D283D300-2124-42DF-B73B-3D3D4C546EC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B895B28-7064-4AD0-A15D-88F99BCA9BAD}"/>
              </a:ext>
            </a:extLst>
          </p:cNvPr>
          <p:cNvSpPr/>
          <p:nvPr userDrawn="1">
            <p:custDataLst>
              <p:tags r:id="rId4"/>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kumimoji="1" lang="en-US" altLang="ja-JP" sz="2800" b="0" i="0" baseline="0">
              <a:latin typeface="Calibri" panose="020F0502020204030204" pitchFamily="34" charset="0"/>
              <a:ea typeface="メイリオ" panose="020B0604030504040204" pitchFamily="50" charset="-128"/>
              <a:cs typeface="Calibri" panose="020F0502020204030204" pitchFamily="34" charset="0"/>
              <a:sym typeface="Calibri" panose="020F0502020204030204" pitchFamily="34" charset="0"/>
            </a:endParaRPr>
          </a:p>
        </p:txBody>
      </p:sp>
      <p:sp>
        <p:nvSpPr>
          <p:cNvPr id="3" name="テキスト プレースホルダ 2"/>
          <p:cNvSpPr>
            <a:spLocks noGrp="1"/>
          </p:cNvSpPr>
          <p:nvPr>
            <p:ph type="body" idx="1"/>
          </p:nvPr>
        </p:nvSpPr>
        <p:spPr>
          <a:xfrm>
            <a:off x="311150" y="1233487"/>
            <a:ext cx="11569700" cy="5183187"/>
          </a:xfrm>
          <a:prstGeom prst="rect">
            <a:avLst/>
          </a:prstGeom>
        </p:spPr>
        <p:txBody>
          <a:bodyPr vert="horz" lIns="0" tIns="45710" rIns="91420" bIns="45710" rtlCol="0">
            <a:normAutofit/>
          </a:bodyPr>
          <a:lstStyle/>
          <a:p>
            <a:pPr lvl="0"/>
            <a:r>
              <a:rPr kumimoji="1" lang="en-US" altLang="ja-JP"/>
              <a:t>Master text</a:t>
            </a:r>
            <a:endParaRPr kumimoji="1" lang="ja-JP" altLang="en-US"/>
          </a:p>
        </p:txBody>
      </p:sp>
      <p:sp>
        <p:nvSpPr>
          <p:cNvPr id="11" name="Footer Placeholder 8">
            <a:extLst>
              <a:ext uri="{FF2B5EF4-FFF2-40B4-BE49-F238E27FC236}">
                <a16:creationId xmlns:a16="http://schemas.microsoft.com/office/drawing/2014/main" id="{44E43001-C216-284A-9EBD-E54B5DD295CE}"/>
              </a:ext>
            </a:extLst>
          </p:cNvPr>
          <p:cNvSpPr>
            <a:spLocks noGrp="1"/>
          </p:cNvSpPr>
          <p:nvPr>
            <p:ph type="ftr" sz="quarter" idx="3"/>
          </p:nvPr>
        </p:nvSpPr>
        <p:spPr>
          <a:xfrm>
            <a:off x="7766050" y="6489701"/>
            <a:ext cx="4114800" cy="229432"/>
          </a:xfrm>
          <a:prstGeom prst="rect">
            <a:avLst/>
          </a:prstGeom>
        </p:spPr>
        <p:txBody>
          <a:bodyPr vert="horz" lIns="91440" tIns="45720" rIns="91440" bIns="45720" rtlCol="0" anchor="ctr"/>
          <a:lstStyle>
            <a:lvl1pPr algn="r">
              <a:defRPr sz="800" b="1" spc="100" baseline="0">
                <a:solidFill>
                  <a:schemeClr val="tx1"/>
                </a:solidFill>
              </a:defRPr>
            </a:lvl1pPr>
          </a:lstStyle>
          <a:p>
            <a:endParaRPr/>
          </a:p>
        </p:txBody>
      </p:sp>
      <p:sp>
        <p:nvSpPr>
          <p:cNvPr id="9" name="タイトル プレースホルダ 1">
            <a:extLst>
              <a:ext uri="{FF2B5EF4-FFF2-40B4-BE49-F238E27FC236}">
                <a16:creationId xmlns:a16="http://schemas.microsoft.com/office/drawing/2014/main" id="{D7981A12-E00B-604C-B863-7CBF31AA6408}"/>
              </a:ext>
            </a:extLst>
          </p:cNvPr>
          <p:cNvSpPr>
            <a:spLocks noGrp="1"/>
          </p:cNvSpPr>
          <p:nvPr>
            <p:ph type="title"/>
          </p:nvPr>
        </p:nvSpPr>
        <p:spPr>
          <a:xfrm>
            <a:off x="606078" y="161605"/>
            <a:ext cx="9895084" cy="685801"/>
          </a:xfrm>
          <a:prstGeom prst="rect">
            <a:avLst/>
          </a:prstGeom>
        </p:spPr>
        <p:txBody>
          <a:bodyPr vert="horz" lIns="0" tIns="0" rIns="0" bIns="0" rtlCol="0" anchor="ctr">
            <a:normAutofit/>
          </a:bodyPr>
          <a:lstStyle/>
          <a:p>
            <a:r>
              <a:rPr kumimoji="1" lang="en-US" altLang="ja-JP"/>
              <a:t>Master title</a:t>
            </a:r>
            <a:endParaRPr kumimoji="1" lang="ja-JP" altLang="en-US"/>
          </a:p>
        </p:txBody>
      </p:sp>
      <p:sp>
        <p:nvSpPr>
          <p:cNvPr id="13" name="スライド番号プレースホルダ 5">
            <a:extLst>
              <a:ext uri="{FF2B5EF4-FFF2-40B4-BE49-F238E27FC236}">
                <a16:creationId xmlns:a16="http://schemas.microsoft.com/office/drawing/2014/main" id="{C7AA5A17-3F2F-B94B-9342-A137057B898D}"/>
              </a:ext>
            </a:extLst>
          </p:cNvPr>
          <p:cNvSpPr>
            <a:spLocks noGrp="1"/>
          </p:cNvSpPr>
          <p:nvPr>
            <p:ph type="sldNum" sz="quarter" idx="4"/>
          </p:nvPr>
        </p:nvSpPr>
        <p:spPr>
          <a:xfrm>
            <a:off x="311150" y="6489701"/>
            <a:ext cx="589856" cy="229432"/>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Tree>
    <p:extLst>
      <p:ext uri="{BB962C8B-B14F-4D97-AF65-F5344CB8AC3E}">
        <p14:creationId xmlns:p14="http://schemas.microsoft.com/office/powerpoint/2010/main" val="822207073"/>
      </p:ext>
    </p:extLst>
  </p:cSld>
  <p:clrMap bg1="lt1" tx1="dk1" bg2="lt2" tx2="dk2" accent1="accent1" accent2="accent2" accent3="accent3" accent4="accent4" accent5="accent5" accent6="accent6" hlink="hlink" folHlink="folHlink"/>
  <p:sldLayoutIdLst>
    <p:sldLayoutId id="2147483667" r:id="rId1"/>
  </p:sldLayoutIdLst>
  <p:transition spd="slow">
    <p:push dir="u"/>
  </p:transition>
  <p:hf hdr="0" dt="0"/>
  <p:txStyles>
    <p:titleStyle>
      <a:lvl1pPr algn="l" defTabSz="914150" rtl="0" eaLnBrk="1" latinLnBrk="0" hangingPunct="1">
        <a:lnSpc>
          <a:spcPts val="2800"/>
        </a:lnSpc>
        <a:spcBef>
          <a:spcPct val="0"/>
        </a:spcBef>
        <a:buNone/>
        <a:defRPr kumimoji="1" sz="2800" b="1" i="0" kern="1200" baseline="0">
          <a:solidFill>
            <a:schemeClr val="tx1"/>
          </a:solidFill>
          <a:latin typeface="Calibri" panose="020F0502020204030204" pitchFamily="34" charset="0"/>
          <a:ea typeface="メイリオ" pitchFamily="50" charset="-128"/>
          <a:cs typeface="Calibri" pitchFamily="34" charset="0"/>
        </a:defRPr>
      </a:lvl1pPr>
    </p:titleStyle>
    <p:bodyStyle>
      <a:lvl1pPr marL="457071" indent="-457071" algn="l" defTabSz="914150" rtl="0" eaLnBrk="1" latinLnBrk="0" hangingPunct="1">
        <a:spcBef>
          <a:spcPct val="20000"/>
        </a:spcBef>
        <a:buClr>
          <a:srgbClr val="4C4948"/>
        </a:buClr>
        <a:buFont typeface="Arial" panose="020B0604020202020204" pitchFamily="34" charset="0"/>
        <a:buChar char="•"/>
        <a:defRPr kumimoji="1" sz="2000" b="0" i="0" kern="1200" baseline="0">
          <a:solidFill>
            <a:schemeClr val="tx1"/>
          </a:solidFill>
          <a:latin typeface="Calibri" panose="020F0502020204030204" pitchFamily="34" charset="0"/>
          <a:ea typeface="メイリオ" pitchFamily="50" charset="-128"/>
          <a:cs typeface="Calibri" pitchFamily="34" charset="0"/>
        </a:defRPr>
      </a:lvl1pPr>
      <a:lvl2pPr marL="742745" indent="-285677" algn="l" defTabSz="914150" rtl="0" eaLnBrk="1" latinLnBrk="0" hangingPunct="1">
        <a:spcBef>
          <a:spcPct val="20000"/>
        </a:spcBef>
        <a:buClr>
          <a:srgbClr val="4C4948"/>
        </a:buClr>
        <a:buFont typeface="Arial" pitchFamily="34" charset="0"/>
        <a:buChar char="–"/>
        <a:defRPr kumimoji="1" sz="2000" b="0" i="0" kern="1200">
          <a:solidFill>
            <a:schemeClr val="tx1"/>
          </a:solidFill>
          <a:latin typeface="Calibri" panose="020F0502020204030204" pitchFamily="34" charset="0"/>
          <a:ea typeface="メイリオ" pitchFamily="50" charset="-128"/>
          <a:cs typeface="Calibri" pitchFamily="34" charset="0"/>
        </a:defRPr>
      </a:lvl2pPr>
      <a:lvl3pPr marL="1142690" indent="-228541" algn="l" defTabSz="914150" rtl="0" eaLnBrk="1" latinLnBrk="0" hangingPunct="1">
        <a:spcBef>
          <a:spcPct val="20000"/>
        </a:spcBef>
        <a:buClr>
          <a:srgbClr val="4C4948"/>
        </a:buClr>
        <a:buFont typeface="Arial" pitchFamily="34" charset="0"/>
        <a:buChar char="•"/>
        <a:defRPr kumimoji="1" sz="2000" b="0" i="0" kern="1200" baseline="0">
          <a:solidFill>
            <a:schemeClr val="tx1"/>
          </a:solidFill>
          <a:latin typeface="Calibri" panose="020F0502020204030204" pitchFamily="34" charset="0"/>
          <a:ea typeface="メイリオ" pitchFamily="50" charset="-128"/>
          <a:cs typeface="Calibri" pitchFamily="34" charset="0"/>
        </a:defRPr>
      </a:lvl3pPr>
      <a:lvl4pPr marL="1599760" indent="-228541" algn="l" defTabSz="914150" rtl="0" eaLnBrk="1" latinLnBrk="0" hangingPunct="1">
        <a:spcBef>
          <a:spcPct val="20000"/>
        </a:spcBef>
        <a:buClr>
          <a:srgbClr val="4C4948"/>
        </a:buClr>
        <a:buFont typeface="Arial" pitchFamily="34" charset="0"/>
        <a:buChar char="–"/>
        <a:defRPr kumimoji="1" sz="2000" b="0" i="0" kern="1200" baseline="0">
          <a:solidFill>
            <a:schemeClr val="tx1"/>
          </a:solidFill>
          <a:latin typeface="Calibri" panose="020F0502020204030204" pitchFamily="34" charset="0"/>
          <a:ea typeface="メイリオ" pitchFamily="50" charset="-128"/>
          <a:cs typeface="Calibri" pitchFamily="34" charset="0"/>
        </a:defRPr>
      </a:lvl4pPr>
      <a:lvl5pPr marL="2056831" indent="-228541" algn="l" defTabSz="914150" rtl="0" eaLnBrk="1" latinLnBrk="0" hangingPunct="1">
        <a:spcBef>
          <a:spcPct val="20000"/>
        </a:spcBef>
        <a:buClr>
          <a:srgbClr val="4C4948"/>
        </a:buClr>
        <a:buFont typeface="Arial" pitchFamily="34" charset="0"/>
        <a:buChar char="»"/>
        <a:defRPr kumimoji="1" sz="2000" b="0" i="0" kern="1200" baseline="0">
          <a:solidFill>
            <a:schemeClr val="tx1"/>
          </a:solidFill>
          <a:latin typeface="Calibri" panose="020F0502020204030204" pitchFamily="34" charset="0"/>
          <a:ea typeface="メイリオ" pitchFamily="50" charset="-128"/>
          <a:cs typeface="Calibri" pitchFamily="34" charset="0"/>
        </a:defRPr>
      </a:lvl5pPr>
      <a:lvl6pPr marL="2513910"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0986"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8061"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5142"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9pPr>
    </p:bodyStyle>
    <p:otherStyle>
      <a:defPPr>
        <a:defRPr lang="ja-JP"/>
      </a:defPPr>
      <a:lvl1pPr marL="0" algn="l" defTabSz="914150" rtl="0" eaLnBrk="1" latinLnBrk="0" hangingPunct="1">
        <a:defRPr kumimoji="1" sz="1867" kern="1200">
          <a:solidFill>
            <a:schemeClr val="tx1"/>
          </a:solidFill>
          <a:latin typeface="+mn-lt"/>
          <a:ea typeface="+mn-ea"/>
          <a:cs typeface="+mn-cs"/>
        </a:defRPr>
      </a:lvl1pPr>
      <a:lvl2pPr marL="457071" algn="l" defTabSz="914150" rtl="0" eaLnBrk="1" latinLnBrk="0" hangingPunct="1">
        <a:defRPr kumimoji="1" sz="1867" kern="1200">
          <a:solidFill>
            <a:schemeClr val="tx1"/>
          </a:solidFill>
          <a:latin typeface="+mn-lt"/>
          <a:ea typeface="+mn-ea"/>
          <a:cs typeface="+mn-cs"/>
        </a:defRPr>
      </a:lvl2pPr>
      <a:lvl3pPr marL="914150" algn="l" defTabSz="914150" rtl="0" eaLnBrk="1" latinLnBrk="0" hangingPunct="1">
        <a:defRPr kumimoji="1" sz="1867" kern="1200">
          <a:solidFill>
            <a:schemeClr val="tx1"/>
          </a:solidFill>
          <a:latin typeface="+mn-lt"/>
          <a:ea typeface="+mn-ea"/>
          <a:cs typeface="+mn-cs"/>
        </a:defRPr>
      </a:lvl3pPr>
      <a:lvl4pPr marL="1371226" algn="l" defTabSz="914150" rtl="0" eaLnBrk="1" latinLnBrk="0" hangingPunct="1">
        <a:defRPr kumimoji="1" sz="1867" kern="1200">
          <a:solidFill>
            <a:schemeClr val="tx1"/>
          </a:solidFill>
          <a:latin typeface="+mn-lt"/>
          <a:ea typeface="+mn-ea"/>
          <a:cs typeface="+mn-cs"/>
        </a:defRPr>
      </a:lvl4pPr>
      <a:lvl5pPr marL="1828301" algn="l" defTabSz="914150" rtl="0" eaLnBrk="1" latinLnBrk="0" hangingPunct="1">
        <a:defRPr kumimoji="1" sz="1867" kern="1200">
          <a:solidFill>
            <a:schemeClr val="tx1"/>
          </a:solidFill>
          <a:latin typeface="+mn-lt"/>
          <a:ea typeface="+mn-ea"/>
          <a:cs typeface="+mn-cs"/>
        </a:defRPr>
      </a:lvl5pPr>
      <a:lvl6pPr marL="2285382" algn="l" defTabSz="914150" rtl="0" eaLnBrk="1" latinLnBrk="0" hangingPunct="1">
        <a:defRPr kumimoji="1" sz="1867" kern="1200">
          <a:solidFill>
            <a:schemeClr val="tx1"/>
          </a:solidFill>
          <a:latin typeface="+mn-lt"/>
          <a:ea typeface="+mn-ea"/>
          <a:cs typeface="+mn-cs"/>
        </a:defRPr>
      </a:lvl6pPr>
      <a:lvl7pPr marL="2742450" algn="l" defTabSz="914150" rtl="0" eaLnBrk="1" latinLnBrk="0" hangingPunct="1">
        <a:defRPr kumimoji="1" sz="1867" kern="1200">
          <a:solidFill>
            <a:schemeClr val="tx1"/>
          </a:solidFill>
          <a:latin typeface="+mn-lt"/>
          <a:ea typeface="+mn-ea"/>
          <a:cs typeface="+mn-cs"/>
        </a:defRPr>
      </a:lvl7pPr>
      <a:lvl8pPr marL="3199520" algn="l" defTabSz="914150" rtl="0" eaLnBrk="1" latinLnBrk="0" hangingPunct="1">
        <a:defRPr kumimoji="1" sz="1867" kern="1200">
          <a:solidFill>
            <a:schemeClr val="tx1"/>
          </a:solidFill>
          <a:latin typeface="+mn-lt"/>
          <a:ea typeface="+mn-ea"/>
          <a:cs typeface="+mn-cs"/>
        </a:defRPr>
      </a:lvl8pPr>
      <a:lvl9pPr marL="3656591" algn="l" defTabSz="914150" rtl="0" eaLnBrk="1" latinLnBrk="0" hangingPunct="1">
        <a:defRPr kumimoji="1" sz="1867"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77">
          <p15:clr>
            <a:srgbClr val="F26B43"/>
          </p15:clr>
        </p15:guide>
        <p15:guide id="2" pos="189">
          <p15:clr>
            <a:srgbClr val="F26B43"/>
          </p15:clr>
        </p15:guide>
        <p15:guide id="3" pos="7491">
          <p15:clr>
            <a:srgbClr val="F26B43"/>
          </p15:clr>
        </p15:guide>
        <p15:guide id="4" orient="horz" pos="4042">
          <p15:clr>
            <a:srgbClr val="F26B43"/>
          </p15:clr>
        </p15:guide>
        <p15:guide id="5" pos="370">
          <p15:clr>
            <a:srgbClr val="F26B43"/>
          </p15:clr>
        </p15:guide>
        <p15:guide id="6" orient="horz" pos="4088">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40.xml"/><Relationship Id="rId1" Type="http://schemas.openxmlformats.org/officeDocument/2006/relationships/tags" Target="../tags/tag10.xml"/><Relationship Id="rId6" Type="http://schemas.openxmlformats.org/officeDocument/2006/relationships/image" Target="../media/image7.jpeg"/><Relationship Id="rId5" Type="http://schemas.openxmlformats.org/officeDocument/2006/relationships/image" Target="../media/image6.emf"/><Relationship Id="rId4" Type="http://schemas.openxmlformats.org/officeDocument/2006/relationships/oleObject" Target="../embeddings/oleObject2.bin"/></Relationships>
</file>

<file path=ppt/slides/_rels/slide10.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Layout" Target="../slideLayouts/slideLayout42.xml"/><Relationship Id="rId4" Type="http://schemas.openxmlformats.org/officeDocument/2006/relationships/image" Target="../media/image14.png"/></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54.xml"/></Relationships>
</file>

<file path=ppt/slides/_rels/slide12.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Layout" Target="../slideLayouts/slideLayout42.xml"/></Relationships>
</file>

<file path=ppt/slides/_rels/slide13.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4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18.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4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2.xml"/><Relationship Id="rId1" Type="http://schemas.openxmlformats.org/officeDocument/2006/relationships/slideLayout" Target="../slideLayouts/slideLayout42.xml"/></Relationships>
</file>

<file path=ppt/slides/_rels/slide20.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59.xml"/><Relationship Id="rId1" Type="http://schemas.openxmlformats.org/officeDocument/2006/relationships/tags" Target="../tags/tag11.xml"/><Relationship Id="rId5" Type="http://schemas.openxmlformats.org/officeDocument/2006/relationships/image" Target="../media/image19.jpeg"/><Relationship Id="rId4" Type="http://schemas.openxmlformats.org/officeDocument/2006/relationships/image" Target="../media/image1.emf"/></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24.xml.rels><?xml version="1.0" encoding="UTF-8" standalone="yes"?>
<Relationships xmlns="http://schemas.openxmlformats.org/package/2006/relationships"><Relationship Id="rId3" Type="http://schemas.openxmlformats.org/officeDocument/2006/relationships/image" Target="../media/image160.png"/><Relationship Id="rId2" Type="http://schemas.openxmlformats.org/officeDocument/2006/relationships/image" Target="../media/image20.png"/><Relationship Id="rId1" Type="http://schemas.openxmlformats.org/officeDocument/2006/relationships/slideLayout" Target="../slideLayouts/slideLayout42.xml"/><Relationship Id="rId4" Type="http://schemas.openxmlformats.org/officeDocument/2006/relationships/image" Target="../media/image21.png"/></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4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54.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54.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9.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Layout" Target="../slideLayouts/slideLayout4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3C7C467-27D8-38A5-500D-0C9521F64D8C}"/>
              </a:ext>
            </a:extLst>
          </p:cNvPr>
          <p:cNvGraphicFramePr>
            <a:graphicFrameLocks noChangeAspect="1"/>
          </p:cNvGraphicFramePr>
          <p:nvPr>
            <p:custDataLst>
              <p:tags r:id="rId1"/>
            </p:custDataLst>
            <p:extLst>
              <p:ext uri="{D42A27DB-BD31-4B8C-83A1-F6EECF244321}">
                <p14:modId xmlns:p14="http://schemas.microsoft.com/office/powerpoint/2010/main" val="8811110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8" name="Object 7" hidden="1">
                        <a:extLst>
                          <a:ext uri="{FF2B5EF4-FFF2-40B4-BE49-F238E27FC236}">
                            <a16:creationId xmlns:a16="http://schemas.microsoft.com/office/drawing/2014/main" id="{33C7C467-27D8-38A5-500D-0C9521F64D8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9" name="Picture Placeholder 8" descr="A group of people on ladders holding gears&#10;&#10;Description automatically generated">
            <a:extLst>
              <a:ext uri="{FF2B5EF4-FFF2-40B4-BE49-F238E27FC236}">
                <a16:creationId xmlns:a16="http://schemas.microsoft.com/office/drawing/2014/main" id="{F9F23758-2117-643A-17BB-334047646741}"/>
              </a:ext>
            </a:extLst>
          </p:cNvPr>
          <p:cNvPicPr>
            <a:picLocks noGrp="1" noChangeAspect="1"/>
          </p:cNvPicPr>
          <p:nvPr>
            <p:ph type="pic" sz="quarter" idx="17"/>
          </p:nvPr>
        </p:nvPicPr>
        <p:blipFill>
          <a:blip r:embed="rId6">
            <a:extLst>
              <a:ext uri="{28A0092B-C50C-407E-A947-70E740481C1C}">
                <a14:useLocalDpi xmlns:a14="http://schemas.microsoft.com/office/drawing/2010/main" val="0"/>
              </a:ext>
            </a:extLst>
          </a:blip>
          <a:srcRect l="20866" r="20866"/>
          <a:stretch>
            <a:fillRect/>
          </a:stretch>
        </p:blipFill>
        <p:spPr/>
      </p:pic>
      <p:sp>
        <p:nvSpPr>
          <p:cNvPr id="17" name="Title 1">
            <a:extLst>
              <a:ext uri="{FF2B5EF4-FFF2-40B4-BE49-F238E27FC236}">
                <a16:creationId xmlns:a16="http://schemas.microsoft.com/office/drawing/2014/main" id="{C4D46480-36D5-3759-446D-9D917F6B56FA}"/>
              </a:ext>
            </a:extLst>
          </p:cNvPr>
          <p:cNvSpPr>
            <a:spLocks noGrp="1"/>
          </p:cNvSpPr>
          <p:nvPr>
            <p:ph type="ctrTitle"/>
          </p:nvPr>
        </p:nvSpPr>
        <p:spPr>
          <a:xfrm>
            <a:off x="1194730" y="2016616"/>
            <a:ext cx="3716317" cy="1566442"/>
          </a:xfrm>
        </p:spPr>
        <p:txBody>
          <a:bodyPr vert="horz">
            <a:normAutofit fontScale="90000"/>
          </a:bodyPr>
          <a:lstStyle/>
          <a:p>
            <a:r>
              <a:rPr lang="en-US" altLang="ja-JP" b="1" dirty="0">
                <a:latin typeface="Helvetica" panose="020B0604020202020204" pitchFamily="34" charset="0"/>
                <a:cs typeface="Helvetica" panose="020B0604020202020204" pitchFamily="34" charset="0"/>
              </a:rPr>
              <a:t>UNC13A-SSO</a:t>
            </a:r>
            <a:br>
              <a:rPr lang="en-US" altLang="ja-JP" b="1" dirty="0">
                <a:latin typeface="Helvetica" panose="020B0604020202020204" pitchFamily="34" charset="0"/>
                <a:cs typeface="Helvetica" panose="020B0604020202020204" pitchFamily="34" charset="0"/>
              </a:rPr>
            </a:br>
            <a:r>
              <a:rPr lang="en-US" altLang="ja-JP" b="1" dirty="0">
                <a:latin typeface="Helvetica" panose="020B0604020202020204" pitchFamily="34" charset="0"/>
                <a:cs typeface="Helvetica" panose="020B0604020202020204" pitchFamily="34" charset="0"/>
              </a:rPr>
              <a:t>(Splicing Switch Oligonucleotide)</a:t>
            </a:r>
            <a:br>
              <a:rPr lang="en-US" altLang="ja-JP" b="1" dirty="0">
                <a:latin typeface="Helvetica" panose="020B0604020202020204" pitchFamily="34" charset="0"/>
                <a:cs typeface="Helvetica" panose="020B0604020202020204" pitchFamily="34" charset="0"/>
              </a:rPr>
            </a:br>
            <a:r>
              <a:rPr lang="en-US" altLang="ja-JP" sz="2000" b="0" i="1" dirty="0">
                <a:solidFill>
                  <a:schemeClr val="tx1"/>
                </a:solidFill>
              </a:rPr>
              <a:t>- Statistical consideration-</a:t>
            </a:r>
            <a:endParaRPr lang="en-IN" sz="3600" dirty="0"/>
          </a:p>
        </p:txBody>
      </p:sp>
      <p:sp>
        <p:nvSpPr>
          <p:cNvPr id="18" name="Text Placeholder 5">
            <a:extLst>
              <a:ext uri="{FF2B5EF4-FFF2-40B4-BE49-F238E27FC236}">
                <a16:creationId xmlns:a16="http://schemas.microsoft.com/office/drawing/2014/main" id="{3ABD97AE-BB96-1269-BB02-A9293DFCC30C}"/>
              </a:ext>
            </a:extLst>
          </p:cNvPr>
          <p:cNvSpPr txBox="1">
            <a:spLocks/>
          </p:cNvSpPr>
          <p:nvPr/>
        </p:nvSpPr>
        <p:spPr>
          <a:xfrm>
            <a:off x="1194728" y="5242773"/>
            <a:ext cx="2227201" cy="234001"/>
          </a:xfrm>
          <a:prstGeom prst="rect">
            <a:avLst/>
          </a:prstGeom>
        </p:spPr>
        <p:txBody>
          <a:bodyPr vert="horz" lIns="0" tIns="0" rIns="0" bIns="0" rtlCol="0">
            <a:noAutofit/>
          </a:bodyPr>
          <a:lstStyle>
            <a:lvl1pPr marL="0" indent="0" algn="l" defTabSz="914150" rtl="0" eaLnBrk="1" latinLnBrk="0" hangingPunct="1">
              <a:spcBef>
                <a:spcPct val="20000"/>
              </a:spcBef>
              <a:buClr>
                <a:srgbClr val="4C4948"/>
              </a:buClr>
              <a:buFont typeface="Arial" panose="020B0604020202020204" pitchFamily="34" charset="0"/>
              <a:buNone/>
              <a:defRPr kumimoji="1" sz="1400" b="0" i="0" kern="1200" baseline="0">
                <a:solidFill>
                  <a:schemeClr val="tx1"/>
                </a:solidFill>
                <a:latin typeface="Calibri" panose="020F0502020204030204" pitchFamily="34" charset="0"/>
                <a:ea typeface="メイリオ" pitchFamily="50" charset="-128"/>
                <a:cs typeface="Calibri" panose="020F0502020204030204" pitchFamily="34" charset="0"/>
              </a:defRPr>
            </a:lvl1pPr>
            <a:lvl2pPr marL="457068" indent="0" algn="l" defTabSz="914150" rtl="0" eaLnBrk="1" latinLnBrk="0" hangingPunct="1">
              <a:spcBef>
                <a:spcPct val="20000"/>
              </a:spcBef>
              <a:buClr>
                <a:srgbClr val="4C4948"/>
              </a:buClr>
              <a:buFont typeface="Arial" pitchFamily="34" charset="0"/>
              <a:buNone/>
              <a:defRPr kumimoji="1" sz="1400" b="0" i="0" kern="1200">
                <a:solidFill>
                  <a:schemeClr val="tx1"/>
                </a:solidFill>
                <a:latin typeface="Calibri" panose="020F0502020204030204" pitchFamily="34" charset="0"/>
                <a:ea typeface="メイリオ" pitchFamily="50" charset="-128"/>
                <a:cs typeface="Calibri" pitchFamily="34" charset="0"/>
              </a:defRPr>
            </a:lvl2pPr>
            <a:lvl3pPr marL="914149" indent="0" algn="l" defTabSz="914150" rtl="0" eaLnBrk="1" latinLnBrk="0" hangingPunct="1">
              <a:spcBef>
                <a:spcPct val="2000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3pPr>
            <a:lvl4pPr marL="1371219" indent="0" algn="l" defTabSz="914150" rtl="0" eaLnBrk="1" latinLnBrk="0" hangingPunct="1">
              <a:spcBef>
                <a:spcPct val="2000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4pPr>
            <a:lvl5pPr marL="1828290" indent="0" algn="l" defTabSz="914150" rtl="0" eaLnBrk="1" latinLnBrk="0" hangingPunct="1">
              <a:spcBef>
                <a:spcPct val="2000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5pPr>
            <a:lvl6pPr marL="2513910"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0986"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8061"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5142"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r>
              <a:rPr lang="en-US" altLang="ja-JP" dirty="0"/>
              <a:t>February 10th, 2024</a:t>
            </a:r>
          </a:p>
        </p:txBody>
      </p:sp>
      <p:sp>
        <p:nvSpPr>
          <p:cNvPr id="19" name="Text Placeholder 12">
            <a:extLst>
              <a:ext uri="{FF2B5EF4-FFF2-40B4-BE49-F238E27FC236}">
                <a16:creationId xmlns:a16="http://schemas.microsoft.com/office/drawing/2014/main" id="{F05C73D8-E747-965C-D552-CB8F669CB15F}"/>
              </a:ext>
            </a:extLst>
          </p:cNvPr>
          <p:cNvSpPr txBox="1">
            <a:spLocks/>
          </p:cNvSpPr>
          <p:nvPr/>
        </p:nvSpPr>
        <p:spPr>
          <a:xfrm>
            <a:off x="1194729" y="4082686"/>
            <a:ext cx="2555338" cy="596030"/>
          </a:xfrm>
          <a:prstGeom prst="rect">
            <a:avLst/>
          </a:prstGeom>
        </p:spPr>
        <p:txBody>
          <a:bodyPr vert="horz" lIns="0" tIns="0" rIns="0" bIns="0" rtlCol="0">
            <a:noAutofit/>
          </a:bodyPr>
          <a:lstStyle>
            <a:lvl1pPr marL="0" indent="0" algn="l" defTabSz="914150" rtl="0" eaLnBrk="1" latinLnBrk="0" hangingPunct="1">
              <a:spcBef>
                <a:spcPct val="20000"/>
              </a:spcBef>
              <a:buClr>
                <a:srgbClr val="4C4948"/>
              </a:buClr>
              <a:buFont typeface="Arial" panose="020B0604020202020204" pitchFamily="34" charset="0"/>
              <a:buNone/>
              <a:defRPr kumimoji="1" sz="1400" b="0" i="0" kern="1200" baseline="0">
                <a:solidFill>
                  <a:schemeClr val="tx1"/>
                </a:solidFill>
                <a:latin typeface="Calibri" panose="020F0502020204030204" pitchFamily="34" charset="0"/>
                <a:ea typeface="メイリオ" pitchFamily="50" charset="-128"/>
                <a:cs typeface="Calibri" panose="020F0502020204030204" pitchFamily="34" charset="0"/>
              </a:defRPr>
            </a:lvl1pPr>
            <a:lvl2pPr marL="457068" indent="0" algn="l" defTabSz="914150" rtl="0" eaLnBrk="1" latinLnBrk="0" hangingPunct="1">
              <a:spcBef>
                <a:spcPct val="20000"/>
              </a:spcBef>
              <a:buClr>
                <a:srgbClr val="4C4948"/>
              </a:buClr>
              <a:buFont typeface="Arial" pitchFamily="34" charset="0"/>
              <a:buNone/>
              <a:defRPr kumimoji="1" sz="1400" b="0" i="0" kern="1200">
                <a:solidFill>
                  <a:schemeClr val="tx1"/>
                </a:solidFill>
                <a:latin typeface="Calibri" panose="020F0502020204030204" pitchFamily="34" charset="0"/>
                <a:ea typeface="メイリオ" pitchFamily="50" charset="-128"/>
                <a:cs typeface="Calibri" pitchFamily="34" charset="0"/>
              </a:defRPr>
            </a:lvl2pPr>
            <a:lvl3pPr marL="914149" indent="0" algn="l" defTabSz="914150" rtl="0" eaLnBrk="1" latinLnBrk="0" hangingPunct="1">
              <a:spcBef>
                <a:spcPct val="2000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3pPr>
            <a:lvl4pPr marL="1371219" indent="0" algn="l" defTabSz="914150" rtl="0" eaLnBrk="1" latinLnBrk="0" hangingPunct="1">
              <a:spcBef>
                <a:spcPct val="2000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4pPr>
            <a:lvl5pPr marL="1828290" indent="0" algn="l" defTabSz="914150" rtl="0" eaLnBrk="1" latinLnBrk="0" hangingPunct="1">
              <a:spcBef>
                <a:spcPct val="2000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5pPr>
            <a:lvl6pPr marL="2513910"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0986"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8061"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5142"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r>
              <a:rPr lang="en-US" altLang="ja-JP"/>
              <a:t>Yushuf Sharker</a:t>
            </a:r>
          </a:p>
        </p:txBody>
      </p:sp>
    </p:spTree>
    <p:extLst>
      <p:ext uri="{BB962C8B-B14F-4D97-AF65-F5344CB8AC3E}">
        <p14:creationId xmlns:p14="http://schemas.microsoft.com/office/powerpoint/2010/main" val="398411900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064303F-984E-38B3-CFBE-830524BE7910}"/>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ECAB740C-497A-C7ED-54DC-8D45FDBB417C}"/>
              </a:ext>
            </a:extLst>
          </p:cNvPr>
          <p:cNvSpPr>
            <a:spLocks noGrp="1"/>
          </p:cNvSpPr>
          <p:nvPr>
            <p:ph type="body" sz="quarter" idx="15"/>
          </p:nvPr>
        </p:nvSpPr>
        <p:spPr/>
        <p:txBody>
          <a:bodyPr/>
          <a:lstStyle/>
          <a:p>
            <a:endParaRPr lang="en-US" dirty="0">
              <a:solidFill>
                <a:srgbClr val="000000"/>
              </a:solidFill>
            </a:endParaRPr>
          </a:p>
          <a:p>
            <a:endParaRPr lang="en-US" dirty="0">
              <a:solidFill>
                <a:srgbClr val="000000"/>
              </a:solidFill>
            </a:endParaRPr>
          </a:p>
          <a:p>
            <a:endParaRPr lang="en-US" dirty="0">
              <a:solidFill>
                <a:srgbClr val="000000"/>
              </a:solidFill>
            </a:endParaRPr>
          </a:p>
          <a:p>
            <a:endParaRPr lang="en-US" dirty="0"/>
          </a:p>
        </p:txBody>
      </p:sp>
      <p:sp>
        <p:nvSpPr>
          <p:cNvPr id="3" name="Footer Placeholder 2">
            <a:extLst>
              <a:ext uri="{FF2B5EF4-FFF2-40B4-BE49-F238E27FC236}">
                <a16:creationId xmlns:a16="http://schemas.microsoft.com/office/drawing/2014/main" id="{1985541D-4051-777F-ACD2-3FC3C66F4808}"/>
              </a:ext>
            </a:extLst>
          </p:cNvPr>
          <p:cNvSpPr>
            <a:spLocks noGrp="1"/>
          </p:cNvSpPr>
          <p:nvPr>
            <p:ph type="ftr" sz="quarter" idx="3"/>
          </p:nvPr>
        </p:nvSpPr>
        <p:spPr/>
        <p:txBody>
          <a:bodyPr/>
          <a:lstStyle/>
          <a:p>
            <a:r>
              <a:rPr lang="en-JP" dirty="0"/>
              <a:t> </a:t>
            </a:r>
          </a:p>
        </p:txBody>
      </p:sp>
      <p:sp>
        <p:nvSpPr>
          <p:cNvPr id="4" name="Title 3">
            <a:extLst>
              <a:ext uri="{FF2B5EF4-FFF2-40B4-BE49-F238E27FC236}">
                <a16:creationId xmlns:a16="http://schemas.microsoft.com/office/drawing/2014/main" id="{C96401C7-4C89-C1C4-BD2A-CFEBBDCC43CE}"/>
              </a:ext>
            </a:extLst>
          </p:cNvPr>
          <p:cNvSpPr>
            <a:spLocks noGrp="1"/>
          </p:cNvSpPr>
          <p:nvPr>
            <p:ph type="title"/>
          </p:nvPr>
        </p:nvSpPr>
        <p:spPr/>
        <p:txBody>
          <a:bodyPr/>
          <a:lstStyle/>
          <a:p>
            <a:r>
              <a:rPr lang="en-US">
                <a:latin typeface="Calibri"/>
                <a:ea typeface="メイリオ"/>
                <a:cs typeface="Calibri"/>
              </a:rPr>
              <a:t>GNG Operating Characteristics</a:t>
            </a:r>
            <a:endParaRPr lang="en-US" dirty="0"/>
          </a:p>
        </p:txBody>
      </p:sp>
      <p:sp>
        <p:nvSpPr>
          <p:cNvPr id="5" name="Slide Number Placeholder 4">
            <a:extLst>
              <a:ext uri="{FF2B5EF4-FFF2-40B4-BE49-F238E27FC236}">
                <a16:creationId xmlns:a16="http://schemas.microsoft.com/office/drawing/2014/main" id="{70CF31BB-6E35-5ACA-0B30-8C4F94DD70EA}"/>
              </a:ext>
            </a:extLst>
          </p:cNvPr>
          <p:cNvSpPr>
            <a:spLocks noGrp="1"/>
          </p:cNvSpPr>
          <p:nvPr>
            <p:ph type="sldNum" sz="quarter" idx="4"/>
          </p:nvPr>
        </p:nvSpPr>
        <p:spPr/>
        <p:txBody>
          <a:bodyPr/>
          <a:lstStyle/>
          <a:p>
            <a:pPr defTabSz="1218810"/>
            <a:fld id="{E9B57936-92EF-4126-AE48-1D9D36D15E98}" type="slidenum">
              <a:rPr lang="ja-JP" altLang="en-US" smtClean="0"/>
              <a:pPr defTabSz="1218810"/>
              <a:t>9</a:t>
            </a:fld>
            <a:endParaRPr lang="ja-JP" altLang="en-US"/>
          </a:p>
        </p:txBody>
      </p:sp>
      <p:sp>
        <p:nvSpPr>
          <p:cNvPr id="6" name="Text Placeholder 5">
            <a:extLst>
              <a:ext uri="{FF2B5EF4-FFF2-40B4-BE49-F238E27FC236}">
                <a16:creationId xmlns:a16="http://schemas.microsoft.com/office/drawing/2014/main" id="{464ACB4A-7016-C593-6073-C1A95FEE034D}"/>
              </a:ext>
            </a:extLst>
          </p:cNvPr>
          <p:cNvSpPr>
            <a:spLocks noGrp="1"/>
          </p:cNvSpPr>
          <p:nvPr>
            <p:ph type="body" sz="quarter" idx="16"/>
          </p:nvPr>
        </p:nvSpPr>
        <p:spPr/>
        <p:txBody>
          <a:bodyPr/>
          <a:lstStyle/>
          <a:p>
            <a:endParaRPr lang="en-US"/>
          </a:p>
        </p:txBody>
      </p:sp>
      <p:sp>
        <p:nvSpPr>
          <p:cNvPr id="7" name="TextBox 6">
            <a:extLst>
              <a:ext uri="{FF2B5EF4-FFF2-40B4-BE49-F238E27FC236}">
                <a16:creationId xmlns:a16="http://schemas.microsoft.com/office/drawing/2014/main" id="{EAD49737-27DC-66FB-B44A-9492CC00F066}"/>
              </a:ext>
            </a:extLst>
          </p:cNvPr>
          <p:cNvSpPr txBox="1"/>
          <p:nvPr/>
        </p:nvSpPr>
        <p:spPr>
          <a:xfrm>
            <a:off x="601720" y="846921"/>
            <a:ext cx="11125524" cy="646331"/>
          </a:xfrm>
          <a:prstGeom prst="rect">
            <a:avLst/>
          </a:prstGeom>
          <a:noFill/>
        </p:spPr>
        <p:txBody>
          <a:bodyPr wrap="square" lIns="91440" tIns="45720" rIns="91440" bIns="45720" rtlCol="0" anchor="t">
            <a:spAutoFit/>
          </a:bodyPr>
          <a:lstStyle/>
          <a:p>
            <a:r>
              <a:rPr lang="en-US" b="1" dirty="0"/>
              <a:t>LRV 0.1 or 0.2</a:t>
            </a:r>
          </a:p>
          <a:p>
            <a:r>
              <a:rPr lang="en-US" dirty="0">
                <a:solidFill>
                  <a:srgbClr val="242424"/>
                </a:solidFill>
                <a:latin typeface="Segoe UI"/>
                <a:cs typeface="Segoe UI"/>
              </a:rPr>
              <a:t>The level of risk we will accept for continuing a compound that is below our dignity line for development</a:t>
            </a:r>
            <a:endParaRPr lang="en-US" dirty="0">
              <a:ea typeface="Calibri" panose="020F0502020204030204"/>
              <a:cs typeface="Calibri" panose="020F0502020204030204"/>
            </a:endParaRPr>
          </a:p>
        </p:txBody>
      </p:sp>
      <p:sp>
        <p:nvSpPr>
          <p:cNvPr id="16" name="TextBox 15">
            <a:extLst>
              <a:ext uri="{FF2B5EF4-FFF2-40B4-BE49-F238E27FC236}">
                <a16:creationId xmlns:a16="http://schemas.microsoft.com/office/drawing/2014/main" id="{B05920EF-EB81-04FD-35F8-E73325E828B6}"/>
              </a:ext>
            </a:extLst>
          </p:cNvPr>
          <p:cNvSpPr txBox="1"/>
          <p:nvPr/>
        </p:nvSpPr>
        <p:spPr>
          <a:xfrm>
            <a:off x="707011" y="5687913"/>
            <a:ext cx="11125524" cy="64633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b="1" dirty="0">
                <a:ea typeface="Calibri"/>
                <a:cs typeface="Calibri"/>
              </a:rPr>
              <a:t>The gray zone becomes wider in lower LRV that results the QDM prone to ‘go’ the go decision with lower true reduction.  </a:t>
            </a:r>
            <a:endParaRPr lang="en-US" b="1" dirty="0"/>
          </a:p>
        </p:txBody>
      </p:sp>
      <p:pic>
        <p:nvPicPr>
          <p:cNvPr id="14" name="Picture 13">
            <a:extLst>
              <a:ext uri="{FF2B5EF4-FFF2-40B4-BE49-F238E27FC236}">
                <a16:creationId xmlns:a16="http://schemas.microsoft.com/office/drawing/2014/main" id="{8B614057-0560-30BE-1076-47ACADE96795}"/>
              </a:ext>
            </a:extLst>
          </p:cNvPr>
          <p:cNvPicPr>
            <a:picLocks noChangeAspect="1"/>
          </p:cNvPicPr>
          <p:nvPr/>
        </p:nvPicPr>
        <p:blipFill>
          <a:blip r:embed="rId2"/>
          <a:stretch>
            <a:fillRect/>
          </a:stretch>
        </p:blipFill>
        <p:spPr>
          <a:xfrm>
            <a:off x="1120114" y="1424420"/>
            <a:ext cx="4578493" cy="2755631"/>
          </a:xfrm>
          <a:prstGeom prst="rect">
            <a:avLst/>
          </a:prstGeom>
        </p:spPr>
      </p:pic>
      <p:pic>
        <p:nvPicPr>
          <p:cNvPr id="18" name="Picture 17">
            <a:extLst>
              <a:ext uri="{FF2B5EF4-FFF2-40B4-BE49-F238E27FC236}">
                <a16:creationId xmlns:a16="http://schemas.microsoft.com/office/drawing/2014/main" id="{0CBFFFD7-F2E2-C317-66EF-446EFB6D1A94}"/>
              </a:ext>
            </a:extLst>
          </p:cNvPr>
          <p:cNvPicPr>
            <a:picLocks noChangeAspect="1"/>
          </p:cNvPicPr>
          <p:nvPr/>
        </p:nvPicPr>
        <p:blipFill>
          <a:blip r:embed="rId3"/>
          <a:stretch>
            <a:fillRect/>
          </a:stretch>
        </p:blipFill>
        <p:spPr>
          <a:xfrm>
            <a:off x="5927774" y="1400112"/>
            <a:ext cx="4394576" cy="2750679"/>
          </a:xfrm>
          <a:prstGeom prst="rect">
            <a:avLst/>
          </a:prstGeom>
        </p:spPr>
      </p:pic>
      <p:pic>
        <p:nvPicPr>
          <p:cNvPr id="20" name="Picture 19">
            <a:extLst>
              <a:ext uri="{FF2B5EF4-FFF2-40B4-BE49-F238E27FC236}">
                <a16:creationId xmlns:a16="http://schemas.microsoft.com/office/drawing/2014/main" id="{CCD706F2-A0E4-2242-6F17-CF40FD9C4FB7}"/>
              </a:ext>
            </a:extLst>
          </p:cNvPr>
          <p:cNvPicPr>
            <a:picLocks noChangeAspect="1"/>
          </p:cNvPicPr>
          <p:nvPr/>
        </p:nvPicPr>
        <p:blipFill>
          <a:blip r:embed="rId4"/>
          <a:stretch>
            <a:fillRect/>
          </a:stretch>
        </p:blipFill>
        <p:spPr>
          <a:xfrm>
            <a:off x="3900439" y="3593987"/>
            <a:ext cx="3596336" cy="2161628"/>
          </a:xfrm>
          <a:prstGeom prst="rect">
            <a:avLst/>
          </a:prstGeom>
        </p:spPr>
      </p:pic>
    </p:spTree>
    <p:extLst>
      <p:ext uri="{BB962C8B-B14F-4D97-AF65-F5344CB8AC3E}">
        <p14:creationId xmlns:p14="http://schemas.microsoft.com/office/powerpoint/2010/main" val="1542475369"/>
      </p:ext>
    </p:extLst>
  </p:cSld>
  <p:clrMapOvr>
    <a:masterClrMapping/>
  </p:clrMapOvr>
  <p:transition spd="slow">
    <p:push dir="u"/>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1C659D5-B40F-585A-7FF2-5F6BFD6986DB}"/>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601FBFAB-0D45-F3AF-CA64-D60196948A23}"/>
              </a:ext>
            </a:extLst>
          </p:cNvPr>
          <p:cNvSpPr>
            <a:spLocks noGrp="1"/>
          </p:cNvSpPr>
          <p:nvPr>
            <p:ph type="title"/>
          </p:nvPr>
        </p:nvSpPr>
        <p:spPr>
          <a:xfrm>
            <a:off x="606078" y="161605"/>
            <a:ext cx="9940253" cy="685801"/>
          </a:xfrm>
        </p:spPr>
        <p:txBody>
          <a:bodyPr vert="horz" lIns="0" tIns="0" rIns="0" bIns="0" rtlCol="0" anchor="ctr">
            <a:normAutofit/>
          </a:bodyPr>
          <a:lstStyle/>
          <a:p>
            <a:r>
              <a:rPr lang="en-US" dirty="0"/>
              <a:t>Statistical Analysis Plan</a:t>
            </a:r>
          </a:p>
        </p:txBody>
      </p:sp>
      <p:sp>
        <p:nvSpPr>
          <p:cNvPr id="3" name="Footer Placeholder 2">
            <a:extLst>
              <a:ext uri="{FF2B5EF4-FFF2-40B4-BE49-F238E27FC236}">
                <a16:creationId xmlns:a16="http://schemas.microsoft.com/office/drawing/2014/main" id="{9BFD886A-7F2F-67EE-5BA3-AD63715C9377}"/>
              </a:ext>
            </a:extLst>
          </p:cNvPr>
          <p:cNvSpPr>
            <a:spLocks noGrp="1"/>
          </p:cNvSpPr>
          <p:nvPr>
            <p:ph type="ftr" sz="quarter" idx="3"/>
          </p:nvPr>
        </p:nvSpPr>
        <p:spPr>
          <a:xfrm>
            <a:off x="7766050" y="6523001"/>
            <a:ext cx="4114800" cy="196131"/>
          </a:xfrm>
        </p:spPr>
        <p:txBody>
          <a:bodyPr vert="horz" lIns="91440" tIns="45720" rIns="0" bIns="45720" rtlCol="0" anchor="ctr">
            <a:normAutofit/>
          </a:bodyPr>
          <a:lstStyle/>
          <a:p>
            <a:pPr>
              <a:lnSpc>
                <a:spcPct val="90000"/>
              </a:lnSpc>
              <a:spcAft>
                <a:spcPts val="600"/>
              </a:spcAft>
            </a:pPr>
            <a:r>
              <a:rPr lang="en-JP" sz="700" b="1" kern="1200" spc="100" baseline="0">
                <a:latin typeface="+mn-lt"/>
                <a:ea typeface="+mn-ea"/>
                <a:cs typeface="+mn-cs"/>
              </a:rPr>
              <a:t> </a:t>
            </a:r>
          </a:p>
        </p:txBody>
      </p:sp>
      <p:sp>
        <p:nvSpPr>
          <p:cNvPr id="5" name="Slide Number Placeholder 4">
            <a:extLst>
              <a:ext uri="{FF2B5EF4-FFF2-40B4-BE49-F238E27FC236}">
                <a16:creationId xmlns:a16="http://schemas.microsoft.com/office/drawing/2014/main" id="{C293867A-E4A2-65A9-2800-DF7038740D26}"/>
              </a:ext>
            </a:extLst>
          </p:cNvPr>
          <p:cNvSpPr>
            <a:spLocks noGrp="1"/>
          </p:cNvSpPr>
          <p:nvPr>
            <p:ph type="sldNum" sz="quarter" idx="4"/>
          </p:nvPr>
        </p:nvSpPr>
        <p:spPr>
          <a:xfrm>
            <a:off x="311150" y="6523001"/>
            <a:ext cx="294928" cy="196131"/>
          </a:xfrm>
        </p:spPr>
        <p:txBody>
          <a:bodyPr vert="horz" lIns="0" tIns="45710" rIns="0" bIns="45710" rtlCol="0" anchor="ctr">
            <a:normAutofit/>
          </a:bodyPr>
          <a:lstStyle/>
          <a:p>
            <a:pPr defTabSz="1218810">
              <a:lnSpc>
                <a:spcPct val="90000"/>
              </a:lnSpc>
              <a:spcAft>
                <a:spcPts val="600"/>
              </a:spcAft>
            </a:pPr>
            <a:fld id="{E9B57936-92EF-4126-AE48-1D9D36D15E98}" type="slidenum">
              <a:rPr lang="ja-JP" altLang="en-US" sz="700" smtClean="0"/>
              <a:pPr defTabSz="1218810">
                <a:lnSpc>
                  <a:spcPct val="90000"/>
                </a:lnSpc>
                <a:spcAft>
                  <a:spcPts val="600"/>
                </a:spcAft>
              </a:pPr>
              <a:t>10</a:t>
            </a:fld>
            <a:endParaRPr lang="ja-JP" altLang="en-US" sz="700"/>
          </a:p>
        </p:txBody>
      </p:sp>
      <p:sp>
        <p:nvSpPr>
          <p:cNvPr id="20" name="Text Placeholder 6">
            <a:extLst>
              <a:ext uri="{FF2B5EF4-FFF2-40B4-BE49-F238E27FC236}">
                <a16:creationId xmlns:a16="http://schemas.microsoft.com/office/drawing/2014/main" id="{F5C3FED5-D56F-20E2-65F9-F9BB02F87DE2}"/>
              </a:ext>
            </a:extLst>
          </p:cNvPr>
          <p:cNvSpPr>
            <a:spLocks noGrp="1"/>
          </p:cNvSpPr>
          <p:nvPr>
            <p:ph type="body" sz="quarter" idx="16"/>
          </p:nvPr>
        </p:nvSpPr>
        <p:spPr>
          <a:xfrm>
            <a:off x="606078" y="6523001"/>
            <a:ext cx="6968348" cy="205613"/>
          </a:xfrm>
        </p:spPr>
        <p:txBody>
          <a:bodyPr/>
          <a:lstStyle/>
          <a:p>
            <a:endParaRPr lang="en-US"/>
          </a:p>
        </p:txBody>
      </p:sp>
      <p:sp>
        <p:nvSpPr>
          <p:cNvPr id="2" name="Text Placeholder 1">
            <a:extLst>
              <a:ext uri="{FF2B5EF4-FFF2-40B4-BE49-F238E27FC236}">
                <a16:creationId xmlns:a16="http://schemas.microsoft.com/office/drawing/2014/main" id="{3E49EEC5-FCBE-285D-EBEB-9D129B8D94E8}"/>
              </a:ext>
            </a:extLst>
          </p:cNvPr>
          <p:cNvSpPr>
            <a:spLocks noGrp="1"/>
          </p:cNvSpPr>
          <p:nvPr>
            <p:ph type="body" sz="quarter" idx="23"/>
          </p:nvPr>
        </p:nvSpPr>
        <p:spPr>
          <a:xfrm>
            <a:off x="311149" y="1093767"/>
            <a:ext cx="11603669" cy="272786"/>
          </a:xfrm>
        </p:spPr>
        <p:txBody>
          <a:bodyPr vert="horz" lIns="0" tIns="0" rIns="0" bIns="0" numCol="1" rtlCol="0">
            <a:normAutofit/>
          </a:bodyPr>
          <a:lstStyle/>
          <a:p>
            <a:pPr>
              <a:lnSpc>
                <a:spcPct val="90000"/>
              </a:lnSpc>
            </a:pPr>
            <a:endParaRPr kumimoji="1" lang="en-US" sz="1400" b="1" i="0" kern="1200" baseline="0">
              <a:latin typeface="Calibri" panose="020F0502020204030204" pitchFamily="34" charset="0"/>
              <a:ea typeface="メイリオ" pitchFamily="50" charset="-128"/>
              <a:cs typeface="Calibri" pitchFamily="34" charset="0"/>
            </a:endParaRPr>
          </a:p>
          <a:p>
            <a:pPr>
              <a:lnSpc>
                <a:spcPct val="90000"/>
              </a:lnSpc>
            </a:pPr>
            <a:endParaRPr kumimoji="1" lang="en-US" sz="1400" b="1" i="0" kern="1200" baseline="0">
              <a:latin typeface="Calibri" panose="020F0502020204030204" pitchFamily="34" charset="0"/>
              <a:ea typeface="メイリオ" pitchFamily="50" charset="-128"/>
              <a:cs typeface="Calibri" pitchFamily="34" charset="0"/>
            </a:endParaRPr>
          </a:p>
          <a:p>
            <a:pPr>
              <a:lnSpc>
                <a:spcPct val="90000"/>
              </a:lnSpc>
            </a:pPr>
            <a:endParaRPr kumimoji="1" lang="en-US" sz="1400" b="1" i="0" kern="1200" baseline="0">
              <a:latin typeface="Calibri" panose="020F0502020204030204" pitchFamily="34" charset="0"/>
              <a:ea typeface="メイリオ" pitchFamily="50" charset="-128"/>
              <a:cs typeface="Calibri" pitchFamily="34" charset="0"/>
            </a:endParaRPr>
          </a:p>
          <a:p>
            <a:pPr>
              <a:lnSpc>
                <a:spcPct val="90000"/>
              </a:lnSpc>
            </a:pPr>
            <a:endParaRPr kumimoji="1" lang="en-US" sz="1400" b="1" i="0" kern="1200" baseline="0">
              <a:latin typeface="Calibri" panose="020F0502020204030204" pitchFamily="34" charset="0"/>
              <a:ea typeface="メイリオ" pitchFamily="50" charset="-128"/>
              <a:cs typeface="Calibri" pitchFamily="34" charset="0"/>
            </a:endParaRPr>
          </a:p>
        </p:txBody>
      </p:sp>
      <p:sp>
        <p:nvSpPr>
          <p:cNvPr id="15" name="TextBox 14">
            <a:extLst>
              <a:ext uri="{FF2B5EF4-FFF2-40B4-BE49-F238E27FC236}">
                <a16:creationId xmlns:a16="http://schemas.microsoft.com/office/drawing/2014/main" id="{97E91ECC-F4E4-FC89-1FDD-21E64FFBC761}"/>
              </a:ext>
            </a:extLst>
          </p:cNvPr>
          <p:cNvSpPr txBox="1"/>
          <p:nvPr/>
        </p:nvSpPr>
        <p:spPr>
          <a:xfrm>
            <a:off x="458614" y="1093767"/>
            <a:ext cx="10971386" cy="5078313"/>
          </a:xfrm>
          <a:prstGeom prst="rect">
            <a:avLst/>
          </a:prstGeom>
          <a:noFill/>
        </p:spPr>
        <p:txBody>
          <a:bodyPr wrap="square" lIns="91440" tIns="45720" rIns="91440" bIns="45720" anchor="t">
            <a:spAutoFit/>
          </a:bodyPr>
          <a:lstStyle/>
          <a:p>
            <a:pPr marL="342900" indent="-342900">
              <a:spcBef>
                <a:spcPts val="600"/>
              </a:spcBef>
              <a:spcAft>
                <a:spcPts val="600"/>
              </a:spcAft>
              <a:buFont typeface="Arial" panose="020B0604020202020204" pitchFamily="34" charset="0"/>
              <a:buChar char="•"/>
            </a:pPr>
            <a:r>
              <a:rPr lang="en-US" sz="2200" b="0" i="0" u="none" strike="noStrike" kern="100" baseline="0" dirty="0">
                <a:latin typeface="+mj-lt"/>
              </a:rPr>
              <a:t>Safety and PK/PD are the primary endpoints. Efficacy is evaluated by changes from baseline in </a:t>
            </a:r>
            <a:r>
              <a:rPr lang="en-US" sz="2200" b="0" i="0" u="none" strike="noStrike" kern="100" baseline="0" dirty="0" err="1">
                <a:latin typeface="+mj-lt"/>
              </a:rPr>
              <a:t>NfL</a:t>
            </a:r>
            <a:r>
              <a:rPr lang="en-US" sz="2200" b="0" i="0" u="none" strike="noStrike" kern="100" baseline="0" dirty="0">
                <a:latin typeface="+mj-lt"/>
              </a:rPr>
              <a:t> (week-16 or any time), ALSFRS-R, SVC, muscle strength, and speech up to week-24. Exploratory measures include morbidity, time to all-cause death, tracheostomy dependence, ALSAQ40, EQ5D5L, CGI, and PGI.</a:t>
            </a:r>
          </a:p>
          <a:p>
            <a:pPr marL="342900" indent="-342900">
              <a:spcBef>
                <a:spcPts val="600"/>
              </a:spcBef>
              <a:spcAft>
                <a:spcPts val="600"/>
              </a:spcAft>
              <a:buFont typeface="Arial" panose="020B0604020202020204" pitchFamily="34" charset="0"/>
              <a:buChar char="•"/>
            </a:pPr>
            <a:r>
              <a:rPr lang="en-US" sz="2200" b="0" i="0" u="none" strike="noStrike" kern="100" baseline="0" dirty="0">
                <a:latin typeface="+mj-lt"/>
              </a:rPr>
              <a:t>Placebo participants will be combined across dose cohorts for analyses. The combined placebo group will be used to compare the dose cohorts</a:t>
            </a:r>
          </a:p>
          <a:p>
            <a:pPr marL="342900" indent="-342900">
              <a:spcBef>
                <a:spcPts val="600"/>
              </a:spcBef>
              <a:spcAft>
                <a:spcPts val="600"/>
              </a:spcAft>
              <a:buFont typeface="Arial" panose="020B0604020202020204" pitchFamily="34" charset="0"/>
              <a:buChar char="•"/>
            </a:pPr>
            <a:r>
              <a:rPr lang="en-US" sz="2200" kern="100" dirty="0">
                <a:latin typeface="+mj-lt"/>
              </a:rPr>
              <a:t>Measurement will be </a:t>
            </a:r>
            <a:r>
              <a:rPr lang="en-US" sz="2200" b="0" i="0" u="none" strike="noStrike" kern="100" baseline="0" dirty="0">
                <a:latin typeface="+mj-lt"/>
              </a:rPr>
              <a:t>summarized using descriptive statistics and figures by dose level.</a:t>
            </a:r>
          </a:p>
          <a:p>
            <a:pPr marL="342900" indent="-342900">
              <a:spcBef>
                <a:spcPts val="600"/>
              </a:spcBef>
              <a:spcAft>
                <a:spcPts val="600"/>
              </a:spcAft>
              <a:buFont typeface="Arial" panose="020B0604020202020204" pitchFamily="34" charset="0"/>
              <a:buChar char="•"/>
            </a:pPr>
            <a:r>
              <a:rPr lang="en-US" sz="2200" b="0" i="0" u="none" strike="noStrike" kern="100" baseline="0" dirty="0">
                <a:latin typeface="+mj-lt"/>
              </a:rPr>
              <a:t>Log-transformed analysis for </a:t>
            </a:r>
            <a:r>
              <a:rPr lang="en-US" sz="2200" b="0" i="0" u="none" strike="noStrike" kern="100" baseline="0" dirty="0" err="1">
                <a:latin typeface="+mj-lt"/>
              </a:rPr>
              <a:t>NfL</a:t>
            </a:r>
            <a:r>
              <a:rPr lang="en-US" sz="2200" b="0" i="0" u="none" strike="noStrike" kern="100" baseline="0" dirty="0">
                <a:latin typeface="+mj-lt"/>
              </a:rPr>
              <a:t>. Report </a:t>
            </a:r>
            <a:r>
              <a:rPr lang="en-US" sz="2200" b="0" i="0" u="none" strike="noStrike" kern="100" baseline="0" dirty="0" err="1">
                <a:latin typeface="+mj-lt"/>
              </a:rPr>
              <a:t>NfL</a:t>
            </a:r>
            <a:r>
              <a:rPr lang="en-US" sz="2200" b="0" i="0" u="none" strike="noStrike" kern="100" baseline="0" dirty="0">
                <a:latin typeface="+mj-lt"/>
              </a:rPr>
              <a:t> as geometric mean ratio to placebo.</a:t>
            </a:r>
          </a:p>
          <a:p>
            <a:pPr marL="342900" indent="-342900">
              <a:spcBef>
                <a:spcPts val="600"/>
              </a:spcBef>
              <a:spcAft>
                <a:spcPts val="600"/>
              </a:spcAft>
              <a:buFont typeface="Arial" panose="020B0604020202020204" pitchFamily="34" charset="0"/>
              <a:buChar char="•"/>
            </a:pPr>
            <a:r>
              <a:rPr lang="en-US" sz="2200" b="0" i="0" u="none" strike="noStrike" kern="100" baseline="0" dirty="0">
                <a:latin typeface="+mj-lt"/>
              </a:rPr>
              <a:t>Point estimates with 95% confidence intervals will be reported.</a:t>
            </a:r>
          </a:p>
          <a:p>
            <a:pPr marL="342900" indent="-342900">
              <a:spcBef>
                <a:spcPts val="600"/>
              </a:spcBef>
              <a:spcAft>
                <a:spcPts val="600"/>
              </a:spcAft>
              <a:buFont typeface="Arial" panose="020B0604020202020204" pitchFamily="34" charset="0"/>
              <a:buChar char="•"/>
            </a:pPr>
            <a:r>
              <a:rPr lang="en-US" sz="2200" b="0" i="0" u="none" strike="noStrike" kern="100" baseline="0" dirty="0">
                <a:latin typeface="+mj-lt"/>
              </a:rPr>
              <a:t>No adjustment for multiplicity; no inferential conclusions.</a:t>
            </a:r>
          </a:p>
          <a:p>
            <a:pPr marL="342900" indent="-342900">
              <a:spcBef>
                <a:spcPts val="600"/>
              </a:spcBef>
              <a:spcAft>
                <a:spcPts val="600"/>
              </a:spcAft>
              <a:buFont typeface="Arial" panose="020B0604020202020204" pitchFamily="34" charset="0"/>
              <a:buChar char="•"/>
            </a:pPr>
            <a:r>
              <a:rPr lang="en-US" sz="2200" b="0" i="0" u="none" strike="noStrike" kern="100" baseline="0" dirty="0">
                <a:latin typeface="+mj-lt"/>
              </a:rPr>
              <a:t>Subgroup Analysis may include Faster progressive subgroup vs. slower for all endpoints. This may include analysis based on UNC13A SNP data. </a:t>
            </a:r>
            <a:endParaRPr lang="en-US" sz="2200" b="0" i="0" u="none" strike="noStrike" kern="100" baseline="0" dirty="0">
              <a:latin typeface="+mj-lt"/>
              <a:ea typeface="Calibri"/>
              <a:cs typeface="Calibri"/>
            </a:endParaRPr>
          </a:p>
        </p:txBody>
      </p:sp>
    </p:spTree>
    <p:extLst>
      <p:ext uri="{BB962C8B-B14F-4D97-AF65-F5344CB8AC3E}">
        <p14:creationId xmlns:p14="http://schemas.microsoft.com/office/powerpoint/2010/main" val="3479156781"/>
      </p:ext>
    </p:extLst>
  </p:cSld>
  <p:clrMapOvr>
    <a:masterClrMapping/>
  </p:clrMapOvr>
  <p:transition spd="slow">
    <p:push dir="u"/>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F281989-5D73-55A6-3380-9934210DCD99}"/>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50A1C04C-C07F-C709-4EBE-DAB5FB2FBB12}"/>
              </a:ext>
            </a:extLst>
          </p:cNvPr>
          <p:cNvSpPr>
            <a:spLocks noGrp="1"/>
          </p:cNvSpPr>
          <p:nvPr>
            <p:ph type="body" sz="quarter" idx="15"/>
          </p:nvPr>
        </p:nvSpPr>
        <p:spPr/>
        <p:txBody>
          <a:bodyPr/>
          <a:lstStyle/>
          <a:p>
            <a:endParaRPr lang="en-US" dirty="0">
              <a:solidFill>
                <a:srgbClr val="000000"/>
              </a:solidFill>
            </a:endParaRPr>
          </a:p>
          <a:p>
            <a:endParaRPr lang="en-US" dirty="0">
              <a:solidFill>
                <a:srgbClr val="000000"/>
              </a:solidFill>
            </a:endParaRPr>
          </a:p>
          <a:p>
            <a:endParaRPr lang="en-US" dirty="0">
              <a:solidFill>
                <a:srgbClr val="000000"/>
              </a:solidFill>
            </a:endParaRPr>
          </a:p>
          <a:p>
            <a:endParaRPr lang="en-US" dirty="0"/>
          </a:p>
        </p:txBody>
      </p:sp>
      <p:sp>
        <p:nvSpPr>
          <p:cNvPr id="3" name="Footer Placeholder 2">
            <a:extLst>
              <a:ext uri="{FF2B5EF4-FFF2-40B4-BE49-F238E27FC236}">
                <a16:creationId xmlns:a16="http://schemas.microsoft.com/office/drawing/2014/main" id="{8B2E7E12-27FE-D04E-044E-07730D33D627}"/>
              </a:ext>
            </a:extLst>
          </p:cNvPr>
          <p:cNvSpPr>
            <a:spLocks noGrp="1"/>
          </p:cNvSpPr>
          <p:nvPr>
            <p:ph type="ftr" sz="quarter" idx="3"/>
          </p:nvPr>
        </p:nvSpPr>
        <p:spPr/>
        <p:txBody>
          <a:bodyPr/>
          <a:lstStyle/>
          <a:p>
            <a:r>
              <a:rPr lang="en-JP"/>
              <a:t> </a:t>
            </a:r>
          </a:p>
        </p:txBody>
      </p:sp>
      <p:sp>
        <p:nvSpPr>
          <p:cNvPr id="4" name="Title 3">
            <a:extLst>
              <a:ext uri="{FF2B5EF4-FFF2-40B4-BE49-F238E27FC236}">
                <a16:creationId xmlns:a16="http://schemas.microsoft.com/office/drawing/2014/main" id="{ECC3E487-837F-BEA9-8C78-67C0E8938022}"/>
              </a:ext>
            </a:extLst>
          </p:cNvPr>
          <p:cNvSpPr>
            <a:spLocks noGrp="1"/>
          </p:cNvSpPr>
          <p:nvPr>
            <p:ph type="title"/>
          </p:nvPr>
        </p:nvSpPr>
        <p:spPr/>
        <p:txBody>
          <a:bodyPr/>
          <a:lstStyle/>
          <a:p>
            <a:r>
              <a:rPr lang="en-US">
                <a:latin typeface="Calibri"/>
                <a:ea typeface="メイリオ"/>
                <a:cs typeface="Calibri"/>
              </a:rPr>
              <a:t>GNG Operating Characteristics</a:t>
            </a:r>
            <a:endParaRPr lang="en-US" dirty="0"/>
          </a:p>
        </p:txBody>
      </p:sp>
      <p:sp>
        <p:nvSpPr>
          <p:cNvPr id="5" name="Slide Number Placeholder 4">
            <a:extLst>
              <a:ext uri="{FF2B5EF4-FFF2-40B4-BE49-F238E27FC236}">
                <a16:creationId xmlns:a16="http://schemas.microsoft.com/office/drawing/2014/main" id="{DDA478C3-4268-CDA0-6992-BE03D42A4CB0}"/>
              </a:ext>
            </a:extLst>
          </p:cNvPr>
          <p:cNvSpPr>
            <a:spLocks noGrp="1"/>
          </p:cNvSpPr>
          <p:nvPr>
            <p:ph type="sldNum" sz="quarter" idx="4"/>
          </p:nvPr>
        </p:nvSpPr>
        <p:spPr/>
        <p:txBody>
          <a:bodyPr/>
          <a:lstStyle/>
          <a:p>
            <a:pPr defTabSz="1218810"/>
            <a:fld id="{E9B57936-92EF-4126-AE48-1D9D36D15E98}" type="slidenum">
              <a:rPr lang="ja-JP" altLang="en-US" smtClean="0"/>
              <a:pPr defTabSz="1218810"/>
              <a:t>11</a:t>
            </a:fld>
            <a:endParaRPr lang="ja-JP" altLang="en-US"/>
          </a:p>
        </p:txBody>
      </p:sp>
      <p:sp>
        <p:nvSpPr>
          <p:cNvPr id="6" name="Text Placeholder 5">
            <a:extLst>
              <a:ext uri="{FF2B5EF4-FFF2-40B4-BE49-F238E27FC236}">
                <a16:creationId xmlns:a16="http://schemas.microsoft.com/office/drawing/2014/main" id="{5F102376-99FD-A813-3924-186835D2AA2E}"/>
              </a:ext>
            </a:extLst>
          </p:cNvPr>
          <p:cNvSpPr>
            <a:spLocks noGrp="1"/>
          </p:cNvSpPr>
          <p:nvPr>
            <p:ph type="body" sz="quarter" idx="16"/>
          </p:nvPr>
        </p:nvSpPr>
        <p:spPr/>
        <p:txBody>
          <a:bodyPr/>
          <a:lstStyle/>
          <a:p>
            <a:endParaRPr lang="en-US"/>
          </a:p>
        </p:txBody>
      </p:sp>
      <p:sp>
        <p:nvSpPr>
          <p:cNvPr id="7" name="TextBox 6">
            <a:extLst>
              <a:ext uri="{FF2B5EF4-FFF2-40B4-BE49-F238E27FC236}">
                <a16:creationId xmlns:a16="http://schemas.microsoft.com/office/drawing/2014/main" id="{8BE29D46-008E-33BF-BBF7-55BD56BA6435}"/>
              </a:ext>
            </a:extLst>
          </p:cNvPr>
          <p:cNvSpPr txBox="1"/>
          <p:nvPr/>
        </p:nvSpPr>
        <p:spPr>
          <a:xfrm>
            <a:off x="601720" y="846921"/>
            <a:ext cx="11125524" cy="1200329"/>
          </a:xfrm>
          <a:prstGeom prst="rect">
            <a:avLst/>
          </a:prstGeom>
          <a:noFill/>
        </p:spPr>
        <p:txBody>
          <a:bodyPr wrap="square" lIns="91440" tIns="45720" rIns="91440" bIns="45720" rtlCol="0" anchor="t">
            <a:spAutoFit/>
          </a:bodyPr>
          <a:lstStyle/>
          <a:p>
            <a:r>
              <a:rPr lang="en-US" b="1" dirty="0"/>
              <a:t>Quantitative Decision Metric Threshold</a:t>
            </a:r>
          </a:p>
          <a:p>
            <a:r>
              <a:rPr lang="en-US" dirty="0">
                <a:solidFill>
                  <a:srgbClr val="242424"/>
                </a:solidFill>
                <a:latin typeface="Segoe UI"/>
                <a:cs typeface="Segoe UI"/>
              </a:rPr>
              <a:t>Operating characteristics of the proposed QDM for two different standard deviation 0.11 and 0.7. The sample size and the other considerations was the same. X axis indicates the difference in change from baseline between treatment and placebo arms in log scale. </a:t>
            </a:r>
            <a:endParaRPr lang="en-US" dirty="0">
              <a:ea typeface="Calibri" panose="020F0502020204030204"/>
              <a:cs typeface="Calibri" panose="020F0502020204030204"/>
            </a:endParaRPr>
          </a:p>
        </p:txBody>
      </p:sp>
      <p:pic>
        <p:nvPicPr>
          <p:cNvPr id="12" name="Picture 11" descr="A graph of a function&#10;&#10;AI-generated content may be incorrect.">
            <a:extLst>
              <a:ext uri="{FF2B5EF4-FFF2-40B4-BE49-F238E27FC236}">
                <a16:creationId xmlns:a16="http://schemas.microsoft.com/office/drawing/2014/main" id="{78311469-9E38-9C6B-2F0F-FB3F8B13EB8D}"/>
              </a:ext>
            </a:extLst>
          </p:cNvPr>
          <p:cNvPicPr>
            <a:picLocks noChangeAspect="1"/>
          </p:cNvPicPr>
          <p:nvPr/>
        </p:nvPicPr>
        <p:blipFill>
          <a:blip r:embed="rId2"/>
          <a:stretch>
            <a:fillRect/>
          </a:stretch>
        </p:blipFill>
        <p:spPr>
          <a:xfrm>
            <a:off x="610796" y="2061353"/>
            <a:ext cx="4168486" cy="3871439"/>
          </a:xfrm>
          <a:prstGeom prst="rect">
            <a:avLst/>
          </a:prstGeom>
        </p:spPr>
      </p:pic>
      <p:pic>
        <p:nvPicPr>
          <p:cNvPr id="13" name="Picture 12" descr="A graph of a red green and blue line&#10;&#10;AI-generated content may be incorrect.">
            <a:extLst>
              <a:ext uri="{FF2B5EF4-FFF2-40B4-BE49-F238E27FC236}">
                <a16:creationId xmlns:a16="http://schemas.microsoft.com/office/drawing/2014/main" id="{5FCD2D99-5A07-D6A0-1A22-B7F939797752}"/>
              </a:ext>
            </a:extLst>
          </p:cNvPr>
          <p:cNvPicPr>
            <a:picLocks noChangeAspect="1"/>
          </p:cNvPicPr>
          <p:nvPr/>
        </p:nvPicPr>
        <p:blipFill>
          <a:blip r:embed="rId3"/>
          <a:stretch>
            <a:fillRect/>
          </a:stretch>
        </p:blipFill>
        <p:spPr>
          <a:xfrm>
            <a:off x="4859793" y="2053924"/>
            <a:ext cx="3892170" cy="3882151"/>
          </a:xfrm>
          <a:prstGeom prst="rect">
            <a:avLst/>
          </a:prstGeom>
        </p:spPr>
      </p:pic>
      <p:sp>
        <p:nvSpPr>
          <p:cNvPr id="14" name="TextBox 13">
            <a:extLst>
              <a:ext uri="{FF2B5EF4-FFF2-40B4-BE49-F238E27FC236}">
                <a16:creationId xmlns:a16="http://schemas.microsoft.com/office/drawing/2014/main" id="{898DD293-346A-D031-7549-2D2DFADC9402}"/>
              </a:ext>
            </a:extLst>
          </p:cNvPr>
          <p:cNvSpPr txBox="1"/>
          <p:nvPr/>
        </p:nvSpPr>
        <p:spPr>
          <a:xfrm>
            <a:off x="1341199" y="5932826"/>
            <a:ext cx="2462405"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dirty="0">
                <a:ea typeface="Calibri"/>
                <a:cs typeface="Calibri"/>
              </a:rPr>
              <a:t>SD = 0.11</a:t>
            </a:r>
            <a:endParaRPr lang="en-US" dirty="0"/>
          </a:p>
        </p:txBody>
      </p:sp>
      <p:sp>
        <p:nvSpPr>
          <p:cNvPr id="15" name="TextBox 14">
            <a:extLst>
              <a:ext uri="{FF2B5EF4-FFF2-40B4-BE49-F238E27FC236}">
                <a16:creationId xmlns:a16="http://schemas.microsoft.com/office/drawing/2014/main" id="{55011E09-77E5-B626-52FD-DF7C96C8A3ED}"/>
              </a:ext>
            </a:extLst>
          </p:cNvPr>
          <p:cNvSpPr txBox="1"/>
          <p:nvPr/>
        </p:nvSpPr>
        <p:spPr>
          <a:xfrm>
            <a:off x="5568732" y="5932825"/>
            <a:ext cx="2462405"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a:ea typeface="Calibri"/>
                <a:cs typeface="Calibri"/>
              </a:rPr>
              <a:t>SD = 0.7</a:t>
            </a:r>
            <a:endParaRPr lang="en-US"/>
          </a:p>
        </p:txBody>
      </p:sp>
      <p:sp>
        <p:nvSpPr>
          <p:cNvPr id="16" name="TextBox 15">
            <a:extLst>
              <a:ext uri="{FF2B5EF4-FFF2-40B4-BE49-F238E27FC236}">
                <a16:creationId xmlns:a16="http://schemas.microsoft.com/office/drawing/2014/main" id="{DCDA66FF-9A6F-74B1-C3BF-E977DE803C16}"/>
              </a:ext>
            </a:extLst>
          </p:cNvPr>
          <p:cNvSpPr txBox="1"/>
          <p:nvPr/>
        </p:nvSpPr>
        <p:spPr>
          <a:xfrm>
            <a:off x="9087773" y="2291533"/>
            <a:ext cx="2190414" cy="1754326"/>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dirty="0">
                <a:ea typeface="Calibri"/>
                <a:cs typeface="Calibri"/>
              </a:rPr>
              <a:t>Higher SD would lead to a wider gray zone and require higher difference to observe to have go decision with the QDM</a:t>
            </a:r>
            <a:endParaRPr lang="en-US" dirty="0"/>
          </a:p>
        </p:txBody>
      </p:sp>
    </p:spTree>
    <p:extLst>
      <p:ext uri="{BB962C8B-B14F-4D97-AF65-F5344CB8AC3E}">
        <p14:creationId xmlns:p14="http://schemas.microsoft.com/office/powerpoint/2010/main" val="450724503"/>
      </p:ext>
    </p:extLst>
  </p:cSld>
  <p:clrMapOvr>
    <a:masterClrMapping/>
  </p:clrMapOvr>
  <p:transition spd="slow">
    <p:push dir="u"/>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7B3AC92-D5FD-A0FD-2DE3-276097FFD229}"/>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3CFEF0EB-CD97-696D-76C8-2C0E78DE75CB}"/>
              </a:ext>
            </a:extLst>
          </p:cNvPr>
          <p:cNvSpPr>
            <a:spLocks noGrp="1"/>
          </p:cNvSpPr>
          <p:nvPr>
            <p:ph type="body" sz="quarter" idx="15"/>
          </p:nvPr>
        </p:nvSpPr>
        <p:spPr>
          <a:xfrm>
            <a:off x="311150" y="1102385"/>
            <a:ext cx="8257815" cy="5328857"/>
          </a:xfrm>
        </p:spPr>
        <p:txBody>
          <a:bodyPr>
            <a:normAutofit/>
          </a:bodyPr>
          <a:lstStyle/>
          <a:p>
            <a:pPr marL="285750" indent="-285750">
              <a:buFont typeface="Arial" panose="020B0604020202020204" pitchFamily="34" charset="0"/>
              <a:buChar char="•"/>
            </a:pPr>
            <a:r>
              <a:rPr lang="en-US">
                <a:solidFill>
                  <a:srgbClr val="000000"/>
                </a:solidFill>
                <a:latin typeface="Segoe UI" panose="020B0502040204020203" pitchFamily="34" charset="0"/>
              </a:rPr>
              <a:t>Overall, ALSFRS-R points change from the baseline level was meaningful on day 57 and onward  </a:t>
            </a:r>
          </a:p>
          <a:p>
            <a:pPr marL="742818" lvl="1" indent="-285750">
              <a:buFont typeface="Arial" panose="020B0604020202020204" pitchFamily="34" charset="0"/>
              <a:buChar char="•"/>
            </a:pPr>
            <a:r>
              <a:rPr lang="en-US">
                <a:solidFill>
                  <a:srgbClr val="000000"/>
                </a:solidFill>
                <a:latin typeface="Segoe UI" panose="020B0502040204020203" pitchFamily="34" charset="0"/>
              </a:rPr>
              <a:t>D57 = −4.50 (−7.21 to −1.78)</a:t>
            </a:r>
          </a:p>
          <a:p>
            <a:pPr marL="742818" lvl="1" indent="-285750">
              <a:buFont typeface="Arial" panose="020B0604020202020204" pitchFamily="34" charset="0"/>
              <a:buChar char="•"/>
            </a:pPr>
            <a:r>
              <a:rPr lang="en-US">
                <a:solidFill>
                  <a:srgbClr val="000000"/>
                </a:solidFill>
                <a:latin typeface="Segoe UI" panose="020B0502040204020203" pitchFamily="34" charset="0"/>
              </a:rPr>
              <a:t>D85 = −5.63 (−8.90 to −2.36)</a:t>
            </a:r>
          </a:p>
          <a:p>
            <a:pPr marL="285750" indent="-285750">
              <a:buFont typeface="Arial" panose="020B0604020202020204" pitchFamily="34" charset="0"/>
              <a:buChar char="•"/>
            </a:pPr>
            <a:r>
              <a:rPr lang="en-US">
                <a:solidFill>
                  <a:srgbClr val="000000"/>
                </a:solidFill>
                <a:latin typeface="Segoe UI" panose="020B0502040204020203" pitchFamily="34" charset="0"/>
              </a:rPr>
              <a:t>Reduction was faster in the faster progressive group. The slower progressive group change was less detectable withing the timeframe of day 85</a:t>
            </a:r>
          </a:p>
          <a:p>
            <a:endParaRPr lang="en-US"/>
          </a:p>
        </p:txBody>
      </p:sp>
      <p:sp>
        <p:nvSpPr>
          <p:cNvPr id="3" name="Footer Placeholder 2">
            <a:extLst>
              <a:ext uri="{FF2B5EF4-FFF2-40B4-BE49-F238E27FC236}">
                <a16:creationId xmlns:a16="http://schemas.microsoft.com/office/drawing/2014/main" id="{34484FF2-B235-7569-98CD-4B123CEB8AC8}"/>
              </a:ext>
            </a:extLst>
          </p:cNvPr>
          <p:cNvSpPr>
            <a:spLocks noGrp="1"/>
          </p:cNvSpPr>
          <p:nvPr>
            <p:ph type="ftr" sz="quarter" idx="3"/>
          </p:nvPr>
        </p:nvSpPr>
        <p:spPr/>
        <p:txBody>
          <a:bodyPr/>
          <a:lstStyle/>
          <a:p>
            <a:r>
              <a:rPr lang="en-JP"/>
              <a:t> </a:t>
            </a:r>
          </a:p>
        </p:txBody>
      </p:sp>
      <p:sp>
        <p:nvSpPr>
          <p:cNvPr id="4" name="Title 3">
            <a:extLst>
              <a:ext uri="{FF2B5EF4-FFF2-40B4-BE49-F238E27FC236}">
                <a16:creationId xmlns:a16="http://schemas.microsoft.com/office/drawing/2014/main" id="{87A2484E-C163-4AE7-2483-2EAA4E8925E9}"/>
              </a:ext>
            </a:extLst>
          </p:cNvPr>
          <p:cNvSpPr>
            <a:spLocks noGrp="1"/>
          </p:cNvSpPr>
          <p:nvPr>
            <p:ph type="title"/>
          </p:nvPr>
        </p:nvSpPr>
        <p:spPr/>
        <p:txBody>
          <a:bodyPr/>
          <a:lstStyle/>
          <a:p>
            <a:r>
              <a:rPr lang="en-US" err="1"/>
              <a:t>Tofersen</a:t>
            </a:r>
            <a:r>
              <a:rPr lang="en-US"/>
              <a:t> ALSFRS-R score in Phase 1/2</a:t>
            </a:r>
          </a:p>
        </p:txBody>
      </p:sp>
      <p:sp>
        <p:nvSpPr>
          <p:cNvPr id="5" name="Slide Number Placeholder 4">
            <a:extLst>
              <a:ext uri="{FF2B5EF4-FFF2-40B4-BE49-F238E27FC236}">
                <a16:creationId xmlns:a16="http://schemas.microsoft.com/office/drawing/2014/main" id="{5F2588F9-2B03-919F-2583-3908A7B2BE55}"/>
              </a:ext>
            </a:extLst>
          </p:cNvPr>
          <p:cNvSpPr>
            <a:spLocks noGrp="1"/>
          </p:cNvSpPr>
          <p:nvPr>
            <p:ph type="sldNum" sz="quarter" idx="4"/>
          </p:nvPr>
        </p:nvSpPr>
        <p:spPr/>
        <p:txBody>
          <a:bodyPr/>
          <a:lstStyle/>
          <a:p>
            <a:pPr defTabSz="1218810"/>
            <a:fld id="{E9B57936-92EF-4126-AE48-1D9D36D15E98}" type="slidenum">
              <a:rPr lang="ja-JP" altLang="en-US" smtClean="0"/>
              <a:pPr defTabSz="1218810"/>
              <a:t>12</a:t>
            </a:fld>
            <a:endParaRPr lang="ja-JP" altLang="en-US"/>
          </a:p>
        </p:txBody>
      </p:sp>
      <p:sp>
        <p:nvSpPr>
          <p:cNvPr id="6" name="Text Placeholder 5">
            <a:extLst>
              <a:ext uri="{FF2B5EF4-FFF2-40B4-BE49-F238E27FC236}">
                <a16:creationId xmlns:a16="http://schemas.microsoft.com/office/drawing/2014/main" id="{0F882661-DB1F-06B2-3712-924ACEBCD61D}"/>
              </a:ext>
            </a:extLst>
          </p:cNvPr>
          <p:cNvSpPr>
            <a:spLocks noGrp="1"/>
          </p:cNvSpPr>
          <p:nvPr>
            <p:ph type="body" sz="quarter" idx="16"/>
          </p:nvPr>
        </p:nvSpPr>
        <p:spPr/>
        <p:txBody>
          <a:bodyPr/>
          <a:lstStyle/>
          <a:p>
            <a:endParaRPr lang="en-US"/>
          </a:p>
        </p:txBody>
      </p:sp>
      <p:pic>
        <p:nvPicPr>
          <p:cNvPr id="9" name="Picture 8">
            <a:extLst>
              <a:ext uri="{FF2B5EF4-FFF2-40B4-BE49-F238E27FC236}">
                <a16:creationId xmlns:a16="http://schemas.microsoft.com/office/drawing/2014/main" id="{88924CBB-8F95-CC3B-13DB-FCE72E455431}"/>
              </a:ext>
            </a:extLst>
          </p:cNvPr>
          <p:cNvPicPr>
            <a:picLocks noChangeAspect="1"/>
          </p:cNvPicPr>
          <p:nvPr/>
        </p:nvPicPr>
        <p:blipFill>
          <a:blip r:embed="rId2"/>
          <a:stretch>
            <a:fillRect/>
          </a:stretch>
        </p:blipFill>
        <p:spPr>
          <a:xfrm>
            <a:off x="8639305" y="776288"/>
            <a:ext cx="3018372" cy="5624512"/>
          </a:xfrm>
          <a:prstGeom prst="rect">
            <a:avLst/>
          </a:prstGeom>
        </p:spPr>
      </p:pic>
    </p:spTree>
    <p:extLst>
      <p:ext uri="{BB962C8B-B14F-4D97-AF65-F5344CB8AC3E}">
        <p14:creationId xmlns:p14="http://schemas.microsoft.com/office/powerpoint/2010/main" val="2291362861"/>
      </p:ext>
    </p:extLst>
  </p:cSld>
  <p:clrMapOvr>
    <a:masterClrMapping/>
  </p:clrMapOvr>
  <p:transition spd="slow">
    <p:push dir="u"/>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A2E80044-382A-725C-EE62-13492D3E7AE9}"/>
              </a:ext>
            </a:extLst>
          </p:cNvPr>
          <p:cNvSpPr>
            <a:spLocks noGrp="1"/>
          </p:cNvSpPr>
          <p:nvPr>
            <p:ph type="body" sz="quarter" idx="15"/>
          </p:nvPr>
        </p:nvSpPr>
        <p:spPr/>
        <p:txBody>
          <a:bodyPr>
            <a:normAutofit fontScale="92500" lnSpcReduction="10000"/>
          </a:bodyPr>
          <a:lstStyle/>
          <a:p>
            <a:r>
              <a:rPr lang="en-US" b="1" dirty="0"/>
              <a:t>Hypothesis </a:t>
            </a:r>
          </a:p>
          <a:p>
            <a:r>
              <a:rPr lang="en-US" b="0" i="0" dirty="0">
                <a:solidFill>
                  <a:srgbClr val="000000"/>
                </a:solidFill>
                <a:effectLst/>
                <a:latin typeface="Calibri" panose="020F0502020204030204" pitchFamily="34" charset="0"/>
              </a:rPr>
              <a:t>UNC13A splicing correction will restore UNC13A protein levels, restore neuronal </a:t>
            </a:r>
            <a:r>
              <a:rPr lang="en-US" dirty="0">
                <a:solidFill>
                  <a:srgbClr val="000000"/>
                </a:solidFill>
              </a:rPr>
              <a:t>function and slow/halt motor neuron degeneration in ALS </a:t>
            </a:r>
          </a:p>
          <a:p>
            <a:endParaRPr lang="en-US" dirty="0">
              <a:solidFill>
                <a:srgbClr val="000000"/>
              </a:solidFill>
            </a:endParaRPr>
          </a:p>
          <a:p>
            <a:r>
              <a:rPr lang="en-US" b="1" dirty="0">
                <a:solidFill>
                  <a:srgbClr val="000000"/>
                </a:solidFill>
              </a:rPr>
              <a:t>Surrogate biomarker</a:t>
            </a:r>
          </a:p>
          <a:p>
            <a:pPr marL="285750" indent="-285750">
              <a:buFont typeface="Arial" panose="020B0604020202020204" pitchFamily="34" charset="0"/>
              <a:buChar char="•"/>
            </a:pPr>
            <a:r>
              <a:rPr lang="en-US" dirty="0" err="1">
                <a:solidFill>
                  <a:srgbClr val="000000"/>
                </a:solidFill>
              </a:rPr>
              <a:t>NfL</a:t>
            </a:r>
            <a:r>
              <a:rPr lang="en-US" dirty="0">
                <a:solidFill>
                  <a:srgbClr val="000000"/>
                </a:solidFill>
              </a:rPr>
              <a:t> (Accelerated approval of </a:t>
            </a:r>
            <a:r>
              <a:rPr lang="en-US" dirty="0" err="1">
                <a:solidFill>
                  <a:srgbClr val="000000"/>
                </a:solidFill>
              </a:rPr>
              <a:t>Tofersen</a:t>
            </a:r>
            <a:r>
              <a:rPr lang="en-US" dirty="0">
                <a:solidFill>
                  <a:srgbClr val="000000"/>
                </a:solidFill>
              </a:rPr>
              <a:t> used the biomarker for approval))</a:t>
            </a:r>
          </a:p>
          <a:p>
            <a:pPr marL="285750" indent="-285750">
              <a:buFont typeface="Arial" panose="020B0604020202020204" pitchFamily="34" charset="0"/>
              <a:buChar char="•"/>
            </a:pPr>
            <a:r>
              <a:rPr lang="en-US">
                <a:solidFill>
                  <a:srgbClr val="000000"/>
                </a:solidFill>
              </a:rPr>
              <a:t>30% </a:t>
            </a:r>
            <a:r>
              <a:rPr lang="en-US" dirty="0">
                <a:solidFill>
                  <a:srgbClr val="000000"/>
                </a:solidFill>
              </a:rPr>
              <a:t>lowering the </a:t>
            </a:r>
            <a:r>
              <a:rPr lang="en-US" dirty="0" err="1">
                <a:solidFill>
                  <a:srgbClr val="000000"/>
                </a:solidFill>
              </a:rPr>
              <a:t>NfL</a:t>
            </a:r>
            <a:r>
              <a:rPr lang="en-US" dirty="0">
                <a:solidFill>
                  <a:srgbClr val="000000"/>
                </a:solidFill>
              </a:rPr>
              <a:t> level is clinically meaningful (Ref </a:t>
            </a:r>
            <a:r>
              <a:rPr lang="en-US" dirty="0" err="1">
                <a:solidFill>
                  <a:srgbClr val="000000"/>
                </a:solidFill>
              </a:rPr>
              <a:t>Tofersen</a:t>
            </a:r>
            <a:r>
              <a:rPr lang="en-US" dirty="0">
                <a:solidFill>
                  <a:srgbClr val="000000"/>
                </a:solidFill>
              </a:rPr>
              <a:t>). </a:t>
            </a:r>
            <a:r>
              <a:rPr lang="en-US" b="0" i="0" dirty="0">
                <a:solidFill>
                  <a:srgbClr val="000000"/>
                </a:solidFill>
                <a:effectLst/>
                <a:latin typeface="Calibri" panose="020F0502020204030204" pitchFamily="34" charset="0"/>
              </a:rPr>
              <a:t>Thus, current target levels of </a:t>
            </a:r>
            <a:r>
              <a:rPr lang="en-US" b="0" i="0" dirty="0" err="1">
                <a:solidFill>
                  <a:srgbClr val="000000"/>
                </a:solidFill>
                <a:effectLst/>
                <a:latin typeface="Calibri" panose="020F0502020204030204" pitchFamily="34" charset="0"/>
              </a:rPr>
              <a:t>NfL</a:t>
            </a:r>
            <a:r>
              <a:rPr lang="en-US" b="0" i="0" dirty="0">
                <a:solidFill>
                  <a:srgbClr val="000000"/>
                </a:solidFill>
                <a:effectLst/>
                <a:latin typeface="Calibri" panose="020F0502020204030204" pitchFamily="34" charset="0"/>
              </a:rPr>
              <a:t> reduction desired in our Ph1/2 study are </a:t>
            </a:r>
            <a:r>
              <a:rPr lang="en-US" b="0" i="0">
                <a:solidFill>
                  <a:srgbClr val="000000"/>
                </a:solidFill>
                <a:effectLst/>
                <a:latin typeface="Calibri" panose="020F0502020204030204" pitchFamily="34" charset="0"/>
              </a:rPr>
              <a:t>a 30% </a:t>
            </a:r>
            <a:r>
              <a:rPr lang="en-US" b="0" i="0" dirty="0">
                <a:solidFill>
                  <a:srgbClr val="000000"/>
                </a:solidFill>
                <a:effectLst/>
                <a:latin typeface="Calibri" panose="020F0502020204030204" pitchFamily="34" charset="0"/>
              </a:rPr>
              <a:t>reduction and </a:t>
            </a:r>
            <a:r>
              <a:rPr lang="en-US" b="0" i="0">
                <a:solidFill>
                  <a:srgbClr val="000000"/>
                </a:solidFill>
                <a:effectLst/>
                <a:latin typeface="Calibri" panose="020F0502020204030204" pitchFamily="34" charset="0"/>
              </a:rPr>
              <a:t>a 30% </a:t>
            </a:r>
            <a:r>
              <a:rPr lang="en-US" b="0" i="0" dirty="0">
                <a:solidFill>
                  <a:srgbClr val="000000"/>
                </a:solidFill>
                <a:effectLst/>
                <a:latin typeface="Calibri" panose="020F0502020204030204" pitchFamily="34" charset="0"/>
              </a:rPr>
              <a:t>increase would represent an undesirable outcome</a:t>
            </a:r>
          </a:p>
          <a:p>
            <a:endParaRPr lang="en-US" dirty="0">
              <a:solidFill>
                <a:srgbClr val="000000"/>
              </a:solidFill>
            </a:endParaRPr>
          </a:p>
          <a:p>
            <a:r>
              <a:rPr lang="en-US" dirty="0">
                <a:solidFill>
                  <a:srgbClr val="000000"/>
                </a:solidFill>
              </a:rPr>
              <a:t>“Conversely, a recent Ph1/2 study of another IT ASO directly against the C9orf72 RNA in ALS patients with C9orf72 mutations demonstrated target engagement but at the highest dose tested trended towards worsening of clinical outcome measures and an </a:t>
            </a:r>
            <a:r>
              <a:rPr lang="en-US" dirty="0" err="1">
                <a:solidFill>
                  <a:srgbClr val="000000"/>
                </a:solidFill>
              </a:rPr>
              <a:t>NfL</a:t>
            </a:r>
            <a:r>
              <a:rPr lang="en-US" dirty="0">
                <a:solidFill>
                  <a:srgbClr val="000000"/>
                </a:solidFill>
              </a:rPr>
              <a:t> increase of </a:t>
            </a:r>
            <a:r>
              <a:rPr lang="en-US">
                <a:solidFill>
                  <a:srgbClr val="000000"/>
                </a:solidFill>
              </a:rPr>
              <a:t>over 30%.  </a:t>
            </a:r>
            <a:r>
              <a:rPr lang="en-US" dirty="0">
                <a:solidFill>
                  <a:srgbClr val="000000"/>
                </a:solidFill>
              </a:rPr>
              <a:t>Thus, current target levels of </a:t>
            </a:r>
            <a:r>
              <a:rPr lang="en-US" dirty="0" err="1">
                <a:solidFill>
                  <a:srgbClr val="000000"/>
                </a:solidFill>
              </a:rPr>
              <a:t>NfL</a:t>
            </a:r>
            <a:r>
              <a:rPr lang="en-US" dirty="0">
                <a:solidFill>
                  <a:srgbClr val="000000"/>
                </a:solidFill>
              </a:rPr>
              <a:t> reduction desired in our Ph1/2 study are </a:t>
            </a:r>
            <a:r>
              <a:rPr lang="en-US">
                <a:solidFill>
                  <a:srgbClr val="000000"/>
                </a:solidFill>
              </a:rPr>
              <a:t>a 30% </a:t>
            </a:r>
            <a:r>
              <a:rPr lang="en-US" dirty="0">
                <a:solidFill>
                  <a:srgbClr val="000000"/>
                </a:solidFill>
              </a:rPr>
              <a:t>reduction and </a:t>
            </a:r>
            <a:r>
              <a:rPr lang="en-US">
                <a:solidFill>
                  <a:srgbClr val="000000"/>
                </a:solidFill>
              </a:rPr>
              <a:t>a 30% </a:t>
            </a:r>
            <a:r>
              <a:rPr lang="en-US" dirty="0">
                <a:solidFill>
                  <a:srgbClr val="000000"/>
                </a:solidFill>
              </a:rPr>
              <a:t>increase would represent an undesirable outcome.”</a:t>
            </a:r>
          </a:p>
          <a:p>
            <a:r>
              <a:rPr lang="en-US" dirty="0">
                <a:solidFill>
                  <a:srgbClr val="000000"/>
                </a:solidFill>
              </a:rPr>
              <a:t>Justification: Prior market research indicated that achieving an improvement of </a:t>
            </a:r>
            <a:r>
              <a:rPr lang="en-US">
                <a:solidFill>
                  <a:srgbClr val="000000"/>
                </a:solidFill>
              </a:rPr>
              <a:t>&gt;40% </a:t>
            </a:r>
            <a:r>
              <a:rPr lang="en-US" dirty="0">
                <a:solidFill>
                  <a:srgbClr val="000000"/>
                </a:solidFill>
              </a:rPr>
              <a:t>in the ALSFRS-R (minimal acceptable level) would be differentiating and that an improvement of </a:t>
            </a:r>
            <a:r>
              <a:rPr lang="en-US">
                <a:solidFill>
                  <a:srgbClr val="000000"/>
                </a:solidFill>
              </a:rPr>
              <a:t>&gt;50% </a:t>
            </a:r>
            <a:r>
              <a:rPr lang="en-US" dirty="0">
                <a:solidFill>
                  <a:srgbClr val="000000"/>
                </a:solidFill>
              </a:rPr>
              <a:t>in the ALSFRS-R (target preferred level) would be considered transformative as this would translate to considerable preservation of independent function. </a:t>
            </a:r>
          </a:p>
          <a:p>
            <a:endParaRPr lang="en-US" dirty="0">
              <a:solidFill>
                <a:srgbClr val="000000"/>
              </a:solidFill>
            </a:endParaRPr>
          </a:p>
          <a:p>
            <a:r>
              <a:rPr lang="en-US" b="1" dirty="0">
                <a:solidFill>
                  <a:srgbClr val="000000"/>
                </a:solidFill>
              </a:rPr>
              <a:t>Evaluation time</a:t>
            </a:r>
          </a:p>
          <a:p>
            <a:pPr marL="285750" indent="-285750">
              <a:buFont typeface="Arial" panose="020B0604020202020204" pitchFamily="34" charset="0"/>
              <a:buChar char="•"/>
            </a:pPr>
            <a:r>
              <a:rPr lang="en-US" dirty="0">
                <a:solidFill>
                  <a:srgbClr val="000000"/>
                </a:solidFill>
              </a:rPr>
              <a:t>The evaluation time point is </a:t>
            </a:r>
            <a:r>
              <a:rPr lang="en-US" b="0" i="0" dirty="0">
                <a:solidFill>
                  <a:srgbClr val="000000"/>
                </a:solidFill>
                <a:effectLst/>
                <a:latin typeface="Calibri" panose="020F0502020204030204" pitchFamily="34" charset="0"/>
              </a:rPr>
              <a:t>4-12 weeks following the last dose to the baseline</a:t>
            </a:r>
          </a:p>
          <a:p>
            <a:pPr marL="285750" indent="-285750">
              <a:buFont typeface="Arial" panose="020B0604020202020204" pitchFamily="34" charset="0"/>
              <a:buChar char="•"/>
            </a:pPr>
            <a:r>
              <a:rPr lang="en-US" dirty="0">
                <a:solidFill>
                  <a:srgbClr val="000000"/>
                </a:solidFill>
              </a:rPr>
              <a:t>The doses level would the highest safe dose</a:t>
            </a:r>
          </a:p>
          <a:p>
            <a:pPr marL="285750" indent="-285750">
              <a:buFont typeface="Arial" panose="020B0604020202020204" pitchFamily="34" charset="0"/>
              <a:buChar char="•"/>
            </a:pPr>
            <a:r>
              <a:rPr lang="en-US" b="0" i="0" dirty="0">
                <a:solidFill>
                  <a:srgbClr val="000000"/>
                </a:solidFill>
                <a:effectLst/>
                <a:latin typeface="Calibri" panose="020F0502020204030204" pitchFamily="34" charset="0"/>
              </a:rPr>
              <a:t>The median ratio of </a:t>
            </a:r>
            <a:r>
              <a:rPr lang="en-US" b="0" i="0" dirty="0" err="1">
                <a:solidFill>
                  <a:srgbClr val="000000"/>
                </a:solidFill>
                <a:effectLst/>
                <a:latin typeface="Calibri" panose="020F0502020204030204" pitchFamily="34" charset="0"/>
              </a:rPr>
              <a:t>Nfl</a:t>
            </a:r>
            <a:r>
              <a:rPr lang="en-US" b="0" i="0" dirty="0">
                <a:solidFill>
                  <a:srgbClr val="000000"/>
                </a:solidFill>
                <a:effectLst/>
                <a:latin typeface="Calibri" panose="020F0502020204030204" pitchFamily="34" charset="0"/>
              </a:rPr>
              <a:t> level at the follow-up to the baseline for the treatment arm will be compared to that of pooled placebo subjects across the cohorts</a:t>
            </a:r>
            <a:endParaRPr lang="en-US" dirty="0">
              <a:solidFill>
                <a:srgbClr val="000000"/>
              </a:solidFill>
            </a:endParaRPr>
          </a:p>
          <a:p>
            <a:endParaRPr lang="en-US" dirty="0">
              <a:solidFill>
                <a:srgbClr val="000000"/>
              </a:solidFill>
            </a:endParaRPr>
          </a:p>
          <a:p>
            <a:endParaRPr lang="en-US" dirty="0"/>
          </a:p>
        </p:txBody>
      </p:sp>
      <p:sp>
        <p:nvSpPr>
          <p:cNvPr id="3" name="Footer Placeholder 2">
            <a:extLst>
              <a:ext uri="{FF2B5EF4-FFF2-40B4-BE49-F238E27FC236}">
                <a16:creationId xmlns:a16="http://schemas.microsoft.com/office/drawing/2014/main" id="{20D65572-FBC3-F939-962D-CAD045156438}"/>
              </a:ext>
            </a:extLst>
          </p:cNvPr>
          <p:cNvSpPr>
            <a:spLocks noGrp="1"/>
          </p:cNvSpPr>
          <p:nvPr>
            <p:ph type="ftr" sz="quarter" idx="3"/>
          </p:nvPr>
        </p:nvSpPr>
        <p:spPr/>
        <p:txBody>
          <a:bodyPr/>
          <a:lstStyle/>
          <a:p>
            <a:r>
              <a:rPr lang="en-JP"/>
              <a:t> </a:t>
            </a:r>
          </a:p>
        </p:txBody>
      </p:sp>
      <p:sp>
        <p:nvSpPr>
          <p:cNvPr id="4" name="Title 3">
            <a:extLst>
              <a:ext uri="{FF2B5EF4-FFF2-40B4-BE49-F238E27FC236}">
                <a16:creationId xmlns:a16="http://schemas.microsoft.com/office/drawing/2014/main" id="{8ABCB24D-1E05-11F2-CDB7-7C593A8EE168}"/>
              </a:ext>
            </a:extLst>
          </p:cNvPr>
          <p:cNvSpPr>
            <a:spLocks noGrp="1"/>
          </p:cNvSpPr>
          <p:nvPr>
            <p:ph type="title"/>
          </p:nvPr>
        </p:nvSpPr>
        <p:spPr/>
        <p:txBody>
          <a:bodyPr/>
          <a:lstStyle/>
          <a:p>
            <a:r>
              <a:rPr lang="en-US"/>
              <a:t>Go/No-Go Quantitative decision criteria</a:t>
            </a:r>
          </a:p>
        </p:txBody>
      </p:sp>
      <p:sp>
        <p:nvSpPr>
          <p:cNvPr id="5" name="Slide Number Placeholder 4">
            <a:extLst>
              <a:ext uri="{FF2B5EF4-FFF2-40B4-BE49-F238E27FC236}">
                <a16:creationId xmlns:a16="http://schemas.microsoft.com/office/drawing/2014/main" id="{7C1C7FEB-A208-56D8-D45E-1B4DDE46F6C1}"/>
              </a:ext>
            </a:extLst>
          </p:cNvPr>
          <p:cNvSpPr>
            <a:spLocks noGrp="1"/>
          </p:cNvSpPr>
          <p:nvPr>
            <p:ph type="sldNum" sz="quarter" idx="4"/>
          </p:nvPr>
        </p:nvSpPr>
        <p:spPr/>
        <p:txBody>
          <a:bodyPr/>
          <a:lstStyle/>
          <a:p>
            <a:pPr defTabSz="1218810"/>
            <a:fld id="{E9B57936-92EF-4126-AE48-1D9D36D15E98}" type="slidenum">
              <a:rPr lang="ja-JP" altLang="en-US" smtClean="0"/>
              <a:pPr defTabSz="1218810"/>
              <a:t>13</a:t>
            </a:fld>
            <a:endParaRPr lang="ja-JP" altLang="en-US"/>
          </a:p>
        </p:txBody>
      </p:sp>
      <p:sp>
        <p:nvSpPr>
          <p:cNvPr id="6" name="Text Placeholder 5">
            <a:extLst>
              <a:ext uri="{FF2B5EF4-FFF2-40B4-BE49-F238E27FC236}">
                <a16:creationId xmlns:a16="http://schemas.microsoft.com/office/drawing/2014/main" id="{458F25EA-B4F6-0BCB-4727-106884DF688F}"/>
              </a:ext>
            </a:extLst>
          </p:cNvPr>
          <p:cNvSpPr>
            <a:spLocks noGrp="1"/>
          </p:cNvSpPr>
          <p:nvPr>
            <p:ph type="body" sz="quarter" idx="16"/>
          </p:nvPr>
        </p:nvSpPr>
        <p:spPr/>
        <p:txBody>
          <a:bodyPr/>
          <a:lstStyle/>
          <a:p>
            <a:endParaRPr lang="en-US"/>
          </a:p>
        </p:txBody>
      </p:sp>
    </p:spTree>
    <p:extLst>
      <p:ext uri="{BB962C8B-B14F-4D97-AF65-F5344CB8AC3E}">
        <p14:creationId xmlns:p14="http://schemas.microsoft.com/office/powerpoint/2010/main" val="1339083723"/>
      </p:ext>
    </p:extLst>
  </p:cSld>
  <p:clrMapOvr>
    <a:masterClrMapping/>
  </p:clrMapOvr>
  <p:transition spd="slow">
    <p:push dir="u"/>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99E2C01-BBB4-C802-F088-3640329E4164}"/>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FD31B2DE-C94D-9644-4011-C6A17B9848C2}"/>
              </a:ext>
            </a:extLst>
          </p:cNvPr>
          <p:cNvSpPr>
            <a:spLocks noGrp="1"/>
          </p:cNvSpPr>
          <p:nvPr>
            <p:ph type="body" sz="quarter" idx="15"/>
          </p:nvPr>
        </p:nvSpPr>
        <p:spPr/>
        <p:txBody>
          <a:bodyPr/>
          <a:lstStyle/>
          <a:p>
            <a:endParaRPr lang="en-US">
              <a:solidFill>
                <a:srgbClr val="000000"/>
              </a:solidFill>
            </a:endParaRPr>
          </a:p>
          <a:p>
            <a:endParaRPr lang="en-US">
              <a:solidFill>
                <a:srgbClr val="000000"/>
              </a:solidFill>
            </a:endParaRPr>
          </a:p>
          <a:p>
            <a:endParaRPr lang="en-US">
              <a:solidFill>
                <a:srgbClr val="000000"/>
              </a:solidFill>
            </a:endParaRPr>
          </a:p>
          <a:p>
            <a:endParaRPr lang="en-US"/>
          </a:p>
        </p:txBody>
      </p:sp>
      <p:sp>
        <p:nvSpPr>
          <p:cNvPr id="3" name="Footer Placeholder 2">
            <a:extLst>
              <a:ext uri="{FF2B5EF4-FFF2-40B4-BE49-F238E27FC236}">
                <a16:creationId xmlns:a16="http://schemas.microsoft.com/office/drawing/2014/main" id="{ED15724C-8E3F-D99A-6FE2-52CE8B8B3A44}"/>
              </a:ext>
            </a:extLst>
          </p:cNvPr>
          <p:cNvSpPr>
            <a:spLocks noGrp="1"/>
          </p:cNvSpPr>
          <p:nvPr>
            <p:ph type="ftr" sz="quarter" idx="3"/>
          </p:nvPr>
        </p:nvSpPr>
        <p:spPr/>
        <p:txBody>
          <a:bodyPr/>
          <a:lstStyle/>
          <a:p>
            <a:r>
              <a:rPr lang="en-JP"/>
              <a:t> </a:t>
            </a:r>
          </a:p>
        </p:txBody>
      </p:sp>
      <p:sp>
        <p:nvSpPr>
          <p:cNvPr id="4" name="Title 3">
            <a:extLst>
              <a:ext uri="{FF2B5EF4-FFF2-40B4-BE49-F238E27FC236}">
                <a16:creationId xmlns:a16="http://schemas.microsoft.com/office/drawing/2014/main" id="{DFAB4AC7-ED65-5090-3D6B-9C16F1AA6B78}"/>
              </a:ext>
            </a:extLst>
          </p:cNvPr>
          <p:cNvSpPr>
            <a:spLocks noGrp="1"/>
          </p:cNvSpPr>
          <p:nvPr>
            <p:ph type="title"/>
          </p:nvPr>
        </p:nvSpPr>
        <p:spPr/>
        <p:txBody>
          <a:bodyPr/>
          <a:lstStyle/>
          <a:p>
            <a:r>
              <a:rPr lang="en-US"/>
              <a:t>Log Scale Vs Original Scale </a:t>
            </a:r>
            <a:r>
              <a:rPr lang="en-US" err="1"/>
              <a:t>NfL</a:t>
            </a:r>
            <a:r>
              <a:rPr lang="en-US"/>
              <a:t> from </a:t>
            </a:r>
            <a:r>
              <a:rPr lang="en-US" err="1"/>
              <a:t>Tofersen</a:t>
            </a:r>
            <a:r>
              <a:rPr lang="en-US"/>
              <a:t> study</a:t>
            </a:r>
          </a:p>
        </p:txBody>
      </p:sp>
      <p:sp>
        <p:nvSpPr>
          <p:cNvPr id="5" name="Slide Number Placeholder 4">
            <a:extLst>
              <a:ext uri="{FF2B5EF4-FFF2-40B4-BE49-F238E27FC236}">
                <a16:creationId xmlns:a16="http://schemas.microsoft.com/office/drawing/2014/main" id="{D8B8C630-1D21-A6D7-C41A-155E758E1014}"/>
              </a:ext>
            </a:extLst>
          </p:cNvPr>
          <p:cNvSpPr>
            <a:spLocks noGrp="1"/>
          </p:cNvSpPr>
          <p:nvPr>
            <p:ph type="sldNum" sz="quarter" idx="4"/>
          </p:nvPr>
        </p:nvSpPr>
        <p:spPr/>
        <p:txBody>
          <a:bodyPr/>
          <a:lstStyle/>
          <a:p>
            <a:pPr defTabSz="1218810"/>
            <a:fld id="{E9B57936-92EF-4126-AE48-1D9D36D15E98}" type="slidenum">
              <a:rPr lang="ja-JP" altLang="en-US" smtClean="0"/>
              <a:pPr defTabSz="1218810"/>
              <a:t>14</a:t>
            </a:fld>
            <a:endParaRPr lang="ja-JP" altLang="en-US"/>
          </a:p>
        </p:txBody>
      </p:sp>
      <p:sp>
        <p:nvSpPr>
          <p:cNvPr id="6" name="Text Placeholder 5">
            <a:extLst>
              <a:ext uri="{FF2B5EF4-FFF2-40B4-BE49-F238E27FC236}">
                <a16:creationId xmlns:a16="http://schemas.microsoft.com/office/drawing/2014/main" id="{9B9C4A93-82D2-06B6-3151-C195668AC389}"/>
              </a:ext>
            </a:extLst>
          </p:cNvPr>
          <p:cNvSpPr>
            <a:spLocks noGrp="1"/>
          </p:cNvSpPr>
          <p:nvPr>
            <p:ph type="body" sz="quarter" idx="16"/>
          </p:nvPr>
        </p:nvSpPr>
        <p:spPr/>
        <p:txBody>
          <a:bodyPr/>
          <a:lstStyle/>
          <a:p>
            <a:endParaRPr lang="en-US"/>
          </a:p>
        </p:txBody>
      </p:sp>
      <p:sp>
        <p:nvSpPr>
          <p:cNvPr id="7" name="TextBox 6">
            <a:extLst>
              <a:ext uri="{FF2B5EF4-FFF2-40B4-BE49-F238E27FC236}">
                <a16:creationId xmlns:a16="http://schemas.microsoft.com/office/drawing/2014/main" id="{936212CA-0CE1-E096-53D6-8D009D2A2A1E}"/>
              </a:ext>
            </a:extLst>
          </p:cNvPr>
          <p:cNvSpPr txBox="1"/>
          <p:nvPr/>
        </p:nvSpPr>
        <p:spPr>
          <a:xfrm>
            <a:off x="606078" y="1233488"/>
            <a:ext cx="11274772" cy="369332"/>
          </a:xfrm>
          <a:prstGeom prst="rect">
            <a:avLst/>
          </a:prstGeom>
          <a:noFill/>
        </p:spPr>
        <p:txBody>
          <a:bodyPr wrap="square" rtlCol="0">
            <a:spAutoFit/>
          </a:bodyPr>
          <a:lstStyle/>
          <a:p>
            <a:r>
              <a:rPr lang="en-US" dirty="0"/>
              <a:t>What level of reduction is expected if we to observe </a:t>
            </a:r>
            <a:r>
              <a:rPr lang="en-US"/>
              <a:t>a 30% </a:t>
            </a:r>
            <a:r>
              <a:rPr lang="en-US" dirty="0"/>
              <a:t>reduction in the log scale in the change from baseline?</a:t>
            </a:r>
          </a:p>
        </p:txBody>
      </p:sp>
      <p:graphicFrame>
        <p:nvGraphicFramePr>
          <p:cNvPr id="9" name="Table 8">
            <a:extLst>
              <a:ext uri="{FF2B5EF4-FFF2-40B4-BE49-F238E27FC236}">
                <a16:creationId xmlns:a16="http://schemas.microsoft.com/office/drawing/2014/main" id="{AEB0FE85-80C4-05A6-88DF-D6B509BF526C}"/>
              </a:ext>
            </a:extLst>
          </p:cNvPr>
          <p:cNvGraphicFramePr>
            <a:graphicFrameLocks noGrp="1"/>
          </p:cNvGraphicFramePr>
          <p:nvPr>
            <p:extLst>
              <p:ext uri="{D42A27DB-BD31-4B8C-83A1-F6EECF244321}">
                <p14:modId xmlns:p14="http://schemas.microsoft.com/office/powerpoint/2010/main" val="31053262"/>
              </p:ext>
            </p:extLst>
          </p:nvPr>
        </p:nvGraphicFramePr>
        <p:xfrm>
          <a:off x="1251736" y="1733923"/>
          <a:ext cx="5880100" cy="1905000"/>
        </p:xfrm>
        <a:graphic>
          <a:graphicData uri="http://schemas.openxmlformats.org/drawingml/2006/table">
            <a:tbl>
              <a:tblPr>
                <a:tableStyleId>{5C22544A-7EE6-4342-B048-85BDC9FD1C3A}</a:tableStyleId>
              </a:tblPr>
              <a:tblGrid>
                <a:gridCol w="1003300">
                  <a:extLst>
                    <a:ext uri="{9D8B030D-6E8A-4147-A177-3AD203B41FA5}">
                      <a16:colId xmlns:a16="http://schemas.microsoft.com/office/drawing/2014/main" val="260403532"/>
                    </a:ext>
                  </a:extLst>
                </a:gridCol>
                <a:gridCol w="609600">
                  <a:extLst>
                    <a:ext uri="{9D8B030D-6E8A-4147-A177-3AD203B41FA5}">
                      <a16:colId xmlns:a16="http://schemas.microsoft.com/office/drawing/2014/main" val="1218543404"/>
                    </a:ext>
                  </a:extLst>
                </a:gridCol>
                <a:gridCol w="609600">
                  <a:extLst>
                    <a:ext uri="{9D8B030D-6E8A-4147-A177-3AD203B41FA5}">
                      <a16:colId xmlns:a16="http://schemas.microsoft.com/office/drawing/2014/main" val="1698605465"/>
                    </a:ext>
                  </a:extLst>
                </a:gridCol>
                <a:gridCol w="609600">
                  <a:extLst>
                    <a:ext uri="{9D8B030D-6E8A-4147-A177-3AD203B41FA5}">
                      <a16:colId xmlns:a16="http://schemas.microsoft.com/office/drawing/2014/main" val="1099426608"/>
                    </a:ext>
                  </a:extLst>
                </a:gridCol>
                <a:gridCol w="609600">
                  <a:extLst>
                    <a:ext uri="{9D8B030D-6E8A-4147-A177-3AD203B41FA5}">
                      <a16:colId xmlns:a16="http://schemas.microsoft.com/office/drawing/2014/main" val="2638856236"/>
                    </a:ext>
                  </a:extLst>
                </a:gridCol>
                <a:gridCol w="609600">
                  <a:extLst>
                    <a:ext uri="{9D8B030D-6E8A-4147-A177-3AD203B41FA5}">
                      <a16:colId xmlns:a16="http://schemas.microsoft.com/office/drawing/2014/main" val="732578876"/>
                    </a:ext>
                  </a:extLst>
                </a:gridCol>
                <a:gridCol w="609600">
                  <a:extLst>
                    <a:ext uri="{9D8B030D-6E8A-4147-A177-3AD203B41FA5}">
                      <a16:colId xmlns:a16="http://schemas.microsoft.com/office/drawing/2014/main" val="4150082757"/>
                    </a:ext>
                  </a:extLst>
                </a:gridCol>
                <a:gridCol w="609600">
                  <a:extLst>
                    <a:ext uri="{9D8B030D-6E8A-4147-A177-3AD203B41FA5}">
                      <a16:colId xmlns:a16="http://schemas.microsoft.com/office/drawing/2014/main" val="2602408277"/>
                    </a:ext>
                  </a:extLst>
                </a:gridCol>
                <a:gridCol w="609600">
                  <a:extLst>
                    <a:ext uri="{9D8B030D-6E8A-4147-A177-3AD203B41FA5}">
                      <a16:colId xmlns:a16="http://schemas.microsoft.com/office/drawing/2014/main" val="950272150"/>
                    </a:ext>
                  </a:extLst>
                </a:gridCol>
              </a:tblGrid>
              <a:tr h="190500">
                <a:tc>
                  <a:txBody>
                    <a:bodyPr/>
                    <a:lstStyle/>
                    <a:p>
                      <a:pPr algn="l" fontAlgn="b"/>
                      <a:r>
                        <a:rPr lang="en-US" sz="1100" b="1" u="none" strike="noStrike" err="1">
                          <a:effectLst/>
                        </a:rPr>
                        <a:t>NfL</a:t>
                      </a:r>
                      <a:r>
                        <a:rPr lang="en-US" sz="1100" b="1" u="none" strike="noStrike">
                          <a:effectLst/>
                        </a:rPr>
                        <a:t>/Study</a:t>
                      </a:r>
                      <a:endParaRPr lang="en-US" sz="1100" b="1" i="0" u="none" strike="noStrike">
                        <a:solidFill>
                          <a:srgbClr val="000000"/>
                        </a:solidFill>
                        <a:effectLst/>
                        <a:latin typeface="Aptos Narrow" panose="020B0004020202020204" pitchFamily="34" charset="0"/>
                      </a:endParaRPr>
                    </a:p>
                  </a:txBody>
                  <a:tcPr marL="9525" marR="9525" marT="9525" marB="0" anchor="b"/>
                </a:tc>
                <a:tc>
                  <a:txBody>
                    <a:bodyPr/>
                    <a:lstStyle/>
                    <a:p>
                      <a:pPr algn="l" fontAlgn="b"/>
                      <a:r>
                        <a:rPr lang="en-US" sz="1100" b="1" u="none" strike="noStrike">
                          <a:effectLst/>
                        </a:rPr>
                        <a:t>Mean</a:t>
                      </a:r>
                      <a:endParaRPr lang="en-US" sz="1100" b="1" i="0" u="none" strike="noStrike">
                        <a:solidFill>
                          <a:srgbClr val="000000"/>
                        </a:solidFill>
                        <a:effectLst/>
                        <a:latin typeface="Aptos Narrow" panose="020B0004020202020204" pitchFamily="34" charset="0"/>
                      </a:endParaRPr>
                    </a:p>
                  </a:txBody>
                  <a:tcPr marL="9525" marR="9525" marT="9525" marB="0" anchor="b"/>
                </a:tc>
                <a:tc>
                  <a:txBody>
                    <a:bodyPr/>
                    <a:lstStyle/>
                    <a:p>
                      <a:pPr algn="l" fontAlgn="b"/>
                      <a:r>
                        <a:rPr lang="en-US" sz="1100" b="1" u="none" strike="noStrike">
                          <a:effectLst/>
                        </a:rPr>
                        <a:t>SD</a:t>
                      </a:r>
                      <a:endParaRPr lang="en-US" sz="1100" b="1" i="0" u="none" strike="noStrike">
                        <a:solidFill>
                          <a:srgbClr val="000000"/>
                        </a:solidFill>
                        <a:effectLst/>
                        <a:latin typeface="Aptos Narrow" panose="020B0004020202020204" pitchFamily="34" charset="0"/>
                      </a:endParaRPr>
                    </a:p>
                  </a:txBody>
                  <a:tcPr marL="9525" marR="9525" marT="9525" marB="0" anchor="b"/>
                </a:tc>
                <a:tc>
                  <a:txBody>
                    <a:bodyPr/>
                    <a:lstStyle/>
                    <a:p>
                      <a:pPr algn="l" fontAlgn="b"/>
                      <a:r>
                        <a:rPr lang="en-US" sz="1100" b="1" u="none" strike="noStrike">
                          <a:effectLst/>
                        </a:rPr>
                        <a:t>GM</a:t>
                      </a:r>
                      <a:endParaRPr lang="en-US" sz="1100" b="1" i="0" u="none" strike="noStrike">
                        <a:solidFill>
                          <a:srgbClr val="000000"/>
                        </a:solidFill>
                        <a:effectLst/>
                        <a:latin typeface="Aptos Narrow" panose="020B0004020202020204" pitchFamily="34" charset="0"/>
                      </a:endParaRPr>
                    </a:p>
                  </a:txBody>
                  <a:tcPr marL="9525" marR="9525" marT="9525" marB="0" anchor="b"/>
                </a:tc>
                <a:tc>
                  <a:txBody>
                    <a:bodyPr/>
                    <a:lstStyle/>
                    <a:p>
                      <a:pPr algn="l" fontAlgn="b"/>
                      <a:r>
                        <a:rPr lang="en-US" sz="1100" b="1" u="none" strike="noStrike">
                          <a:effectLst/>
                        </a:rPr>
                        <a:t>Median</a:t>
                      </a:r>
                      <a:endParaRPr lang="en-US" sz="1100" b="1" i="0" u="none" strike="noStrike">
                        <a:solidFill>
                          <a:srgbClr val="000000"/>
                        </a:solidFill>
                        <a:effectLst/>
                        <a:latin typeface="Aptos Narrow" panose="020B0004020202020204" pitchFamily="34" charset="0"/>
                      </a:endParaRPr>
                    </a:p>
                  </a:txBody>
                  <a:tcPr marL="9525" marR="9525" marT="9525" marB="0" anchor="b"/>
                </a:tc>
                <a:tc>
                  <a:txBody>
                    <a:bodyPr/>
                    <a:lstStyle/>
                    <a:p>
                      <a:pPr algn="l" fontAlgn="b"/>
                      <a:r>
                        <a:rPr lang="en-US" sz="1100" b="1" u="none" strike="noStrike">
                          <a:effectLst/>
                        </a:rPr>
                        <a:t>Scale</a:t>
                      </a:r>
                      <a:endParaRPr lang="en-US" sz="1100" b="1" i="0" u="none" strike="noStrike">
                        <a:solidFill>
                          <a:srgbClr val="000000"/>
                        </a:solidFill>
                        <a:effectLst/>
                        <a:latin typeface="Aptos Narrow" panose="020B0004020202020204" pitchFamily="34" charset="0"/>
                      </a:endParaRPr>
                    </a:p>
                  </a:txBody>
                  <a:tcPr marL="9525" marR="9525" marT="9525" marB="0" anchor="b"/>
                </a:tc>
                <a:tc>
                  <a:txBody>
                    <a:bodyPr/>
                    <a:lstStyle/>
                    <a:p>
                      <a:pPr algn="l" fontAlgn="b"/>
                      <a:r>
                        <a:rPr lang="en-US" sz="1100" b="1" u="none" strike="noStrike">
                          <a:effectLst/>
                        </a:rPr>
                        <a:t>n</a:t>
                      </a:r>
                      <a:endParaRPr lang="en-US" sz="1100" b="1" i="0" u="none" strike="noStrike">
                        <a:solidFill>
                          <a:srgbClr val="000000"/>
                        </a:solidFill>
                        <a:effectLst/>
                        <a:latin typeface="Aptos Narrow" panose="020B0004020202020204" pitchFamily="34" charset="0"/>
                      </a:endParaRPr>
                    </a:p>
                  </a:txBody>
                  <a:tcPr marL="9525" marR="9525" marT="9525" marB="0" anchor="b"/>
                </a:tc>
                <a:tc>
                  <a:txBody>
                    <a:bodyPr/>
                    <a:lstStyle/>
                    <a:p>
                      <a:pPr algn="l" fontAlgn="b"/>
                      <a:r>
                        <a:rPr lang="en-US" sz="1100" b="1" u="none" strike="noStrike">
                          <a:effectLst/>
                        </a:rPr>
                        <a:t>Sample</a:t>
                      </a:r>
                      <a:endParaRPr lang="en-US" sz="1100" b="1" i="0" u="none" strike="noStrike">
                        <a:solidFill>
                          <a:srgbClr val="000000"/>
                        </a:solidFill>
                        <a:effectLst/>
                        <a:latin typeface="Aptos Narrow" panose="020B0004020202020204" pitchFamily="34" charset="0"/>
                      </a:endParaRPr>
                    </a:p>
                  </a:txBody>
                  <a:tcPr marL="9525" marR="9525" marT="9525" marB="0" anchor="b"/>
                </a:tc>
                <a:tc>
                  <a:txBody>
                    <a:bodyPr/>
                    <a:lstStyle/>
                    <a:p>
                      <a:pPr algn="l" fontAlgn="b"/>
                      <a:r>
                        <a:rPr lang="en-US" sz="1100" b="1" u="none" strike="noStrike">
                          <a:effectLst/>
                        </a:rPr>
                        <a:t>Time</a:t>
                      </a:r>
                      <a:endParaRPr lang="en-US" sz="1100" b="1" i="0" u="none" strike="noStrike">
                        <a:solidFill>
                          <a:srgbClr val="000000"/>
                        </a:solidFill>
                        <a:effectLst/>
                        <a:latin typeface="Aptos Narrow" panose="020B0004020202020204" pitchFamily="34" charset="0"/>
                      </a:endParaRPr>
                    </a:p>
                  </a:txBody>
                  <a:tcPr marL="9525" marR="9525" marT="9525" marB="0" anchor="b"/>
                </a:tc>
                <a:extLst>
                  <a:ext uri="{0D108BD9-81ED-4DB2-BD59-A6C34878D82A}">
                    <a16:rowId xmlns:a16="http://schemas.microsoft.com/office/drawing/2014/main" val="1428172209"/>
                  </a:ext>
                </a:extLst>
              </a:tr>
              <a:tr h="190500">
                <a:tc>
                  <a:txBody>
                    <a:bodyPr/>
                    <a:lstStyle/>
                    <a:p>
                      <a:pPr algn="l" fontAlgn="b"/>
                      <a:r>
                        <a:rPr lang="en-US" sz="1100" u="none" strike="noStrike">
                          <a:effectLst/>
                        </a:rPr>
                        <a:t>Tofersen P2/3*</a:t>
                      </a:r>
                      <a:endParaRPr lang="en-US" sz="1100" b="0" i="0" u="none" strike="noStrike">
                        <a:solidFill>
                          <a:srgbClr val="000000"/>
                        </a:solidFill>
                        <a:effectLst/>
                        <a:latin typeface="Aptos Narrow" panose="020B0004020202020204" pitchFamily="34" charset="0"/>
                      </a:endParaRPr>
                    </a:p>
                  </a:txBody>
                  <a:tcPr marL="9525" marR="9525" marT="9525" marB="0" anchor="b"/>
                </a:tc>
                <a:tc>
                  <a:txBody>
                    <a:bodyPr/>
                    <a:lstStyle/>
                    <a:p>
                      <a:pPr algn="r" fontAlgn="b"/>
                      <a:r>
                        <a:rPr lang="en-US" sz="1100" u="none" strike="noStrike">
                          <a:effectLst/>
                        </a:rPr>
                        <a:t>127.3</a:t>
                      </a:r>
                      <a:endParaRPr lang="en-US" sz="1100" b="0" i="0" u="none" strike="noStrike">
                        <a:solidFill>
                          <a:srgbClr val="000000"/>
                        </a:solidFill>
                        <a:effectLst/>
                        <a:latin typeface="Aptos Narrow" panose="020B0004020202020204" pitchFamily="34" charset="0"/>
                      </a:endParaRPr>
                    </a:p>
                  </a:txBody>
                  <a:tcPr marL="9525" marR="9525" marT="9525" marB="0" anchor="b"/>
                </a:tc>
                <a:tc>
                  <a:txBody>
                    <a:bodyPr/>
                    <a:lstStyle/>
                    <a:p>
                      <a:pPr algn="r" fontAlgn="b"/>
                      <a:r>
                        <a:rPr lang="en-US" sz="1100" u="none" strike="noStrike">
                          <a:effectLst/>
                        </a:rPr>
                        <a:t>94.4</a:t>
                      </a:r>
                      <a:endParaRPr lang="en-US" sz="1100" b="0" i="0" u="none" strike="noStrike">
                        <a:solidFill>
                          <a:srgbClr val="000000"/>
                        </a:solidFill>
                        <a:effectLst/>
                        <a:latin typeface="Aptos Narrow" panose="020B0004020202020204" pitchFamily="34" charset="0"/>
                      </a:endParaRPr>
                    </a:p>
                  </a:txBody>
                  <a:tcPr marL="9525" marR="9525" marT="9525" marB="0" anchor="b"/>
                </a:tc>
                <a:tc>
                  <a:txBody>
                    <a:bodyPr/>
                    <a:lstStyle/>
                    <a:p>
                      <a:pPr algn="r" fontAlgn="b"/>
                      <a:r>
                        <a:rPr lang="en-US" sz="1100" u="none" strike="noStrike">
                          <a:effectLst/>
                        </a:rPr>
                        <a:t>92.7</a:t>
                      </a:r>
                      <a:endParaRPr lang="en-US" sz="1100" b="0" i="0" u="none" strike="noStrike">
                        <a:solidFill>
                          <a:srgbClr val="000000"/>
                        </a:solidFill>
                        <a:effectLst/>
                        <a:latin typeface="Aptos Narrow" panose="020B0004020202020204" pitchFamily="34" charset="0"/>
                      </a:endParaRPr>
                    </a:p>
                  </a:txBody>
                  <a:tcPr marL="9525" marR="9525" marT="9525" marB="0" anchor="b"/>
                </a:tc>
                <a:tc>
                  <a:txBody>
                    <a:bodyPr/>
                    <a:lstStyle/>
                    <a:p>
                      <a:pPr algn="r" fontAlgn="b"/>
                      <a:r>
                        <a:rPr lang="en-US" sz="1100" u="none" strike="noStrike">
                          <a:effectLst/>
                        </a:rPr>
                        <a:t>92.7</a:t>
                      </a:r>
                      <a:endParaRPr lang="en-US" sz="1100" b="0" i="0" u="none" strike="noStrike">
                        <a:solidFill>
                          <a:srgbClr val="000000"/>
                        </a:solidFill>
                        <a:effectLst/>
                        <a:latin typeface="Aptos Narrow" panose="020B0004020202020204" pitchFamily="34" charset="0"/>
                      </a:endParaRPr>
                    </a:p>
                  </a:txBody>
                  <a:tcPr marL="9525" marR="9525" marT="9525" marB="0" anchor="b"/>
                </a:tc>
                <a:tc>
                  <a:txBody>
                    <a:bodyPr/>
                    <a:lstStyle/>
                    <a:p>
                      <a:pPr algn="l" fontAlgn="b"/>
                      <a:r>
                        <a:rPr lang="en-US" sz="1100" u="none" strike="noStrike">
                          <a:effectLst/>
                        </a:rPr>
                        <a:t>Pg/ml</a:t>
                      </a:r>
                      <a:endParaRPr lang="en-US" sz="1100" b="0" i="0" u="none" strike="noStrike">
                        <a:solidFill>
                          <a:srgbClr val="000000"/>
                        </a:solidFill>
                        <a:effectLst/>
                        <a:latin typeface="Aptos Narrow" panose="020B0004020202020204" pitchFamily="34" charset="0"/>
                      </a:endParaRPr>
                    </a:p>
                  </a:txBody>
                  <a:tcPr marL="9525" marR="9525" marT="9525" marB="0" anchor="b"/>
                </a:tc>
                <a:tc>
                  <a:txBody>
                    <a:bodyPr/>
                    <a:lstStyle/>
                    <a:p>
                      <a:pPr algn="r" fontAlgn="b"/>
                      <a:r>
                        <a:rPr lang="en-US" sz="1100" u="none" strike="noStrike">
                          <a:effectLst/>
                        </a:rPr>
                        <a:t>21</a:t>
                      </a:r>
                      <a:endParaRPr lang="en-US" sz="1100" b="0" i="0" u="none" strike="noStrike">
                        <a:solidFill>
                          <a:srgbClr val="000000"/>
                        </a:solidFill>
                        <a:effectLst/>
                        <a:latin typeface="Aptos Narrow" panose="020B0004020202020204" pitchFamily="34" charset="0"/>
                      </a:endParaRPr>
                    </a:p>
                  </a:txBody>
                  <a:tcPr marL="9525" marR="9525" marT="9525" marB="0" anchor="b"/>
                </a:tc>
                <a:tc>
                  <a:txBody>
                    <a:bodyPr/>
                    <a:lstStyle/>
                    <a:p>
                      <a:pPr algn="l" fontAlgn="b"/>
                      <a:r>
                        <a:rPr lang="en-US" sz="1100" u="none" strike="noStrike">
                          <a:effectLst/>
                        </a:rPr>
                        <a:t>P</a:t>
                      </a:r>
                      <a:endParaRPr lang="en-US" sz="1100" b="0" i="0" u="none" strike="noStrike">
                        <a:solidFill>
                          <a:srgbClr val="000000"/>
                        </a:solidFill>
                        <a:effectLst/>
                        <a:latin typeface="Aptos Narrow" panose="020B0004020202020204" pitchFamily="34" charset="0"/>
                      </a:endParaRPr>
                    </a:p>
                  </a:txBody>
                  <a:tcPr marL="9525" marR="9525" marT="9525" marB="0" anchor="b"/>
                </a:tc>
                <a:tc>
                  <a:txBody>
                    <a:bodyPr/>
                    <a:lstStyle/>
                    <a:p>
                      <a:pPr algn="l" fontAlgn="b"/>
                      <a:r>
                        <a:rPr lang="en-US" sz="1100" u="none" strike="noStrike">
                          <a:effectLst/>
                        </a:rPr>
                        <a:t>B</a:t>
                      </a:r>
                      <a:endParaRPr lang="en-US" sz="1100" b="0" i="0" u="none" strike="noStrike">
                        <a:solidFill>
                          <a:srgbClr val="000000"/>
                        </a:solidFill>
                        <a:effectLst/>
                        <a:latin typeface="Aptos Narrow" panose="020B0004020202020204" pitchFamily="34" charset="0"/>
                      </a:endParaRPr>
                    </a:p>
                  </a:txBody>
                  <a:tcPr marL="9525" marR="9525" marT="9525" marB="0" anchor="b"/>
                </a:tc>
                <a:extLst>
                  <a:ext uri="{0D108BD9-81ED-4DB2-BD59-A6C34878D82A}">
                    <a16:rowId xmlns:a16="http://schemas.microsoft.com/office/drawing/2014/main" val="3285135826"/>
                  </a:ext>
                </a:extLst>
              </a:tr>
              <a:tr h="190500">
                <a:tc>
                  <a:txBody>
                    <a:bodyPr/>
                    <a:lstStyle/>
                    <a:p>
                      <a:pPr algn="l" fontAlgn="b"/>
                      <a:r>
                        <a:rPr lang="en-US" sz="1100" u="none" strike="noStrike">
                          <a:effectLst/>
                        </a:rPr>
                        <a:t>Tofersen P2/3*</a:t>
                      </a:r>
                      <a:endParaRPr lang="en-US" sz="1100" b="0" i="0" u="none" strike="noStrike">
                        <a:solidFill>
                          <a:srgbClr val="000000"/>
                        </a:solidFill>
                        <a:effectLst/>
                        <a:latin typeface="Aptos Narrow" panose="020B0004020202020204" pitchFamily="34" charset="0"/>
                      </a:endParaRPr>
                    </a:p>
                  </a:txBody>
                  <a:tcPr marL="9525" marR="9525" marT="9525" marB="0" anchor="b"/>
                </a:tc>
                <a:tc>
                  <a:txBody>
                    <a:bodyPr/>
                    <a:lstStyle/>
                    <a:p>
                      <a:pPr algn="r" fontAlgn="b"/>
                      <a:r>
                        <a:rPr lang="en-US" sz="1100" u="none" strike="noStrike">
                          <a:effectLst/>
                        </a:rPr>
                        <a:t>4.6</a:t>
                      </a:r>
                      <a:endParaRPr lang="en-US" sz="1100" b="0" i="0" u="none" strike="noStrike">
                        <a:solidFill>
                          <a:srgbClr val="000000"/>
                        </a:solidFill>
                        <a:effectLst/>
                        <a:latin typeface="Aptos Narrow" panose="020B0004020202020204" pitchFamily="34" charset="0"/>
                      </a:endParaRPr>
                    </a:p>
                  </a:txBody>
                  <a:tcPr marL="9525" marR="9525" marT="9525" marB="0" anchor="b"/>
                </a:tc>
                <a:tc>
                  <a:txBody>
                    <a:bodyPr/>
                    <a:lstStyle/>
                    <a:p>
                      <a:pPr algn="r" fontAlgn="b"/>
                      <a:r>
                        <a:rPr lang="en-US" sz="1100" u="none" strike="noStrike">
                          <a:effectLst/>
                        </a:rPr>
                        <a:t>0.66</a:t>
                      </a:r>
                      <a:endParaRPr lang="en-US" sz="1100" b="0" i="0" u="none" strike="noStrike">
                        <a:solidFill>
                          <a:srgbClr val="000000"/>
                        </a:solidFill>
                        <a:effectLst/>
                        <a:latin typeface="Aptos Narrow" panose="020B0004020202020204" pitchFamily="34" charset="0"/>
                      </a:endParaRPr>
                    </a:p>
                  </a:txBody>
                  <a:tcPr marL="9525" marR="9525" marT="9525" marB="0" anchor="b"/>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tc>
                <a:tc>
                  <a:txBody>
                    <a:bodyPr/>
                    <a:lstStyle/>
                    <a:p>
                      <a:pPr algn="l" fontAlgn="b"/>
                      <a:r>
                        <a:rPr lang="en-US" sz="1100" u="none" strike="noStrike">
                          <a:effectLst/>
                        </a:rPr>
                        <a:t>Log </a:t>
                      </a:r>
                      <a:endParaRPr lang="en-US" sz="1100" b="0" i="0" u="none" strike="noStrike">
                        <a:solidFill>
                          <a:srgbClr val="000000"/>
                        </a:solidFill>
                        <a:effectLst/>
                        <a:latin typeface="Aptos Narrow" panose="020B0004020202020204" pitchFamily="34" charset="0"/>
                      </a:endParaRPr>
                    </a:p>
                  </a:txBody>
                  <a:tcPr marL="9525" marR="9525" marT="9525" marB="0" anchor="b"/>
                </a:tc>
                <a:tc>
                  <a:txBody>
                    <a:bodyPr/>
                    <a:lstStyle/>
                    <a:p>
                      <a:pPr algn="r" fontAlgn="b"/>
                      <a:r>
                        <a:rPr lang="en-US" sz="1100" u="none" strike="noStrike">
                          <a:effectLst/>
                        </a:rPr>
                        <a:t>21</a:t>
                      </a:r>
                      <a:endParaRPr lang="en-US" sz="1100" b="0" i="0" u="none" strike="noStrike">
                        <a:solidFill>
                          <a:srgbClr val="000000"/>
                        </a:solidFill>
                        <a:effectLst/>
                        <a:latin typeface="Aptos Narrow" panose="020B0004020202020204" pitchFamily="34" charset="0"/>
                      </a:endParaRPr>
                    </a:p>
                  </a:txBody>
                  <a:tcPr marL="9525" marR="9525" marT="9525" marB="0" anchor="b"/>
                </a:tc>
                <a:tc>
                  <a:txBody>
                    <a:bodyPr/>
                    <a:lstStyle/>
                    <a:p>
                      <a:pPr algn="l" fontAlgn="b"/>
                      <a:r>
                        <a:rPr lang="en-US" sz="1100" u="none" strike="noStrike">
                          <a:effectLst/>
                        </a:rPr>
                        <a:t>P</a:t>
                      </a:r>
                      <a:endParaRPr lang="en-US" sz="1100" b="0" i="0" u="none" strike="noStrike">
                        <a:solidFill>
                          <a:srgbClr val="000000"/>
                        </a:solidFill>
                        <a:effectLst/>
                        <a:latin typeface="Aptos Narrow" panose="020B0004020202020204" pitchFamily="34" charset="0"/>
                      </a:endParaRPr>
                    </a:p>
                  </a:txBody>
                  <a:tcPr marL="9525" marR="9525" marT="9525" marB="0" anchor="b"/>
                </a:tc>
                <a:tc>
                  <a:txBody>
                    <a:bodyPr/>
                    <a:lstStyle/>
                    <a:p>
                      <a:pPr algn="l" fontAlgn="b"/>
                      <a:r>
                        <a:rPr lang="en-US" sz="1100" u="none" strike="noStrike">
                          <a:effectLst/>
                        </a:rPr>
                        <a:t>B</a:t>
                      </a:r>
                      <a:endParaRPr lang="en-US" sz="1100" b="0" i="0" u="none" strike="noStrike">
                        <a:solidFill>
                          <a:srgbClr val="000000"/>
                        </a:solidFill>
                        <a:effectLst/>
                        <a:latin typeface="Aptos Narrow" panose="020B0004020202020204" pitchFamily="34" charset="0"/>
                      </a:endParaRPr>
                    </a:p>
                  </a:txBody>
                  <a:tcPr marL="9525" marR="9525" marT="9525" marB="0" anchor="b"/>
                </a:tc>
                <a:extLst>
                  <a:ext uri="{0D108BD9-81ED-4DB2-BD59-A6C34878D82A}">
                    <a16:rowId xmlns:a16="http://schemas.microsoft.com/office/drawing/2014/main" val="1303919071"/>
                  </a:ext>
                </a:extLst>
              </a:tr>
              <a:tr h="190500">
                <a:tc>
                  <a:txBody>
                    <a:bodyPr/>
                    <a:lstStyle/>
                    <a:p>
                      <a:pPr algn="l" fontAlgn="b"/>
                      <a:r>
                        <a:rPr lang="en-US" sz="1100" u="none" strike="noStrike">
                          <a:effectLst/>
                        </a:rPr>
                        <a:t>Tofersen P2/3</a:t>
                      </a:r>
                      <a:endParaRPr lang="en-US" sz="1100" b="0" i="0" u="none" strike="noStrike">
                        <a:solidFill>
                          <a:srgbClr val="000000"/>
                        </a:solidFill>
                        <a:effectLst/>
                        <a:latin typeface="Aptos Narrow" panose="020B0004020202020204" pitchFamily="34" charset="0"/>
                      </a:endParaRPr>
                    </a:p>
                  </a:txBody>
                  <a:tcPr marL="9525" marR="9525" marT="9525" marB="0" anchor="b"/>
                </a:tc>
                <a:tc>
                  <a:txBody>
                    <a:bodyPr/>
                    <a:lstStyle/>
                    <a:p>
                      <a:pPr algn="r" fontAlgn="b"/>
                      <a:r>
                        <a:rPr lang="en-US" sz="1100" u="none" strike="noStrike">
                          <a:effectLst/>
                        </a:rPr>
                        <a:t>37</a:t>
                      </a:r>
                      <a:endParaRPr lang="en-US" sz="1100" b="0" i="0" u="none" strike="noStrike">
                        <a:solidFill>
                          <a:srgbClr val="000000"/>
                        </a:solidFill>
                        <a:effectLst/>
                        <a:latin typeface="Aptos Narrow" panose="020B0004020202020204" pitchFamily="34" charset="0"/>
                      </a:endParaRPr>
                    </a:p>
                  </a:txBody>
                  <a:tcPr marL="9525" marR="9525" marT="9525" marB="0" anchor="b"/>
                </a:tc>
                <a:tc>
                  <a:txBody>
                    <a:bodyPr/>
                    <a:lstStyle/>
                    <a:p>
                      <a:pPr algn="r" fontAlgn="b"/>
                      <a:r>
                        <a:rPr lang="en-US" sz="1100" u="none" strike="noStrike">
                          <a:effectLst/>
                        </a:rPr>
                        <a:t>29.5</a:t>
                      </a:r>
                      <a:endParaRPr lang="en-US" sz="1100" b="0" i="0" u="none" strike="noStrike">
                        <a:solidFill>
                          <a:srgbClr val="000000"/>
                        </a:solidFill>
                        <a:effectLst/>
                        <a:latin typeface="Aptos Narrow" panose="020B0004020202020204" pitchFamily="34" charset="0"/>
                      </a:endParaRPr>
                    </a:p>
                  </a:txBody>
                  <a:tcPr marL="9525" marR="9525" marT="9525" marB="0" anchor="b"/>
                </a:tc>
                <a:tc>
                  <a:txBody>
                    <a:bodyPr/>
                    <a:lstStyle/>
                    <a:p>
                      <a:pPr algn="r" fontAlgn="b"/>
                      <a:r>
                        <a:rPr lang="en-US" sz="1100" u="none" strike="noStrike">
                          <a:effectLst/>
                        </a:rPr>
                        <a:t>28.4</a:t>
                      </a:r>
                      <a:endParaRPr lang="en-US" sz="1100" b="0" i="0" u="none" strike="noStrike">
                        <a:solidFill>
                          <a:srgbClr val="000000"/>
                        </a:solidFill>
                        <a:effectLst/>
                        <a:latin typeface="Aptos Narrow" panose="020B0004020202020204" pitchFamily="34" charset="0"/>
                      </a:endParaRPr>
                    </a:p>
                  </a:txBody>
                  <a:tcPr marL="9525" marR="9525" marT="9525" marB="0" anchor="b"/>
                </a:tc>
                <a:tc>
                  <a:txBody>
                    <a:bodyPr/>
                    <a:lstStyle/>
                    <a:p>
                      <a:pPr algn="r" fontAlgn="b"/>
                      <a:r>
                        <a:rPr lang="en-US" sz="1100" u="none" strike="noStrike">
                          <a:effectLst/>
                        </a:rPr>
                        <a:t>28.4</a:t>
                      </a:r>
                      <a:endParaRPr lang="en-US" sz="1100" b="0" i="0" u="none" strike="noStrike">
                        <a:solidFill>
                          <a:srgbClr val="000000"/>
                        </a:solidFill>
                        <a:effectLst/>
                        <a:latin typeface="Aptos Narrow" panose="020B0004020202020204" pitchFamily="34" charset="0"/>
                      </a:endParaRPr>
                    </a:p>
                  </a:txBody>
                  <a:tcPr marL="9525" marR="9525" marT="9525" marB="0" anchor="b"/>
                </a:tc>
                <a:tc>
                  <a:txBody>
                    <a:bodyPr/>
                    <a:lstStyle/>
                    <a:p>
                      <a:pPr algn="l" fontAlgn="b"/>
                      <a:r>
                        <a:rPr lang="en-US" sz="1100" u="none" strike="noStrike">
                          <a:effectLst/>
                        </a:rPr>
                        <a:t>Pg/ml</a:t>
                      </a:r>
                      <a:endParaRPr lang="en-US" sz="1100" b="0" i="0" u="none" strike="noStrike">
                        <a:solidFill>
                          <a:srgbClr val="000000"/>
                        </a:solidFill>
                        <a:effectLst/>
                        <a:latin typeface="Aptos Narrow" panose="020B0004020202020204" pitchFamily="34" charset="0"/>
                      </a:endParaRPr>
                    </a:p>
                  </a:txBody>
                  <a:tcPr marL="9525" marR="9525" marT="9525" marB="0" anchor="b"/>
                </a:tc>
                <a:tc>
                  <a:txBody>
                    <a:bodyPr/>
                    <a:lstStyle/>
                    <a:p>
                      <a:pPr algn="r" fontAlgn="b"/>
                      <a:r>
                        <a:rPr lang="en-US" sz="1100" u="none" strike="noStrike">
                          <a:effectLst/>
                        </a:rPr>
                        <a:t>15</a:t>
                      </a:r>
                      <a:endParaRPr lang="en-US" sz="1100" b="0" i="0" u="none" strike="noStrike">
                        <a:solidFill>
                          <a:srgbClr val="000000"/>
                        </a:solidFill>
                        <a:effectLst/>
                        <a:latin typeface="Aptos Narrow" panose="020B0004020202020204" pitchFamily="34" charset="0"/>
                      </a:endParaRPr>
                    </a:p>
                  </a:txBody>
                  <a:tcPr marL="9525" marR="9525" marT="9525" marB="0" anchor="b"/>
                </a:tc>
                <a:tc>
                  <a:txBody>
                    <a:bodyPr/>
                    <a:lstStyle/>
                    <a:p>
                      <a:pPr algn="l" fontAlgn="b"/>
                      <a:r>
                        <a:rPr lang="en-US" sz="1100" u="none" strike="noStrike">
                          <a:effectLst/>
                        </a:rPr>
                        <a:t>P</a:t>
                      </a:r>
                      <a:endParaRPr lang="en-US" sz="1100" b="0" i="0" u="none" strike="noStrike">
                        <a:solidFill>
                          <a:srgbClr val="000000"/>
                        </a:solidFill>
                        <a:effectLst/>
                        <a:latin typeface="Aptos Narrow" panose="020B0004020202020204" pitchFamily="34" charset="0"/>
                      </a:endParaRPr>
                    </a:p>
                  </a:txBody>
                  <a:tcPr marL="9525" marR="9525" marT="9525" marB="0" anchor="b"/>
                </a:tc>
                <a:tc>
                  <a:txBody>
                    <a:bodyPr/>
                    <a:lstStyle/>
                    <a:p>
                      <a:pPr algn="l" fontAlgn="b"/>
                      <a:r>
                        <a:rPr lang="en-US" sz="1100" u="none" strike="noStrike">
                          <a:effectLst/>
                        </a:rPr>
                        <a:t>B</a:t>
                      </a:r>
                      <a:endParaRPr lang="en-US" sz="1100" b="0" i="0" u="none" strike="noStrike">
                        <a:solidFill>
                          <a:srgbClr val="000000"/>
                        </a:solidFill>
                        <a:effectLst/>
                        <a:latin typeface="Aptos Narrow" panose="020B0004020202020204" pitchFamily="34" charset="0"/>
                      </a:endParaRPr>
                    </a:p>
                  </a:txBody>
                  <a:tcPr marL="9525" marR="9525" marT="9525" marB="0" anchor="b"/>
                </a:tc>
                <a:extLst>
                  <a:ext uri="{0D108BD9-81ED-4DB2-BD59-A6C34878D82A}">
                    <a16:rowId xmlns:a16="http://schemas.microsoft.com/office/drawing/2014/main" val="1409295611"/>
                  </a:ext>
                </a:extLst>
              </a:tr>
              <a:tr h="190500">
                <a:tc>
                  <a:txBody>
                    <a:bodyPr/>
                    <a:lstStyle/>
                    <a:p>
                      <a:pPr algn="l" fontAlgn="b"/>
                      <a:r>
                        <a:rPr lang="en-US" sz="1100" u="none" strike="noStrike">
                          <a:effectLst/>
                        </a:rPr>
                        <a:t>Tofersen P2/3</a:t>
                      </a:r>
                      <a:endParaRPr lang="en-US" sz="1100" b="0" i="0" u="none" strike="noStrike">
                        <a:solidFill>
                          <a:srgbClr val="000000"/>
                        </a:solidFill>
                        <a:effectLst/>
                        <a:latin typeface="Aptos Narrow" panose="020B0004020202020204" pitchFamily="34" charset="0"/>
                      </a:endParaRPr>
                    </a:p>
                  </a:txBody>
                  <a:tcPr marL="9525" marR="9525" marT="9525" marB="0" anchor="b"/>
                </a:tc>
                <a:tc>
                  <a:txBody>
                    <a:bodyPr/>
                    <a:lstStyle/>
                    <a:p>
                      <a:pPr algn="r" fontAlgn="b"/>
                      <a:r>
                        <a:rPr lang="en-US" sz="1100" u="none" strike="noStrike">
                          <a:effectLst/>
                        </a:rPr>
                        <a:t>3.4</a:t>
                      </a:r>
                      <a:endParaRPr lang="en-US" sz="1100" b="0" i="0" u="none" strike="noStrike">
                        <a:solidFill>
                          <a:srgbClr val="000000"/>
                        </a:solidFill>
                        <a:effectLst/>
                        <a:latin typeface="Aptos Narrow" panose="020B0004020202020204" pitchFamily="34" charset="0"/>
                      </a:endParaRPr>
                    </a:p>
                  </a:txBody>
                  <a:tcPr marL="9525" marR="9525" marT="9525" marB="0" anchor="b"/>
                </a:tc>
                <a:tc>
                  <a:txBody>
                    <a:bodyPr/>
                    <a:lstStyle/>
                    <a:p>
                      <a:pPr algn="r" fontAlgn="b"/>
                      <a:r>
                        <a:rPr lang="en-US" sz="1100" u="none" strike="noStrike">
                          <a:effectLst/>
                        </a:rPr>
                        <a:t>0.7</a:t>
                      </a:r>
                      <a:endParaRPr lang="en-US" sz="1100" b="0" i="0" u="none" strike="noStrike">
                        <a:solidFill>
                          <a:srgbClr val="000000"/>
                        </a:solidFill>
                        <a:effectLst/>
                        <a:latin typeface="Aptos Narrow" panose="020B0004020202020204" pitchFamily="34" charset="0"/>
                      </a:endParaRPr>
                    </a:p>
                  </a:txBody>
                  <a:tcPr marL="9525" marR="9525" marT="9525" marB="0" anchor="b"/>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tc>
                <a:tc>
                  <a:txBody>
                    <a:bodyPr/>
                    <a:lstStyle/>
                    <a:p>
                      <a:pPr algn="l" fontAlgn="b"/>
                      <a:r>
                        <a:rPr lang="en-US" sz="1100" u="none" strike="noStrike">
                          <a:effectLst/>
                        </a:rPr>
                        <a:t>Log</a:t>
                      </a:r>
                      <a:endParaRPr lang="en-US" sz="1100" b="0" i="0" u="none" strike="noStrike">
                        <a:solidFill>
                          <a:srgbClr val="000000"/>
                        </a:solidFill>
                        <a:effectLst/>
                        <a:latin typeface="Aptos Narrow" panose="020B0004020202020204" pitchFamily="34" charset="0"/>
                      </a:endParaRPr>
                    </a:p>
                  </a:txBody>
                  <a:tcPr marL="9525" marR="9525" marT="9525" marB="0" anchor="b"/>
                </a:tc>
                <a:tc>
                  <a:txBody>
                    <a:bodyPr/>
                    <a:lstStyle/>
                    <a:p>
                      <a:pPr algn="r" fontAlgn="b"/>
                      <a:r>
                        <a:rPr lang="en-US" sz="1100" u="none" strike="noStrike">
                          <a:effectLst/>
                        </a:rPr>
                        <a:t>15</a:t>
                      </a:r>
                      <a:endParaRPr lang="en-US" sz="1100" b="0" i="0" u="none" strike="noStrike">
                        <a:solidFill>
                          <a:srgbClr val="000000"/>
                        </a:solidFill>
                        <a:effectLst/>
                        <a:latin typeface="Aptos Narrow" panose="020B0004020202020204" pitchFamily="34" charset="0"/>
                      </a:endParaRPr>
                    </a:p>
                  </a:txBody>
                  <a:tcPr marL="9525" marR="9525" marT="9525" marB="0" anchor="b"/>
                </a:tc>
                <a:tc>
                  <a:txBody>
                    <a:bodyPr/>
                    <a:lstStyle/>
                    <a:p>
                      <a:pPr algn="l" fontAlgn="b"/>
                      <a:r>
                        <a:rPr lang="en-US" sz="1100" u="none" strike="noStrike">
                          <a:effectLst/>
                        </a:rPr>
                        <a:t>P</a:t>
                      </a:r>
                      <a:endParaRPr lang="en-US" sz="1100" b="0" i="0" u="none" strike="noStrike">
                        <a:solidFill>
                          <a:srgbClr val="000000"/>
                        </a:solidFill>
                        <a:effectLst/>
                        <a:latin typeface="Aptos Narrow" panose="020B0004020202020204" pitchFamily="34" charset="0"/>
                      </a:endParaRPr>
                    </a:p>
                  </a:txBody>
                  <a:tcPr marL="9525" marR="9525" marT="9525" marB="0" anchor="b"/>
                </a:tc>
                <a:tc>
                  <a:txBody>
                    <a:bodyPr/>
                    <a:lstStyle/>
                    <a:p>
                      <a:pPr algn="l" fontAlgn="b"/>
                      <a:r>
                        <a:rPr lang="en-US" sz="1100" u="none" strike="noStrike">
                          <a:effectLst/>
                        </a:rPr>
                        <a:t>B</a:t>
                      </a:r>
                      <a:endParaRPr lang="en-US" sz="1100" b="0" i="0" u="none" strike="noStrike">
                        <a:solidFill>
                          <a:srgbClr val="000000"/>
                        </a:solidFill>
                        <a:effectLst/>
                        <a:latin typeface="Aptos Narrow" panose="020B0004020202020204" pitchFamily="34" charset="0"/>
                      </a:endParaRPr>
                    </a:p>
                  </a:txBody>
                  <a:tcPr marL="9525" marR="9525" marT="9525" marB="0" anchor="b"/>
                </a:tc>
                <a:extLst>
                  <a:ext uri="{0D108BD9-81ED-4DB2-BD59-A6C34878D82A}">
                    <a16:rowId xmlns:a16="http://schemas.microsoft.com/office/drawing/2014/main" val="418134150"/>
                  </a:ext>
                </a:extLst>
              </a:tr>
              <a:tr h="190500">
                <a:tc>
                  <a:txBody>
                    <a:bodyPr/>
                    <a:lstStyle/>
                    <a:p>
                      <a:pPr algn="l" fontAlgn="b"/>
                      <a:r>
                        <a:rPr lang="en-US" sz="1100" u="none" strike="noStrike">
                          <a:effectLst/>
                        </a:rPr>
                        <a:t>Tofersen P1/2*|</a:t>
                      </a:r>
                      <a:endParaRPr lang="en-US" sz="1100" b="0" i="0" u="none" strike="noStrike">
                        <a:solidFill>
                          <a:srgbClr val="000000"/>
                        </a:solidFill>
                        <a:effectLst/>
                        <a:latin typeface="Aptos Narrow" panose="020B0004020202020204" pitchFamily="34" charset="0"/>
                      </a:endParaRPr>
                    </a:p>
                  </a:txBody>
                  <a:tcPr marL="9525" marR="9525" marT="9525" marB="0" anchor="b"/>
                </a:tc>
                <a:tc>
                  <a:txBody>
                    <a:bodyPr/>
                    <a:lstStyle/>
                    <a:p>
                      <a:pPr algn="r" fontAlgn="b"/>
                      <a:r>
                        <a:rPr lang="en-US" sz="1100" u="none" strike="noStrike">
                          <a:effectLst/>
                        </a:rPr>
                        <a:t>4.3</a:t>
                      </a:r>
                      <a:endParaRPr lang="en-US" sz="1100" b="0" i="0" u="none" strike="noStrike">
                        <a:solidFill>
                          <a:srgbClr val="000000"/>
                        </a:solidFill>
                        <a:effectLst/>
                        <a:latin typeface="Aptos Narrow" panose="020B0004020202020204" pitchFamily="34" charset="0"/>
                      </a:endParaRPr>
                    </a:p>
                  </a:txBody>
                  <a:tcPr marL="9525" marR="9525" marT="9525" marB="0" anchor="b"/>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tc>
                <a:tc>
                  <a:txBody>
                    <a:bodyPr/>
                    <a:lstStyle/>
                    <a:p>
                      <a:pPr algn="l" fontAlgn="b"/>
                      <a:r>
                        <a:rPr lang="en-US" sz="1100" u="none" strike="noStrike">
                          <a:effectLst/>
                        </a:rPr>
                        <a:t>Log</a:t>
                      </a:r>
                      <a:endParaRPr lang="en-US" sz="1100" b="0" i="0" u="none" strike="noStrike">
                        <a:solidFill>
                          <a:srgbClr val="000000"/>
                        </a:solidFill>
                        <a:effectLst/>
                        <a:latin typeface="Aptos Narrow" panose="020B0004020202020204" pitchFamily="34" charset="0"/>
                      </a:endParaRPr>
                    </a:p>
                  </a:txBody>
                  <a:tcPr marL="9525" marR="9525" marT="9525" marB="0" anchor="b"/>
                </a:tc>
                <a:tc>
                  <a:txBody>
                    <a:bodyPr/>
                    <a:lstStyle/>
                    <a:p>
                      <a:pPr algn="r" fontAlgn="b"/>
                      <a:r>
                        <a:rPr lang="en-US" sz="1100" u="none" strike="noStrike">
                          <a:effectLst/>
                        </a:rPr>
                        <a:t>12</a:t>
                      </a:r>
                      <a:endParaRPr lang="en-US" sz="1100" b="0" i="0" u="none" strike="noStrike">
                        <a:solidFill>
                          <a:srgbClr val="000000"/>
                        </a:solidFill>
                        <a:effectLst/>
                        <a:latin typeface="Aptos Narrow" panose="020B0004020202020204" pitchFamily="34" charset="0"/>
                      </a:endParaRPr>
                    </a:p>
                  </a:txBody>
                  <a:tcPr marL="9525" marR="9525" marT="9525" marB="0" anchor="b"/>
                </a:tc>
                <a:tc>
                  <a:txBody>
                    <a:bodyPr/>
                    <a:lstStyle/>
                    <a:p>
                      <a:pPr algn="l" fontAlgn="b"/>
                      <a:r>
                        <a:rPr lang="en-US" sz="1100" u="none" strike="noStrike">
                          <a:effectLst/>
                        </a:rPr>
                        <a:t>P</a:t>
                      </a:r>
                      <a:endParaRPr lang="en-US" sz="1100" b="0" i="0" u="none" strike="noStrike">
                        <a:solidFill>
                          <a:srgbClr val="000000"/>
                        </a:solidFill>
                        <a:effectLst/>
                        <a:latin typeface="Aptos Narrow" panose="020B0004020202020204" pitchFamily="34" charset="0"/>
                      </a:endParaRPr>
                    </a:p>
                  </a:txBody>
                  <a:tcPr marL="9525" marR="9525" marT="9525" marB="0" anchor="b"/>
                </a:tc>
                <a:tc>
                  <a:txBody>
                    <a:bodyPr/>
                    <a:lstStyle/>
                    <a:p>
                      <a:pPr algn="l" fontAlgn="b"/>
                      <a:r>
                        <a:rPr lang="en-US" sz="1100" u="none" strike="noStrike">
                          <a:effectLst/>
                        </a:rPr>
                        <a:t>B</a:t>
                      </a:r>
                      <a:endParaRPr lang="en-US" sz="1100" b="0" i="0" u="none" strike="noStrike">
                        <a:solidFill>
                          <a:srgbClr val="000000"/>
                        </a:solidFill>
                        <a:effectLst/>
                        <a:latin typeface="Aptos Narrow" panose="020B0004020202020204" pitchFamily="34" charset="0"/>
                      </a:endParaRPr>
                    </a:p>
                  </a:txBody>
                  <a:tcPr marL="9525" marR="9525" marT="9525" marB="0" anchor="b"/>
                </a:tc>
                <a:extLst>
                  <a:ext uri="{0D108BD9-81ED-4DB2-BD59-A6C34878D82A}">
                    <a16:rowId xmlns:a16="http://schemas.microsoft.com/office/drawing/2014/main" val="1206805251"/>
                  </a:ext>
                </a:extLst>
              </a:tr>
              <a:tr h="190500">
                <a:tc>
                  <a:txBody>
                    <a:bodyPr/>
                    <a:lstStyle/>
                    <a:p>
                      <a:pPr algn="l" fontAlgn="b"/>
                      <a:r>
                        <a:rPr lang="en-US" sz="1100" u="none" strike="noStrike">
                          <a:effectLst/>
                        </a:rPr>
                        <a:t>Tofersen P2/3*</a:t>
                      </a:r>
                      <a:endParaRPr lang="en-US" sz="1100" b="0" i="0" u="none" strike="noStrike">
                        <a:solidFill>
                          <a:srgbClr val="000000"/>
                        </a:solidFill>
                        <a:effectLst/>
                        <a:latin typeface="Aptos Narrow" panose="020B0004020202020204" pitchFamily="34" charset="0"/>
                      </a:endParaRPr>
                    </a:p>
                  </a:txBody>
                  <a:tcPr marL="9525" marR="9525" marT="9525" marB="0" anchor="b"/>
                </a:tc>
                <a:tc>
                  <a:txBody>
                    <a:bodyPr/>
                    <a:lstStyle/>
                    <a:p>
                      <a:pPr algn="r" fontAlgn="b"/>
                      <a:r>
                        <a:rPr lang="en-US" sz="1100" u="none" strike="noStrike">
                          <a:effectLst/>
                        </a:rPr>
                        <a:t>146.2</a:t>
                      </a:r>
                      <a:endParaRPr lang="en-US" sz="1100" b="0" i="0" u="none" strike="noStrike">
                        <a:solidFill>
                          <a:srgbClr val="000000"/>
                        </a:solidFill>
                        <a:effectLst/>
                        <a:latin typeface="Aptos Narrow" panose="020B0004020202020204" pitchFamily="34" charset="0"/>
                      </a:endParaRPr>
                    </a:p>
                  </a:txBody>
                  <a:tcPr marL="9525" marR="9525" marT="9525" marB="0" anchor="b"/>
                </a:tc>
                <a:tc>
                  <a:txBody>
                    <a:bodyPr/>
                    <a:lstStyle/>
                    <a:p>
                      <a:pPr algn="r" fontAlgn="b"/>
                      <a:r>
                        <a:rPr lang="en-US" sz="1100" u="none" strike="noStrike">
                          <a:effectLst/>
                        </a:rPr>
                        <a:t>82.6</a:t>
                      </a:r>
                      <a:endParaRPr lang="en-US" sz="1100" b="0" i="0" u="none" strike="noStrike">
                        <a:solidFill>
                          <a:srgbClr val="000000"/>
                        </a:solidFill>
                        <a:effectLst/>
                        <a:latin typeface="Aptos Narrow" panose="020B0004020202020204" pitchFamily="34" charset="0"/>
                      </a:endParaRPr>
                    </a:p>
                  </a:txBody>
                  <a:tcPr marL="9525" marR="9525" marT="9525" marB="0" anchor="b"/>
                </a:tc>
                <a:tc>
                  <a:txBody>
                    <a:bodyPr/>
                    <a:lstStyle/>
                    <a:p>
                      <a:pPr algn="r" fontAlgn="b"/>
                      <a:r>
                        <a:rPr lang="en-US" sz="1100" u="none" strike="noStrike">
                          <a:effectLst/>
                        </a:rPr>
                        <a:t>121.8</a:t>
                      </a:r>
                      <a:endParaRPr lang="en-US" sz="1100" b="0" i="0" u="none" strike="noStrike">
                        <a:solidFill>
                          <a:srgbClr val="000000"/>
                        </a:solidFill>
                        <a:effectLst/>
                        <a:latin typeface="Aptos Narrow" panose="020B0004020202020204" pitchFamily="34" charset="0"/>
                      </a:endParaRPr>
                    </a:p>
                  </a:txBody>
                  <a:tcPr marL="9525" marR="9525" marT="9525" marB="0" anchor="b"/>
                </a:tc>
                <a:tc>
                  <a:txBody>
                    <a:bodyPr/>
                    <a:lstStyle/>
                    <a:p>
                      <a:pPr algn="r" fontAlgn="b"/>
                      <a:r>
                        <a:rPr lang="en-US" sz="1100" u="none" strike="noStrike">
                          <a:effectLst/>
                        </a:rPr>
                        <a:t>121.8</a:t>
                      </a:r>
                      <a:endParaRPr lang="en-US" sz="1100" b="0" i="0" u="none" strike="noStrike">
                        <a:solidFill>
                          <a:srgbClr val="000000"/>
                        </a:solidFill>
                        <a:effectLst/>
                        <a:latin typeface="Aptos Narrow" panose="020B0004020202020204" pitchFamily="34" charset="0"/>
                      </a:endParaRPr>
                    </a:p>
                  </a:txBody>
                  <a:tcPr marL="9525" marR="9525" marT="9525" marB="0" anchor="b"/>
                </a:tc>
                <a:tc>
                  <a:txBody>
                    <a:bodyPr/>
                    <a:lstStyle/>
                    <a:p>
                      <a:pPr algn="l" fontAlgn="b"/>
                      <a:r>
                        <a:rPr lang="en-US" sz="1100" u="none" strike="noStrike">
                          <a:effectLst/>
                        </a:rPr>
                        <a:t>Pg/ml</a:t>
                      </a:r>
                      <a:endParaRPr lang="en-US" sz="1100" b="0" i="0" u="none" strike="noStrike">
                        <a:solidFill>
                          <a:srgbClr val="000000"/>
                        </a:solidFill>
                        <a:effectLst/>
                        <a:latin typeface="Aptos Narrow" panose="020B0004020202020204" pitchFamily="34" charset="0"/>
                      </a:endParaRPr>
                    </a:p>
                  </a:txBody>
                  <a:tcPr marL="9525" marR="9525" marT="9525" marB="0" anchor="b"/>
                </a:tc>
                <a:tc>
                  <a:txBody>
                    <a:bodyPr/>
                    <a:lstStyle/>
                    <a:p>
                      <a:pPr algn="r" fontAlgn="b"/>
                      <a:r>
                        <a:rPr lang="en-US" sz="1100" u="none" strike="noStrike">
                          <a:effectLst/>
                        </a:rPr>
                        <a:t>39</a:t>
                      </a:r>
                      <a:endParaRPr lang="en-US" sz="1100" b="0" i="0" u="none" strike="noStrike">
                        <a:solidFill>
                          <a:srgbClr val="000000"/>
                        </a:solidFill>
                        <a:effectLst/>
                        <a:latin typeface="Aptos Narrow" panose="020B0004020202020204" pitchFamily="34" charset="0"/>
                      </a:endParaRPr>
                    </a:p>
                  </a:txBody>
                  <a:tcPr marL="9525" marR="9525" marT="9525" marB="0" anchor="b"/>
                </a:tc>
                <a:tc>
                  <a:txBody>
                    <a:bodyPr/>
                    <a:lstStyle/>
                    <a:p>
                      <a:pPr algn="l" fontAlgn="b"/>
                      <a:r>
                        <a:rPr lang="en-US" sz="1100" u="none" strike="noStrike">
                          <a:effectLst/>
                        </a:rPr>
                        <a:t>T</a:t>
                      </a:r>
                      <a:endParaRPr lang="en-US" sz="1100" b="0" i="0" u="none" strike="noStrike">
                        <a:solidFill>
                          <a:srgbClr val="000000"/>
                        </a:solidFill>
                        <a:effectLst/>
                        <a:latin typeface="Aptos Narrow" panose="020B0004020202020204" pitchFamily="34" charset="0"/>
                      </a:endParaRPr>
                    </a:p>
                  </a:txBody>
                  <a:tcPr marL="9525" marR="9525" marT="9525" marB="0" anchor="b"/>
                </a:tc>
                <a:tc>
                  <a:txBody>
                    <a:bodyPr/>
                    <a:lstStyle/>
                    <a:p>
                      <a:pPr algn="l" fontAlgn="b"/>
                      <a:r>
                        <a:rPr lang="en-US" sz="1100" u="none" strike="noStrike">
                          <a:effectLst/>
                        </a:rPr>
                        <a:t>B</a:t>
                      </a:r>
                      <a:endParaRPr lang="en-US" sz="1100" b="0" i="0" u="none" strike="noStrike">
                        <a:solidFill>
                          <a:srgbClr val="000000"/>
                        </a:solidFill>
                        <a:effectLst/>
                        <a:latin typeface="Aptos Narrow" panose="020B0004020202020204" pitchFamily="34" charset="0"/>
                      </a:endParaRPr>
                    </a:p>
                  </a:txBody>
                  <a:tcPr marL="9525" marR="9525" marT="9525" marB="0" anchor="b"/>
                </a:tc>
                <a:extLst>
                  <a:ext uri="{0D108BD9-81ED-4DB2-BD59-A6C34878D82A}">
                    <a16:rowId xmlns:a16="http://schemas.microsoft.com/office/drawing/2014/main" val="1497258528"/>
                  </a:ext>
                </a:extLst>
              </a:tr>
              <a:tr h="190500">
                <a:tc>
                  <a:txBody>
                    <a:bodyPr/>
                    <a:lstStyle/>
                    <a:p>
                      <a:pPr algn="l" fontAlgn="b"/>
                      <a:r>
                        <a:rPr lang="en-US" sz="1100" u="none" strike="noStrike">
                          <a:effectLst/>
                        </a:rPr>
                        <a:t>Tofersen P2/3*</a:t>
                      </a:r>
                      <a:endParaRPr lang="en-US" sz="1100" b="0" i="0" u="none" strike="noStrike">
                        <a:solidFill>
                          <a:srgbClr val="000000"/>
                        </a:solidFill>
                        <a:effectLst/>
                        <a:latin typeface="Aptos Narrow" panose="020B0004020202020204" pitchFamily="34" charset="0"/>
                      </a:endParaRPr>
                    </a:p>
                  </a:txBody>
                  <a:tcPr marL="9525" marR="9525" marT="9525" marB="0" anchor="b"/>
                </a:tc>
                <a:tc>
                  <a:txBody>
                    <a:bodyPr/>
                    <a:lstStyle/>
                    <a:p>
                      <a:pPr algn="r" fontAlgn="b"/>
                      <a:r>
                        <a:rPr lang="en-US" sz="1100" u="none" strike="noStrike">
                          <a:effectLst/>
                        </a:rPr>
                        <a:t>5</a:t>
                      </a:r>
                      <a:endParaRPr lang="en-US" sz="1100" b="0" i="0" u="none" strike="noStrike">
                        <a:solidFill>
                          <a:srgbClr val="000000"/>
                        </a:solidFill>
                        <a:effectLst/>
                        <a:latin typeface="Aptos Narrow" panose="020B0004020202020204" pitchFamily="34" charset="0"/>
                      </a:endParaRPr>
                    </a:p>
                  </a:txBody>
                  <a:tcPr marL="9525" marR="9525" marT="9525" marB="0" anchor="b"/>
                </a:tc>
                <a:tc>
                  <a:txBody>
                    <a:bodyPr/>
                    <a:lstStyle/>
                    <a:p>
                      <a:pPr algn="r" fontAlgn="b"/>
                      <a:r>
                        <a:rPr lang="en-US" sz="1100" u="none" strike="noStrike">
                          <a:effectLst/>
                        </a:rPr>
                        <a:t>0.06</a:t>
                      </a:r>
                      <a:endParaRPr lang="en-US" sz="1100" b="0" i="0" u="none" strike="noStrike">
                        <a:solidFill>
                          <a:srgbClr val="000000"/>
                        </a:solidFill>
                        <a:effectLst/>
                        <a:latin typeface="Aptos Narrow" panose="020B0004020202020204" pitchFamily="34" charset="0"/>
                      </a:endParaRPr>
                    </a:p>
                  </a:txBody>
                  <a:tcPr marL="9525" marR="9525" marT="9525" marB="0" anchor="b"/>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tc>
                <a:tc>
                  <a:txBody>
                    <a:bodyPr/>
                    <a:lstStyle/>
                    <a:p>
                      <a:pPr algn="l" fontAlgn="b"/>
                      <a:r>
                        <a:rPr lang="en-US" sz="1100" u="none" strike="noStrike">
                          <a:effectLst/>
                        </a:rPr>
                        <a:t>Log </a:t>
                      </a:r>
                      <a:endParaRPr lang="en-US" sz="1100" b="0" i="0" u="none" strike="noStrike">
                        <a:solidFill>
                          <a:srgbClr val="000000"/>
                        </a:solidFill>
                        <a:effectLst/>
                        <a:latin typeface="Aptos Narrow" panose="020B0004020202020204" pitchFamily="34" charset="0"/>
                      </a:endParaRPr>
                    </a:p>
                  </a:txBody>
                  <a:tcPr marL="9525" marR="9525" marT="9525" marB="0" anchor="b"/>
                </a:tc>
                <a:tc>
                  <a:txBody>
                    <a:bodyPr/>
                    <a:lstStyle/>
                    <a:p>
                      <a:pPr algn="r" fontAlgn="b"/>
                      <a:r>
                        <a:rPr lang="en-US" sz="1100" u="none" strike="noStrike">
                          <a:effectLst/>
                        </a:rPr>
                        <a:t>39</a:t>
                      </a:r>
                      <a:endParaRPr lang="en-US" sz="1100" b="0" i="0" u="none" strike="noStrike">
                        <a:solidFill>
                          <a:srgbClr val="000000"/>
                        </a:solidFill>
                        <a:effectLst/>
                        <a:latin typeface="Aptos Narrow" panose="020B0004020202020204" pitchFamily="34" charset="0"/>
                      </a:endParaRPr>
                    </a:p>
                  </a:txBody>
                  <a:tcPr marL="9525" marR="9525" marT="9525" marB="0" anchor="b"/>
                </a:tc>
                <a:tc>
                  <a:txBody>
                    <a:bodyPr/>
                    <a:lstStyle/>
                    <a:p>
                      <a:pPr algn="l" fontAlgn="b"/>
                      <a:r>
                        <a:rPr lang="en-US" sz="1100" u="none" strike="noStrike">
                          <a:effectLst/>
                        </a:rPr>
                        <a:t>T</a:t>
                      </a:r>
                      <a:endParaRPr lang="en-US" sz="1100" b="0" i="0" u="none" strike="noStrike">
                        <a:solidFill>
                          <a:srgbClr val="000000"/>
                        </a:solidFill>
                        <a:effectLst/>
                        <a:latin typeface="Aptos Narrow" panose="020B0004020202020204" pitchFamily="34" charset="0"/>
                      </a:endParaRPr>
                    </a:p>
                  </a:txBody>
                  <a:tcPr marL="9525" marR="9525" marT="9525" marB="0" anchor="b"/>
                </a:tc>
                <a:tc>
                  <a:txBody>
                    <a:bodyPr/>
                    <a:lstStyle/>
                    <a:p>
                      <a:pPr algn="l" fontAlgn="b"/>
                      <a:r>
                        <a:rPr lang="en-US" sz="1100" u="none" strike="noStrike">
                          <a:effectLst/>
                        </a:rPr>
                        <a:t>B</a:t>
                      </a:r>
                      <a:endParaRPr lang="en-US" sz="1100" b="0" i="0" u="none" strike="noStrike">
                        <a:solidFill>
                          <a:srgbClr val="000000"/>
                        </a:solidFill>
                        <a:effectLst/>
                        <a:latin typeface="Aptos Narrow" panose="020B0004020202020204" pitchFamily="34" charset="0"/>
                      </a:endParaRPr>
                    </a:p>
                  </a:txBody>
                  <a:tcPr marL="9525" marR="9525" marT="9525" marB="0" anchor="b"/>
                </a:tc>
                <a:extLst>
                  <a:ext uri="{0D108BD9-81ED-4DB2-BD59-A6C34878D82A}">
                    <a16:rowId xmlns:a16="http://schemas.microsoft.com/office/drawing/2014/main" val="1500235684"/>
                  </a:ext>
                </a:extLst>
              </a:tr>
              <a:tr h="190500">
                <a:tc>
                  <a:txBody>
                    <a:bodyPr/>
                    <a:lstStyle/>
                    <a:p>
                      <a:pPr algn="l" fontAlgn="b"/>
                      <a:r>
                        <a:rPr lang="en-US" sz="1100" u="none" strike="noStrike">
                          <a:effectLst/>
                        </a:rPr>
                        <a:t>Tofersen P2/3</a:t>
                      </a:r>
                      <a:endParaRPr lang="en-US" sz="1100" b="0" i="0" u="none" strike="noStrike">
                        <a:solidFill>
                          <a:srgbClr val="000000"/>
                        </a:solidFill>
                        <a:effectLst/>
                        <a:latin typeface="Aptos Narrow" panose="020B0004020202020204" pitchFamily="34" charset="0"/>
                      </a:endParaRPr>
                    </a:p>
                  </a:txBody>
                  <a:tcPr marL="9525" marR="9525" marT="9525" marB="0" anchor="b"/>
                </a:tc>
                <a:tc>
                  <a:txBody>
                    <a:bodyPr/>
                    <a:lstStyle/>
                    <a:p>
                      <a:pPr algn="r" fontAlgn="b"/>
                      <a:r>
                        <a:rPr lang="en-US" sz="1100" u="none" strike="noStrike">
                          <a:effectLst/>
                        </a:rPr>
                        <a:t>47.6</a:t>
                      </a:r>
                      <a:endParaRPr lang="en-US" sz="1100" b="0" i="0" u="none" strike="noStrike">
                        <a:solidFill>
                          <a:srgbClr val="000000"/>
                        </a:solidFill>
                        <a:effectLst/>
                        <a:latin typeface="Aptos Narrow" panose="020B0004020202020204" pitchFamily="34" charset="0"/>
                      </a:endParaRPr>
                    </a:p>
                  </a:txBody>
                  <a:tcPr marL="9525" marR="9525" marT="9525" marB="0" anchor="b"/>
                </a:tc>
                <a:tc>
                  <a:txBody>
                    <a:bodyPr/>
                    <a:lstStyle/>
                    <a:p>
                      <a:pPr algn="r" fontAlgn="b"/>
                      <a:r>
                        <a:rPr lang="en-US" sz="1100" u="none" strike="noStrike">
                          <a:effectLst/>
                        </a:rPr>
                        <a:t>41.8</a:t>
                      </a:r>
                      <a:endParaRPr lang="en-US" sz="1100" b="0" i="0" u="none" strike="noStrike">
                        <a:solidFill>
                          <a:srgbClr val="000000"/>
                        </a:solidFill>
                        <a:effectLst/>
                        <a:latin typeface="Aptos Narrow" panose="020B0004020202020204" pitchFamily="34" charset="0"/>
                      </a:endParaRPr>
                    </a:p>
                  </a:txBody>
                  <a:tcPr marL="9525" marR="9525" marT="9525" marB="0" anchor="b"/>
                </a:tc>
                <a:tc>
                  <a:txBody>
                    <a:bodyPr/>
                    <a:lstStyle/>
                    <a:p>
                      <a:pPr algn="r" fontAlgn="b"/>
                      <a:r>
                        <a:rPr lang="en-US" sz="1100" u="none" strike="noStrike">
                          <a:effectLst/>
                        </a:rPr>
                        <a:t>33.2</a:t>
                      </a:r>
                      <a:endParaRPr lang="en-US" sz="1100" b="0" i="0" u="none" strike="noStrike">
                        <a:solidFill>
                          <a:srgbClr val="000000"/>
                        </a:solidFill>
                        <a:effectLst/>
                        <a:latin typeface="Aptos Narrow" panose="020B0004020202020204" pitchFamily="34" charset="0"/>
                      </a:endParaRPr>
                    </a:p>
                  </a:txBody>
                  <a:tcPr marL="9525" marR="9525" marT="9525" marB="0" anchor="b"/>
                </a:tc>
                <a:tc>
                  <a:txBody>
                    <a:bodyPr/>
                    <a:lstStyle/>
                    <a:p>
                      <a:pPr algn="r" fontAlgn="b"/>
                      <a:r>
                        <a:rPr lang="en-US" sz="1100" u="none" strike="noStrike">
                          <a:effectLst/>
                        </a:rPr>
                        <a:t>33.2</a:t>
                      </a:r>
                      <a:endParaRPr lang="en-US" sz="1100" b="0" i="0" u="none" strike="noStrike">
                        <a:solidFill>
                          <a:srgbClr val="000000"/>
                        </a:solidFill>
                        <a:effectLst/>
                        <a:latin typeface="Aptos Narrow" panose="020B0004020202020204" pitchFamily="34" charset="0"/>
                      </a:endParaRPr>
                    </a:p>
                  </a:txBody>
                  <a:tcPr marL="9525" marR="9525" marT="9525" marB="0" anchor="b"/>
                </a:tc>
                <a:tc>
                  <a:txBody>
                    <a:bodyPr/>
                    <a:lstStyle/>
                    <a:p>
                      <a:pPr algn="l" fontAlgn="b"/>
                      <a:r>
                        <a:rPr lang="en-US" sz="1100" u="none" strike="noStrike">
                          <a:effectLst/>
                        </a:rPr>
                        <a:t>Pg/ml</a:t>
                      </a:r>
                      <a:endParaRPr lang="en-US" sz="1100" b="0" i="0" u="none" strike="noStrike">
                        <a:solidFill>
                          <a:srgbClr val="000000"/>
                        </a:solidFill>
                        <a:effectLst/>
                        <a:latin typeface="Aptos Narrow" panose="020B0004020202020204" pitchFamily="34" charset="0"/>
                      </a:endParaRPr>
                    </a:p>
                  </a:txBody>
                  <a:tcPr marL="9525" marR="9525" marT="9525" marB="0" anchor="b"/>
                </a:tc>
                <a:tc>
                  <a:txBody>
                    <a:bodyPr/>
                    <a:lstStyle/>
                    <a:p>
                      <a:pPr algn="r" fontAlgn="b"/>
                      <a:r>
                        <a:rPr lang="en-US" sz="1100" u="none" strike="noStrike">
                          <a:effectLst/>
                        </a:rPr>
                        <a:t>33</a:t>
                      </a:r>
                      <a:endParaRPr lang="en-US" sz="1100" b="0" i="0" u="none" strike="noStrike">
                        <a:solidFill>
                          <a:srgbClr val="000000"/>
                        </a:solidFill>
                        <a:effectLst/>
                        <a:latin typeface="Aptos Narrow" panose="020B0004020202020204" pitchFamily="34" charset="0"/>
                      </a:endParaRPr>
                    </a:p>
                  </a:txBody>
                  <a:tcPr marL="9525" marR="9525" marT="9525" marB="0" anchor="b"/>
                </a:tc>
                <a:tc>
                  <a:txBody>
                    <a:bodyPr/>
                    <a:lstStyle/>
                    <a:p>
                      <a:pPr algn="l" fontAlgn="b"/>
                      <a:r>
                        <a:rPr lang="en-US" sz="1100" u="none" strike="noStrike">
                          <a:effectLst/>
                        </a:rPr>
                        <a:t>T</a:t>
                      </a:r>
                      <a:endParaRPr lang="en-US" sz="1100" b="0" i="0" u="none" strike="noStrike">
                        <a:solidFill>
                          <a:srgbClr val="000000"/>
                        </a:solidFill>
                        <a:effectLst/>
                        <a:latin typeface="Aptos Narrow" panose="020B0004020202020204" pitchFamily="34" charset="0"/>
                      </a:endParaRPr>
                    </a:p>
                  </a:txBody>
                  <a:tcPr marL="9525" marR="9525" marT="9525" marB="0" anchor="b"/>
                </a:tc>
                <a:tc>
                  <a:txBody>
                    <a:bodyPr/>
                    <a:lstStyle/>
                    <a:p>
                      <a:pPr algn="l" fontAlgn="b"/>
                      <a:r>
                        <a:rPr lang="en-US" sz="1100" u="none" strike="noStrike">
                          <a:effectLst/>
                        </a:rPr>
                        <a:t>B</a:t>
                      </a:r>
                      <a:endParaRPr lang="en-US" sz="1100" b="0" i="0" u="none" strike="noStrike">
                        <a:solidFill>
                          <a:srgbClr val="000000"/>
                        </a:solidFill>
                        <a:effectLst/>
                        <a:latin typeface="Aptos Narrow" panose="020B0004020202020204" pitchFamily="34" charset="0"/>
                      </a:endParaRPr>
                    </a:p>
                  </a:txBody>
                  <a:tcPr marL="9525" marR="9525" marT="9525" marB="0" anchor="b"/>
                </a:tc>
                <a:extLst>
                  <a:ext uri="{0D108BD9-81ED-4DB2-BD59-A6C34878D82A}">
                    <a16:rowId xmlns:a16="http://schemas.microsoft.com/office/drawing/2014/main" val="3526804655"/>
                  </a:ext>
                </a:extLst>
              </a:tr>
              <a:tr h="190500">
                <a:tc>
                  <a:txBody>
                    <a:bodyPr/>
                    <a:lstStyle/>
                    <a:p>
                      <a:pPr algn="l" fontAlgn="b"/>
                      <a:r>
                        <a:rPr lang="en-US" sz="1100" u="none" strike="noStrike">
                          <a:effectLst/>
                        </a:rPr>
                        <a:t>Tofersen P2/3</a:t>
                      </a:r>
                      <a:endParaRPr lang="en-US" sz="1100" b="0" i="0" u="none" strike="noStrike">
                        <a:solidFill>
                          <a:srgbClr val="000000"/>
                        </a:solidFill>
                        <a:effectLst/>
                        <a:latin typeface="Aptos Narrow" panose="020B0004020202020204" pitchFamily="34" charset="0"/>
                      </a:endParaRPr>
                    </a:p>
                  </a:txBody>
                  <a:tcPr marL="9525" marR="9525" marT="9525" marB="0" anchor="b"/>
                </a:tc>
                <a:tc>
                  <a:txBody>
                    <a:bodyPr/>
                    <a:lstStyle/>
                    <a:p>
                      <a:pPr algn="r" fontAlgn="b"/>
                      <a:r>
                        <a:rPr lang="en-US" sz="1100" u="none" strike="noStrike">
                          <a:effectLst/>
                        </a:rPr>
                        <a:t>3.9</a:t>
                      </a:r>
                      <a:endParaRPr lang="en-US" sz="1100" b="0" i="0" u="none" strike="noStrike">
                        <a:solidFill>
                          <a:srgbClr val="000000"/>
                        </a:solidFill>
                        <a:effectLst/>
                        <a:latin typeface="Aptos Narrow" panose="020B0004020202020204" pitchFamily="34" charset="0"/>
                      </a:endParaRPr>
                    </a:p>
                  </a:txBody>
                  <a:tcPr marL="9525" marR="9525" marT="9525" marB="0" anchor="b"/>
                </a:tc>
                <a:tc>
                  <a:txBody>
                    <a:bodyPr/>
                    <a:lstStyle/>
                    <a:p>
                      <a:pPr algn="r" fontAlgn="b"/>
                      <a:r>
                        <a:rPr lang="en-US" sz="1100" u="none" strike="noStrike">
                          <a:effectLst/>
                        </a:rPr>
                        <a:t>0.14</a:t>
                      </a:r>
                      <a:endParaRPr lang="en-US" sz="1100" b="0" i="0" u="none" strike="noStrike">
                        <a:solidFill>
                          <a:srgbClr val="000000"/>
                        </a:solidFill>
                        <a:effectLst/>
                        <a:latin typeface="Aptos Narrow" panose="020B0004020202020204" pitchFamily="34" charset="0"/>
                      </a:endParaRPr>
                    </a:p>
                  </a:txBody>
                  <a:tcPr marL="9525" marR="9525" marT="9525" marB="0" anchor="b"/>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tc>
                <a:tc>
                  <a:txBody>
                    <a:bodyPr/>
                    <a:lstStyle/>
                    <a:p>
                      <a:pPr algn="l" fontAlgn="b"/>
                      <a:r>
                        <a:rPr lang="en-US" sz="1100" u="none" strike="noStrike">
                          <a:effectLst/>
                        </a:rPr>
                        <a:t>Log</a:t>
                      </a:r>
                      <a:endParaRPr lang="en-US" sz="1100" b="0" i="0" u="none" strike="noStrike">
                        <a:solidFill>
                          <a:srgbClr val="000000"/>
                        </a:solidFill>
                        <a:effectLst/>
                        <a:latin typeface="Aptos Narrow" panose="020B0004020202020204" pitchFamily="34" charset="0"/>
                      </a:endParaRPr>
                    </a:p>
                  </a:txBody>
                  <a:tcPr marL="9525" marR="9525" marT="9525" marB="0" anchor="b"/>
                </a:tc>
                <a:tc>
                  <a:txBody>
                    <a:bodyPr/>
                    <a:lstStyle/>
                    <a:p>
                      <a:pPr algn="r" fontAlgn="b"/>
                      <a:r>
                        <a:rPr lang="en-US" sz="1100" u="none" strike="noStrike">
                          <a:effectLst/>
                        </a:rPr>
                        <a:t>33</a:t>
                      </a:r>
                      <a:endParaRPr lang="en-US" sz="1100" b="0" i="0" u="none" strike="noStrike">
                        <a:solidFill>
                          <a:srgbClr val="000000"/>
                        </a:solidFill>
                        <a:effectLst/>
                        <a:latin typeface="Aptos Narrow" panose="020B0004020202020204" pitchFamily="34" charset="0"/>
                      </a:endParaRPr>
                    </a:p>
                  </a:txBody>
                  <a:tcPr marL="9525" marR="9525" marT="9525" marB="0" anchor="b"/>
                </a:tc>
                <a:tc>
                  <a:txBody>
                    <a:bodyPr/>
                    <a:lstStyle/>
                    <a:p>
                      <a:pPr algn="l" fontAlgn="b"/>
                      <a:r>
                        <a:rPr lang="en-US" sz="1100" u="none" strike="noStrike">
                          <a:effectLst/>
                        </a:rPr>
                        <a:t>T</a:t>
                      </a:r>
                      <a:endParaRPr lang="en-US" sz="1100" b="0" i="0" u="none" strike="noStrike">
                        <a:solidFill>
                          <a:srgbClr val="000000"/>
                        </a:solidFill>
                        <a:effectLst/>
                        <a:latin typeface="Aptos Narrow" panose="020B0004020202020204" pitchFamily="34" charset="0"/>
                      </a:endParaRPr>
                    </a:p>
                  </a:txBody>
                  <a:tcPr marL="9525" marR="9525" marT="9525" marB="0" anchor="b"/>
                </a:tc>
                <a:tc>
                  <a:txBody>
                    <a:bodyPr/>
                    <a:lstStyle/>
                    <a:p>
                      <a:pPr algn="l" fontAlgn="b"/>
                      <a:r>
                        <a:rPr lang="en-US" sz="1100" u="none" strike="noStrike">
                          <a:effectLst/>
                        </a:rPr>
                        <a:t>B</a:t>
                      </a:r>
                      <a:endParaRPr lang="en-US" sz="1100" b="0" i="0" u="none" strike="noStrike">
                        <a:solidFill>
                          <a:srgbClr val="000000"/>
                        </a:solidFill>
                        <a:effectLst/>
                        <a:latin typeface="Aptos Narrow" panose="020B0004020202020204" pitchFamily="34" charset="0"/>
                      </a:endParaRPr>
                    </a:p>
                  </a:txBody>
                  <a:tcPr marL="9525" marR="9525" marT="9525" marB="0" anchor="b"/>
                </a:tc>
                <a:extLst>
                  <a:ext uri="{0D108BD9-81ED-4DB2-BD59-A6C34878D82A}">
                    <a16:rowId xmlns:a16="http://schemas.microsoft.com/office/drawing/2014/main" val="2853575526"/>
                  </a:ext>
                </a:extLst>
              </a:tr>
            </a:tbl>
          </a:graphicData>
        </a:graphic>
      </p:graphicFrame>
    </p:spTree>
    <p:extLst>
      <p:ext uri="{BB962C8B-B14F-4D97-AF65-F5344CB8AC3E}">
        <p14:creationId xmlns:p14="http://schemas.microsoft.com/office/powerpoint/2010/main" val="9571524"/>
      </p:ext>
    </p:extLst>
  </p:cSld>
  <p:clrMapOvr>
    <a:masterClrMapping/>
  </p:clrMapOvr>
  <p:transition spd="slow">
    <p:push dir="u"/>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25E1CF4-4269-90EA-1AB7-00F37F4903C1}"/>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A7415CC4-9F2E-22FF-1837-E3FC0CB127DF}"/>
              </a:ext>
            </a:extLst>
          </p:cNvPr>
          <p:cNvSpPr>
            <a:spLocks noGrp="1"/>
          </p:cNvSpPr>
          <p:nvPr>
            <p:ph type="body" sz="quarter" idx="15"/>
          </p:nvPr>
        </p:nvSpPr>
        <p:spPr/>
        <p:txBody>
          <a:bodyPr/>
          <a:lstStyle/>
          <a:p>
            <a:endParaRPr lang="en-US">
              <a:solidFill>
                <a:srgbClr val="000000"/>
              </a:solidFill>
            </a:endParaRPr>
          </a:p>
          <a:p>
            <a:endParaRPr lang="en-US">
              <a:solidFill>
                <a:srgbClr val="000000"/>
              </a:solidFill>
            </a:endParaRPr>
          </a:p>
          <a:p>
            <a:endParaRPr lang="en-US">
              <a:solidFill>
                <a:srgbClr val="000000"/>
              </a:solidFill>
            </a:endParaRPr>
          </a:p>
          <a:p>
            <a:endParaRPr lang="en-US"/>
          </a:p>
        </p:txBody>
      </p:sp>
      <p:sp>
        <p:nvSpPr>
          <p:cNvPr id="3" name="Footer Placeholder 2">
            <a:extLst>
              <a:ext uri="{FF2B5EF4-FFF2-40B4-BE49-F238E27FC236}">
                <a16:creationId xmlns:a16="http://schemas.microsoft.com/office/drawing/2014/main" id="{CF7EB709-EDBB-00C8-7060-B9146CEBF12A}"/>
              </a:ext>
            </a:extLst>
          </p:cNvPr>
          <p:cNvSpPr>
            <a:spLocks noGrp="1"/>
          </p:cNvSpPr>
          <p:nvPr>
            <p:ph type="ftr" sz="quarter" idx="3"/>
          </p:nvPr>
        </p:nvSpPr>
        <p:spPr/>
        <p:txBody>
          <a:bodyPr/>
          <a:lstStyle/>
          <a:p>
            <a:r>
              <a:rPr lang="en-JP"/>
              <a:t> </a:t>
            </a:r>
          </a:p>
        </p:txBody>
      </p:sp>
      <p:sp>
        <p:nvSpPr>
          <p:cNvPr id="4" name="Title 3">
            <a:extLst>
              <a:ext uri="{FF2B5EF4-FFF2-40B4-BE49-F238E27FC236}">
                <a16:creationId xmlns:a16="http://schemas.microsoft.com/office/drawing/2014/main" id="{CF987B95-8208-A6FB-3A7A-F56CEEB3057A}"/>
              </a:ext>
            </a:extLst>
          </p:cNvPr>
          <p:cNvSpPr>
            <a:spLocks noGrp="1"/>
          </p:cNvSpPr>
          <p:nvPr>
            <p:ph type="title"/>
          </p:nvPr>
        </p:nvSpPr>
        <p:spPr/>
        <p:txBody>
          <a:bodyPr/>
          <a:lstStyle/>
          <a:p>
            <a:r>
              <a:rPr lang="en-US" err="1"/>
              <a:t>Tofersen</a:t>
            </a:r>
            <a:r>
              <a:rPr lang="en-US"/>
              <a:t> Phase 2/3 SAP</a:t>
            </a:r>
          </a:p>
        </p:txBody>
      </p:sp>
      <p:sp>
        <p:nvSpPr>
          <p:cNvPr id="5" name="Slide Number Placeholder 4">
            <a:extLst>
              <a:ext uri="{FF2B5EF4-FFF2-40B4-BE49-F238E27FC236}">
                <a16:creationId xmlns:a16="http://schemas.microsoft.com/office/drawing/2014/main" id="{3CB6832C-04F8-AD05-A2C8-66699AF2C0A5}"/>
              </a:ext>
            </a:extLst>
          </p:cNvPr>
          <p:cNvSpPr>
            <a:spLocks noGrp="1"/>
          </p:cNvSpPr>
          <p:nvPr>
            <p:ph type="sldNum" sz="quarter" idx="4"/>
          </p:nvPr>
        </p:nvSpPr>
        <p:spPr/>
        <p:txBody>
          <a:bodyPr/>
          <a:lstStyle/>
          <a:p>
            <a:pPr defTabSz="1218810"/>
            <a:fld id="{E9B57936-92EF-4126-AE48-1D9D36D15E98}" type="slidenum">
              <a:rPr lang="ja-JP" altLang="en-US" smtClean="0"/>
              <a:pPr defTabSz="1218810"/>
              <a:t>15</a:t>
            </a:fld>
            <a:endParaRPr lang="ja-JP" altLang="en-US"/>
          </a:p>
        </p:txBody>
      </p:sp>
      <p:sp>
        <p:nvSpPr>
          <p:cNvPr id="6" name="Text Placeholder 5">
            <a:extLst>
              <a:ext uri="{FF2B5EF4-FFF2-40B4-BE49-F238E27FC236}">
                <a16:creationId xmlns:a16="http://schemas.microsoft.com/office/drawing/2014/main" id="{298DDCFE-567F-A90B-3074-EB4DAE0148E4}"/>
              </a:ext>
            </a:extLst>
          </p:cNvPr>
          <p:cNvSpPr>
            <a:spLocks noGrp="1"/>
          </p:cNvSpPr>
          <p:nvPr>
            <p:ph type="body" sz="quarter" idx="16"/>
          </p:nvPr>
        </p:nvSpPr>
        <p:spPr/>
        <p:txBody>
          <a:bodyPr/>
          <a:lstStyle/>
          <a:p>
            <a:endParaRPr lang="en-US"/>
          </a:p>
        </p:txBody>
      </p:sp>
      <p:sp>
        <p:nvSpPr>
          <p:cNvPr id="7" name="TextBox 6">
            <a:extLst>
              <a:ext uri="{FF2B5EF4-FFF2-40B4-BE49-F238E27FC236}">
                <a16:creationId xmlns:a16="http://schemas.microsoft.com/office/drawing/2014/main" id="{BFA22077-C935-1A46-51DD-31281EE8D387}"/>
              </a:ext>
            </a:extLst>
          </p:cNvPr>
          <p:cNvSpPr txBox="1"/>
          <p:nvPr/>
        </p:nvSpPr>
        <p:spPr>
          <a:xfrm>
            <a:off x="606078" y="1233488"/>
            <a:ext cx="10206466" cy="5632311"/>
          </a:xfrm>
          <a:prstGeom prst="rect">
            <a:avLst/>
          </a:prstGeom>
          <a:noFill/>
        </p:spPr>
        <p:txBody>
          <a:bodyPr wrap="square" rtlCol="0">
            <a:spAutoFit/>
          </a:bodyPr>
          <a:lstStyle/>
          <a:p>
            <a:r>
              <a:rPr lang="en-US"/>
              <a:t>The joint rank test used in the VALOR trial is summarized as follows:</a:t>
            </a:r>
          </a:p>
          <a:p>
            <a:pPr>
              <a:buFont typeface="Arial" panose="020B0604020202020204" pitchFamily="34" charset="0"/>
              <a:buChar char="•"/>
            </a:pPr>
            <a:r>
              <a:rPr lang="en-US" b="1"/>
              <a:t>Purpose</a:t>
            </a:r>
            <a:r>
              <a:rPr lang="en-US"/>
              <a:t>: To account for both functional decline and survival in the analysis of the change in the ALS Functional Rating Scale-Revised (ALSFRS-R) score.</a:t>
            </a:r>
          </a:p>
          <a:p>
            <a:pPr>
              <a:buFont typeface="Arial" panose="020B0604020202020204" pitchFamily="34" charset="0"/>
              <a:buChar char="•"/>
            </a:pPr>
            <a:r>
              <a:rPr lang="en-US" b="1"/>
              <a:t>Method</a:t>
            </a:r>
            <a:r>
              <a:rPr lang="en-US"/>
              <a:t>: </a:t>
            </a:r>
          </a:p>
          <a:p>
            <a:pPr marL="742950" lvl="1" indent="-285750">
              <a:buFont typeface="Arial" panose="020B0604020202020204" pitchFamily="34" charset="0"/>
              <a:buChar char="•"/>
            </a:pPr>
            <a:r>
              <a:rPr lang="en-US"/>
              <a:t>Each participant's change in ALSFRS-R score from baseline to week 28 is compared with that of every other participant.</a:t>
            </a:r>
          </a:p>
          <a:p>
            <a:pPr marL="742950" lvl="1" indent="-285750">
              <a:buFont typeface="Arial" panose="020B0604020202020204" pitchFamily="34" charset="0"/>
              <a:buChar char="•"/>
            </a:pPr>
            <a:r>
              <a:rPr lang="en-US"/>
              <a:t>Participants receive a score of 1 if their outcome is better, -1 if worse, and 0 if the same as the participant being compared.</a:t>
            </a:r>
          </a:p>
          <a:p>
            <a:pPr marL="742950" lvl="1" indent="-285750">
              <a:buFont typeface="Arial" panose="020B0604020202020204" pitchFamily="34" charset="0"/>
              <a:buChar char="•"/>
            </a:pPr>
            <a:r>
              <a:rPr lang="en-US"/>
              <a:t>Participants who died are ranked lowest based on their time to death, with progressively lower ranks given to those who died sooner after the first dose.</a:t>
            </a:r>
          </a:p>
          <a:p>
            <a:pPr>
              <a:buFont typeface="Arial" panose="020B0604020202020204" pitchFamily="34" charset="0"/>
              <a:buChar char="•"/>
            </a:pPr>
            <a:r>
              <a:rPr lang="en-US" b="1"/>
              <a:t>Analysis</a:t>
            </a:r>
            <a:r>
              <a:rPr lang="en-US"/>
              <a:t>: </a:t>
            </a:r>
          </a:p>
          <a:p>
            <a:pPr marL="742950" lvl="1" indent="-285750">
              <a:buFont typeface="Arial" panose="020B0604020202020204" pitchFamily="34" charset="0"/>
              <a:buChar char="•"/>
            </a:pPr>
            <a:r>
              <a:rPr lang="en-US"/>
              <a:t>The </a:t>
            </a:r>
            <a:r>
              <a:rPr lang="en-US" b="1"/>
              <a:t>sum of individual scores </a:t>
            </a:r>
            <a:r>
              <a:rPr lang="en-US"/>
              <a:t>for each participant (ranked score) is assessed using analysis of covariance (ANCOVA).</a:t>
            </a:r>
          </a:p>
          <a:p>
            <a:pPr marL="742950" lvl="1" indent="-285750">
              <a:buFont typeface="Arial" panose="020B0604020202020204" pitchFamily="34" charset="0"/>
              <a:buChar char="•"/>
            </a:pPr>
            <a:r>
              <a:rPr lang="en-US"/>
              <a:t>The ANCOVA model includes the trial group as a fixed effect and adjusts for covariates such as baseline disease duration, baseline ALSFRS-R score, and use of </a:t>
            </a:r>
            <a:r>
              <a:rPr lang="en-US" err="1"/>
              <a:t>riluzole</a:t>
            </a:r>
            <a:r>
              <a:rPr lang="en-US"/>
              <a:t> or </a:t>
            </a:r>
            <a:r>
              <a:rPr lang="en-US" err="1"/>
              <a:t>edaravone</a:t>
            </a:r>
            <a:r>
              <a:rPr lang="en-US"/>
              <a:t>.</a:t>
            </a:r>
          </a:p>
          <a:p>
            <a:pPr marL="742950" lvl="1" indent="-285750">
              <a:buFont typeface="Arial" panose="020B0604020202020204" pitchFamily="34" charset="0"/>
              <a:buChar char="•"/>
            </a:pPr>
            <a:r>
              <a:rPr lang="en-US"/>
              <a:t>Multiple imputation is used to account for missing data due to withdrawals not accounted for by death.</a:t>
            </a:r>
          </a:p>
          <a:p>
            <a:r>
              <a:rPr lang="en-US"/>
              <a:t>The joint rank test allows for a statistical test of the treatment effect while considering the truncation of data due to deaths.-</a:t>
            </a:r>
          </a:p>
          <a:p>
            <a:pPr marL="285750" indent="-285750" algn="l">
              <a:buFont typeface="Arial" panose="020B0604020202020204" pitchFamily="34" charset="0"/>
              <a:buChar char="•"/>
            </a:pPr>
            <a:endParaRPr lang="en-US">
              <a:solidFill>
                <a:srgbClr val="242424"/>
              </a:solidFill>
              <a:latin typeface="Segoe UI" panose="020B0502040204020203" pitchFamily="34" charset="0"/>
            </a:endParaRPr>
          </a:p>
        </p:txBody>
      </p:sp>
    </p:spTree>
    <p:extLst>
      <p:ext uri="{BB962C8B-B14F-4D97-AF65-F5344CB8AC3E}">
        <p14:creationId xmlns:p14="http://schemas.microsoft.com/office/powerpoint/2010/main" val="651234619"/>
      </p:ext>
    </p:extLst>
  </p:cSld>
  <p:clrMapOvr>
    <a:masterClrMapping/>
  </p:clrMapOvr>
  <p:transition spd="slow">
    <p:push dir="u"/>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9D3145D-AAAA-4762-60DB-B314BA42ED57}"/>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05091B2F-5AAC-BD9A-29B7-B862E630D915}"/>
              </a:ext>
            </a:extLst>
          </p:cNvPr>
          <p:cNvSpPr>
            <a:spLocks noGrp="1"/>
          </p:cNvSpPr>
          <p:nvPr>
            <p:ph type="body" sz="quarter" idx="15"/>
          </p:nvPr>
        </p:nvSpPr>
        <p:spPr/>
        <p:txBody>
          <a:bodyPr/>
          <a:lstStyle/>
          <a:p>
            <a:endParaRPr lang="en-US">
              <a:solidFill>
                <a:srgbClr val="000000"/>
              </a:solidFill>
            </a:endParaRPr>
          </a:p>
          <a:p>
            <a:endParaRPr lang="en-US">
              <a:solidFill>
                <a:srgbClr val="000000"/>
              </a:solidFill>
            </a:endParaRPr>
          </a:p>
          <a:p>
            <a:endParaRPr lang="en-US">
              <a:solidFill>
                <a:srgbClr val="000000"/>
              </a:solidFill>
            </a:endParaRPr>
          </a:p>
          <a:p>
            <a:endParaRPr lang="en-US"/>
          </a:p>
        </p:txBody>
      </p:sp>
      <p:sp>
        <p:nvSpPr>
          <p:cNvPr id="3" name="Footer Placeholder 2">
            <a:extLst>
              <a:ext uri="{FF2B5EF4-FFF2-40B4-BE49-F238E27FC236}">
                <a16:creationId xmlns:a16="http://schemas.microsoft.com/office/drawing/2014/main" id="{53E5C400-CA1B-108F-703E-9B9501220DFD}"/>
              </a:ext>
            </a:extLst>
          </p:cNvPr>
          <p:cNvSpPr>
            <a:spLocks noGrp="1"/>
          </p:cNvSpPr>
          <p:nvPr>
            <p:ph type="ftr" sz="quarter" idx="3"/>
          </p:nvPr>
        </p:nvSpPr>
        <p:spPr/>
        <p:txBody>
          <a:bodyPr/>
          <a:lstStyle/>
          <a:p>
            <a:r>
              <a:rPr lang="en-JP"/>
              <a:t> </a:t>
            </a:r>
          </a:p>
        </p:txBody>
      </p:sp>
      <p:sp>
        <p:nvSpPr>
          <p:cNvPr id="4" name="Title 3">
            <a:extLst>
              <a:ext uri="{FF2B5EF4-FFF2-40B4-BE49-F238E27FC236}">
                <a16:creationId xmlns:a16="http://schemas.microsoft.com/office/drawing/2014/main" id="{721E98BC-3A02-5181-FB84-7411CD7F2C41}"/>
              </a:ext>
            </a:extLst>
          </p:cNvPr>
          <p:cNvSpPr>
            <a:spLocks noGrp="1"/>
          </p:cNvSpPr>
          <p:nvPr>
            <p:ph type="title"/>
          </p:nvPr>
        </p:nvSpPr>
        <p:spPr/>
        <p:txBody>
          <a:bodyPr/>
          <a:lstStyle/>
          <a:p>
            <a:r>
              <a:rPr lang="en-US" err="1"/>
              <a:t>Tofersen</a:t>
            </a:r>
            <a:r>
              <a:rPr lang="en-US"/>
              <a:t> Phase 2/3 Sample size calculation</a:t>
            </a:r>
          </a:p>
        </p:txBody>
      </p:sp>
      <p:sp>
        <p:nvSpPr>
          <p:cNvPr id="5" name="Slide Number Placeholder 4">
            <a:extLst>
              <a:ext uri="{FF2B5EF4-FFF2-40B4-BE49-F238E27FC236}">
                <a16:creationId xmlns:a16="http://schemas.microsoft.com/office/drawing/2014/main" id="{3CF21E3A-936D-93E0-E120-6EFF4048CCF3}"/>
              </a:ext>
            </a:extLst>
          </p:cNvPr>
          <p:cNvSpPr>
            <a:spLocks noGrp="1"/>
          </p:cNvSpPr>
          <p:nvPr>
            <p:ph type="sldNum" sz="quarter" idx="4"/>
          </p:nvPr>
        </p:nvSpPr>
        <p:spPr/>
        <p:txBody>
          <a:bodyPr/>
          <a:lstStyle/>
          <a:p>
            <a:pPr defTabSz="1218810"/>
            <a:fld id="{E9B57936-92EF-4126-AE48-1D9D36D15E98}" type="slidenum">
              <a:rPr lang="ja-JP" altLang="en-US" smtClean="0"/>
              <a:pPr defTabSz="1218810"/>
              <a:t>16</a:t>
            </a:fld>
            <a:endParaRPr lang="ja-JP" altLang="en-US"/>
          </a:p>
        </p:txBody>
      </p:sp>
      <p:sp>
        <p:nvSpPr>
          <p:cNvPr id="6" name="Text Placeholder 5">
            <a:extLst>
              <a:ext uri="{FF2B5EF4-FFF2-40B4-BE49-F238E27FC236}">
                <a16:creationId xmlns:a16="http://schemas.microsoft.com/office/drawing/2014/main" id="{89E19661-40BC-11B9-0E8F-76B974A24A40}"/>
              </a:ext>
            </a:extLst>
          </p:cNvPr>
          <p:cNvSpPr>
            <a:spLocks noGrp="1"/>
          </p:cNvSpPr>
          <p:nvPr>
            <p:ph type="body" sz="quarter" idx="16"/>
          </p:nvPr>
        </p:nvSpPr>
        <p:spPr/>
        <p:txBody>
          <a:bodyPr/>
          <a:lstStyle/>
          <a:p>
            <a:endParaRPr lang="en-US"/>
          </a:p>
        </p:txBody>
      </p:sp>
      <p:sp>
        <p:nvSpPr>
          <p:cNvPr id="7" name="TextBox 6">
            <a:extLst>
              <a:ext uri="{FF2B5EF4-FFF2-40B4-BE49-F238E27FC236}">
                <a16:creationId xmlns:a16="http://schemas.microsoft.com/office/drawing/2014/main" id="{4C9FB969-4A77-A20C-1B08-9A4C5F582C72}"/>
              </a:ext>
            </a:extLst>
          </p:cNvPr>
          <p:cNvSpPr txBox="1"/>
          <p:nvPr/>
        </p:nvSpPr>
        <p:spPr>
          <a:xfrm>
            <a:off x="606078" y="1233488"/>
            <a:ext cx="10206466" cy="3970318"/>
          </a:xfrm>
          <a:prstGeom prst="rect">
            <a:avLst/>
          </a:prstGeom>
          <a:noFill/>
        </p:spPr>
        <p:txBody>
          <a:bodyPr wrap="square" rtlCol="0">
            <a:spAutoFit/>
          </a:bodyPr>
          <a:lstStyle/>
          <a:p>
            <a:pPr marL="285750" indent="-285750" algn="l">
              <a:buFont typeface="Arial" panose="020B0604020202020204" pitchFamily="34" charset="0"/>
              <a:buChar char="•"/>
            </a:pPr>
            <a:r>
              <a:rPr lang="en-US" b="1" i="0" dirty="0">
                <a:solidFill>
                  <a:srgbClr val="616161"/>
                </a:solidFill>
                <a:effectLst/>
                <a:latin typeface="Segoe UI" panose="020B0502040204020203" pitchFamily="34" charset="0"/>
              </a:rPr>
              <a:t>Sample Size</a:t>
            </a:r>
            <a:r>
              <a:rPr lang="en-US" b="0" i="0" dirty="0">
                <a:solidFill>
                  <a:srgbClr val="616161"/>
                </a:solidFill>
                <a:effectLst/>
                <a:latin typeface="Segoe UI" panose="020B0502040204020203" pitchFamily="34" charset="0"/>
              </a:rPr>
              <a:t>: 60 participants in the faster-progression primary analysis subgroup.</a:t>
            </a:r>
          </a:p>
          <a:p>
            <a:pPr marL="285750" indent="-285750" algn="l">
              <a:buFont typeface="Arial" panose="020B0604020202020204" pitchFamily="34" charset="0"/>
              <a:buChar char="•"/>
            </a:pPr>
            <a:r>
              <a:rPr lang="en-US" b="1" i="0" dirty="0">
                <a:solidFill>
                  <a:srgbClr val="616161"/>
                </a:solidFill>
                <a:effectLst/>
                <a:latin typeface="Segoe UI" panose="020B0502040204020203" pitchFamily="34" charset="0"/>
              </a:rPr>
              <a:t>Randomization Ratio</a:t>
            </a:r>
            <a:r>
              <a:rPr lang="en-US" b="0" i="0" dirty="0">
                <a:solidFill>
                  <a:srgbClr val="616161"/>
                </a:solidFill>
                <a:effectLst/>
                <a:latin typeface="Segoe UI" panose="020B0502040204020203" pitchFamily="34" charset="0"/>
              </a:rPr>
              <a:t>: 2:1 (</a:t>
            </a:r>
            <a:r>
              <a:rPr lang="en-US" b="0" i="0" dirty="0" err="1">
                <a:solidFill>
                  <a:srgbClr val="616161"/>
                </a:solidFill>
                <a:effectLst/>
                <a:latin typeface="Segoe UI" panose="020B0502040204020203" pitchFamily="34" charset="0"/>
              </a:rPr>
              <a:t>tofersen</a:t>
            </a:r>
            <a:r>
              <a:rPr lang="en-US" b="0" i="0" dirty="0">
                <a:solidFill>
                  <a:srgbClr val="616161"/>
                </a:solidFill>
                <a:effectLst/>
                <a:latin typeface="Segoe UI" panose="020B0502040204020203" pitchFamily="34" charset="0"/>
              </a:rPr>
              <a:t> to placebo).</a:t>
            </a:r>
          </a:p>
          <a:p>
            <a:pPr marL="285750" indent="-285750" algn="l">
              <a:buFont typeface="Arial" panose="020B0604020202020204" pitchFamily="34" charset="0"/>
              <a:buChar char="•"/>
            </a:pPr>
            <a:r>
              <a:rPr lang="en-US" b="1" i="0" dirty="0">
                <a:solidFill>
                  <a:srgbClr val="616161"/>
                </a:solidFill>
                <a:effectLst/>
                <a:latin typeface="Segoe UI" panose="020B0502040204020203" pitchFamily="34" charset="0"/>
              </a:rPr>
              <a:t>Power</a:t>
            </a:r>
            <a:r>
              <a:rPr lang="en-US" b="0" i="0">
                <a:solidFill>
                  <a:srgbClr val="616161"/>
                </a:solidFill>
                <a:effectLst/>
                <a:latin typeface="Segoe UI" panose="020B0502040204020203" pitchFamily="34" charset="0"/>
              </a:rPr>
              <a:t>: 84% </a:t>
            </a:r>
            <a:r>
              <a:rPr lang="en-US" b="0" i="0" dirty="0">
                <a:solidFill>
                  <a:srgbClr val="616161"/>
                </a:solidFill>
                <a:effectLst/>
                <a:latin typeface="Segoe UI" panose="020B0502040204020203" pitchFamily="34" charset="0"/>
              </a:rPr>
              <a:t>power to detect a between-group difference.</a:t>
            </a:r>
          </a:p>
          <a:p>
            <a:pPr marL="285750" indent="-285750" algn="l">
              <a:buFont typeface="Arial" panose="020B0604020202020204" pitchFamily="34" charset="0"/>
              <a:buChar char="•"/>
            </a:pPr>
            <a:r>
              <a:rPr lang="en-US" b="1" i="0" dirty="0">
                <a:solidFill>
                  <a:srgbClr val="616161"/>
                </a:solidFill>
                <a:effectLst/>
                <a:latin typeface="Segoe UI" panose="020B0502040204020203" pitchFamily="34" charset="0"/>
              </a:rPr>
              <a:t>Assumptions</a:t>
            </a:r>
            <a:r>
              <a:rPr lang="en-US" b="0" i="0" dirty="0">
                <a:solidFill>
                  <a:srgbClr val="616161"/>
                </a:solidFill>
                <a:effectLst/>
                <a:latin typeface="Segoe UI" panose="020B0502040204020203" pitchFamily="34" charset="0"/>
              </a:rPr>
              <a:t>:</a:t>
            </a:r>
          </a:p>
          <a:p>
            <a:pPr marL="742950" lvl="1" indent="-285750" algn="l">
              <a:buFont typeface="Arial" panose="020B0604020202020204" pitchFamily="34" charset="0"/>
              <a:buChar char="•"/>
            </a:pPr>
            <a:r>
              <a:rPr lang="en-US" b="0" i="0" dirty="0">
                <a:solidFill>
                  <a:srgbClr val="616161"/>
                </a:solidFill>
                <a:effectLst/>
                <a:latin typeface="Segoe UI" panose="020B0502040204020203" pitchFamily="34" charset="0"/>
              </a:rPr>
              <a:t>Change in ALSFRS-R score from baseline to week 28 of -4.8 in the </a:t>
            </a:r>
            <a:r>
              <a:rPr lang="en-US" b="0" i="0" dirty="0" err="1">
                <a:solidFill>
                  <a:srgbClr val="616161"/>
                </a:solidFill>
                <a:effectLst/>
                <a:latin typeface="Segoe UI" panose="020B0502040204020203" pitchFamily="34" charset="0"/>
              </a:rPr>
              <a:t>tofersen</a:t>
            </a:r>
            <a:r>
              <a:rPr lang="en-US" b="0" i="0" dirty="0">
                <a:solidFill>
                  <a:srgbClr val="616161"/>
                </a:solidFill>
                <a:effectLst/>
                <a:latin typeface="Segoe UI" panose="020B0502040204020203" pitchFamily="34" charset="0"/>
              </a:rPr>
              <a:t> group.</a:t>
            </a:r>
          </a:p>
          <a:p>
            <a:pPr marL="742950" lvl="1" indent="-285750" algn="l">
              <a:buFont typeface="Arial" panose="020B0604020202020204" pitchFamily="34" charset="0"/>
              <a:buChar char="•"/>
            </a:pPr>
            <a:r>
              <a:rPr lang="en-US" b="0" i="0" dirty="0">
                <a:solidFill>
                  <a:srgbClr val="616161"/>
                </a:solidFill>
                <a:effectLst/>
                <a:latin typeface="Segoe UI" panose="020B0502040204020203" pitchFamily="34" charset="0"/>
              </a:rPr>
              <a:t>Change in ALSFRS-R score from baseline to week 28 of -24.7 in the placebo group.</a:t>
            </a:r>
          </a:p>
          <a:p>
            <a:pPr marL="742950" lvl="1" indent="-285750" algn="l">
              <a:buFont typeface="Arial" panose="020B0604020202020204" pitchFamily="34" charset="0"/>
              <a:buChar char="•"/>
            </a:pPr>
            <a:r>
              <a:rPr lang="en-US" b="0" i="0" dirty="0">
                <a:solidFill>
                  <a:srgbClr val="616161"/>
                </a:solidFill>
                <a:effectLst/>
                <a:latin typeface="Segoe UI" panose="020B0502040204020203" pitchFamily="34" charset="0"/>
              </a:rPr>
              <a:t>Standard deviation of 20.39.</a:t>
            </a:r>
          </a:p>
          <a:p>
            <a:pPr marL="742950" lvl="1" indent="-285750" algn="l">
              <a:buFont typeface="Arial" panose="020B0604020202020204" pitchFamily="34" charset="0"/>
              <a:buChar char="•"/>
            </a:pPr>
            <a:r>
              <a:rPr lang="en-US" b="0" i="0" dirty="0">
                <a:solidFill>
                  <a:srgbClr val="616161"/>
                </a:solidFill>
                <a:effectLst/>
                <a:latin typeface="Segoe UI" panose="020B0502040204020203" pitchFamily="34" charset="0"/>
              </a:rPr>
              <a:t>Survival </a:t>
            </a:r>
            <a:r>
              <a:rPr lang="en-US" b="0" i="0">
                <a:solidFill>
                  <a:srgbClr val="616161"/>
                </a:solidFill>
                <a:effectLst/>
                <a:latin typeface="Segoe UI" panose="020B0502040204020203" pitchFamily="34" charset="0"/>
              </a:rPr>
              <a:t>of 90% </a:t>
            </a:r>
            <a:r>
              <a:rPr lang="en-US" b="0" i="0" dirty="0">
                <a:solidFill>
                  <a:srgbClr val="616161"/>
                </a:solidFill>
                <a:effectLst/>
                <a:latin typeface="Segoe UI" panose="020B0502040204020203" pitchFamily="34" charset="0"/>
              </a:rPr>
              <a:t>in the </a:t>
            </a:r>
            <a:r>
              <a:rPr lang="en-US" b="0" i="0" dirty="0" err="1">
                <a:solidFill>
                  <a:srgbClr val="616161"/>
                </a:solidFill>
                <a:effectLst/>
                <a:latin typeface="Segoe UI" panose="020B0502040204020203" pitchFamily="34" charset="0"/>
              </a:rPr>
              <a:t>tofersen</a:t>
            </a:r>
            <a:r>
              <a:rPr lang="en-US" b="0" i="0" dirty="0">
                <a:solidFill>
                  <a:srgbClr val="616161"/>
                </a:solidFill>
                <a:effectLst/>
                <a:latin typeface="Segoe UI" panose="020B0502040204020203" pitchFamily="34" charset="0"/>
              </a:rPr>
              <a:t> group.</a:t>
            </a:r>
          </a:p>
          <a:p>
            <a:pPr marL="742950" lvl="1" indent="-285750" algn="l">
              <a:buFont typeface="Arial" panose="020B0604020202020204" pitchFamily="34" charset="0"/>
              <a:buChar char="•"/>
            </a:pPr>
            <a:r>
              <a:rPr lang="en-US" b="0" i="0" dirty="0">
                <a:solidFill>
                  <a:srgbClr val="616161"/>
                </a:solidFill>
                <a:effectLst/>
                <a:latin typeface="Segoe UI" panose="020B0502040204020203" pitchFamily="34" charset="0"/>
              </a:rPr>
              <a:t>Survival </a:t>
            </a:r>
            <a:r>
              <a:rPr lang="en-US" b="0" i="0">
                <a:solidFill>
                  <a:srgbClr val="616161"/>
                </a:solidFill>
                <a:effectLst/>
                <a:latin typeface="Segoe UI" panose="020B0502040204020203" pitchFamily="34" charset="0"/>
              </a:rPr>
              <a:t>of 82% </a:t>
            </a:r>
            <a:r>
              <a:rPr lang="en-US" b="0" i="0" dirty="0">
                <a:solidFill>
                  <a:srgbClr val="616161"/>
                </a:solidFill>
                <a:effectLst/>
                <a:latin typeface="Segoe UI" panose="020B0502040204020203" pitchFamily="34" charset="0"/>
              </a:rPr>
              <a:t>in the placebo group.</a:t>
            </a:r>
          </a:p>
          <a:p>
            <a:pPr marL="285750" indent="-285750" algn="l">
              <a:buFont typeface="Arial" panose="020B0604020202020204" pitchFamily="34" charset="0"/>
              <a:buChar char="•"/>
            </a:pPr>
            <a:r>
              <a:rPr lang="en-US" b="1" i="0" dirty="0">
                <a:solidFill>
                  <a:srgbClr val="616161"/>
                </a:solidFill>
                <a:effectLst/>
                <a:latin typeface="Segoe UI" panose="020B0502040204020203" pitchFamily="34" charset="0"/>
              </a:rPr>
              <a:t>Significance Level</a:t>
            </a:r>
            <a:r>
              <a:rPr lang="en-US" b="0" i="0" dirty="0">
                <a:solidFill>
                  <a:srgbClr val="616161"/>
                </a:solidFill>
                <a:effectLst/>
                <a:latin typeface="Segoe UI" panose="020B0502040204020203" pitchFamily="34" charset="0"/>
              </a:rPr>
              <a:t>: Two-sided alpha level of 0.05.</a:t>
            </a:r>
          </a:p>
          <a:p>
            <a:pPr algn="l"/>
            <a:r>
              <a:rPr lang="en-US" b="0" i="0" dirty="0">
                <a:solidFill>
                  <a:srgbClr val="616161"/>
                </a:solidFill>
                <a:effectLst/>
                <a:latin typeface="Segoe UI" panose="020B0502040204020203" pitchFamily="34" charset="0"/>
              </a:rPr>
              <a:t>These calculations were based on the joint rank test, which accounts for both functional decline and survival.</a:t>
            </a:r>
          </a:p>
          <a:p>
            <a:pPr marL="285750" indent="-285750" algn="l">
              <a:buFont typeface="Arial" panose="020B0604020202020204" pitchFamily="34" charset="0"/>
              <a:buChar char="•"/>
            </a:pPr>
            <a:endParaRPr lang="en-US" b="0" i="0" dirty="0">
              <a:solidFill>
                <a:srgbClr val="242424"/>
              </a:solidFill>
              <a:effectLst/>
              <a:latin typeface="Segoe UI" panose="020B0502040204020203" pitchFamily="34" charset="0"/>
            </a:endParaRPr>
          </a:p>
          <a:p>
            <a:pPr marL="285750" indent="-285750" algn="l">
              <a:buFont typeface="Arial" panose="020B0604020202020204" pitchFamily="34" charset="0"/>
              <a:buChar char="•"/>
            </a:pPr>
            <a:endParaRPr lang="en-US" dirty="0">
              <a:solidFill>
                <a:srgbClr val="242424"/>
              </a:solidFill>
              <a:latin typeface="Segoe UI" panose="020B0502040204020203" pitchFamily="34" charset="0"/>
            </a:endParaRPr>
          </a:p>
        </p:txBody>
      </p:sp>
    </p:spTree>
    <p:extLst>
      <p:ext uri="{BB962C8B-B14F-4D97-AF65-F5344CB8AC3E}">
        <p14:creationId xmlns:p14="http://schemas.microsoft.com/office/powerpoint/2010/main" val="4172076643"/>
      </p:ext>
    </p:extLst>
  </p:cSld>
  <p:clrMapOvr>
    <a:masterClrMapping/>
  </p:clrMapOvr>
  <p:transition spd="slow">
    <p:push dir="u"/>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F66FFF3-C38B-01C5-3827-DF56E0382B48}"/>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774C2065-593A-E498-9A79-7E8651655C06}"/>
              </a:ext>
            </a:extLst>
          </p:cNvPr>
          <p:cNvSpPr>
            <a:spLocks noGrp="1"/>
          </p:cNvSpPr>
          <p:nvPr>
            <p:ph type="body" sz="quarter" idx="15"/>
          </p:nvPr>
        </p:nvSpPr>
        <p:spPr/>
        <p:txBody>
          <a:bodyPr/>
          <a:lstStyle/>
          <a:p>
            <a:endParaRPr lang="en-US">
              <a:solidFill>
                <a:srgbClr val="000000"/>
              </a:solidFill>
            </a:endParaRPr>
          </a:p>
          <a:p>
            <a:endParaRPr lang="en-US">
              <a:solidFill>
                <a:srgbClr val="000000"/>
              </a:solidFill>
            </a:endParaRPr>
          </a:p>
          <a:p>
            <a:endParaRPr lang="en-US">
              <a:solidFill>
                <a:srgbClr val="000000"/>
              </a:solidFill>
            </a:endParaRPr>
          </a:p>
          <a:p>
            <a:endParaRPr lang="en-US"/>
          </a:p>
        </p:txBody>
      </p:sp>
      <p:sp>
        <p:nvSpPr>
          <p:cNvPr id="3" name="Footer Placeholder 2">
            <a:extLst>
              <a:ext uri="{FF2B5EF4-FFF2-40B4-BE49-F238E27FC236}">
                <a16:creationId xmlns:a16="http://schemas.microsoft.com/office/drawing/2014/main" id="{2B7868EF-BF06-53EF-FB6E-EEFDAED178EC}"/>
              </a:ext>
            </a:extLst>
          </p:cNvPr>
          <p:cNvSpPr>
            <a:spLocks noGrp="1"/>
          </p:cNvSpPr>
          <p:nvPr>
            <p:ph type="ftr" sz="quarter" idx="3"/>
          </p:nvPr>
        </p:nvSpPr>
        <p:spPr/>
        <p:txBody>
          <a:bodyPr/>
          <a:lstStyle/>
          <a:p>
            <a:r>
              <a:rPr lang="en-JP"/>
              <a:t> </a:t>
            </a:r>
          </a:p>
        </p:txBody>
      </p:sp>
      <p:sp>
        <p:nvSpPr>
          <p:cNvPr id="4" name="Title 3">
            <a:extLst>
              <a:ext uri="{FF2B5EF4-FFF2-40B4-BE49-F238E27FC236}">
                <a16:creationId xmlns:a16="http://schemas.microsoft.com/office/drawing/2014/main" id="{CFA842F3-07A4-4CE2-7C2F-5DC285FAE66A}"/>
              </a:ext>
            </a:extLst>
          </p:cNvPr>
          <p:cNvSpPr>
            <a:spLocks noGrp="1"/>
          </p:cNvSpPr>
          <p:nvPr>
            <p:ph type="title"/>
          </p:nvPr>
        </p:nvSpPr>
        <p:spPr/>
        <p:txBody>
          <a:bodyPr/>
          <a:lstStyle/>
          <a:p>
            <a:r>
              <a:rPr lang="en-US" err="1"/>
              <a:t>Tofersen</a:t>
            </a:r>
            <a:r>
              <a:rPr lang="en-US"/>
              <a:t> Phase 2/3 </a:t>
            </a:r>
            <a:r>
              <a:rPr lang="en-US" err="1"/>
              <a:t>NfL</a:t>
            </a:r>
            <a:r>
              <a:rPr lang="en-US"/>
              <a:t> Results at baseline</a:t>
            </a:r>
          </a:p>
        </p:txBody>
      </p:sp>
      <p:sp>
        <p:nvSpPr>
          <p:cNvPr id="5" name="Slide Number Placeholder 4">
            <a:extLst>
              <a:ext uri="{FF2B5EF4-FFF2-40B4-BE49-F238E27FC236}">
                <a16:creationId xmlns:a16="http://schemas.microsoft.com/office/drawing/2014/main" id="{D1F3AF0A-67C9-DBD6-5ABA-EFE688A27AEB}"/>
              </a:ext>
            </a:extLst>
          </p:cNvPr>
          <p:cNvSpPr>
            <a:spLocks noGrp="1"/>
          </p:cNvSpPr>
          <p:nvPr>
            <p:ph type="sldNum" sz="quarter" idx="4"/>
          </p:nvPr>
        </p:nvSpPr>
        <p:spPr/>
        <p:txBody>
          <a:bodyPr/>
          <a:lstStyle/>
          <a:p>
            <a:pPr defTabSz="1218810"/>
            <a:fld id="{E9B57936-92EF-4126-AE48-1D9D36D15E98}" type="slidenum">
              <a:rPr lang="ja-JP" altLang="en-US" smtClean="0"/>
              <a:pPr defTabSz="1218810"/>
              <a:t>17</a:t>
            </a:fld>
            <a:endParaRPr lang="ja-JP" altLang="en-US"/>
          </a:p>
        </p:txBody>
      </p:sp>
      <p:sp>
        <p:nvSpPr>
          <p:cNvPr id="6" name="Text Placeholder 5">
            <a:extLst>
              <a:ext uri="{FF2B5EF4-FFF2-40B4-BE49-F238E27FC236}">
                <a16:creationId xmlns:a16="http://schemas.microsoft.com/office/drawing/2014/main" id="{D1AFD41F-E169-F0E2-8A85-D6E548F113C1}"/>
              </a:ext>
            </a:extLst>
          </p:cNvPr>
          <p:cNvSpPr>
            <a:spLocks noGrp="1"/>
          </p:cNvSpPr>
          <p:nvPr>
            <p:ph type="body" sz="quarter" idx="16"/>
          </p:nvPr>
        </p:nvSpPr>
        <p:spPr/>
        <p:txBody>
          <a:bodyPr/>
          <a:lstStyle/>
          <a:p>
            <a:endParaRPr lang="en-US"/>
          </a:p>
        </p:txBody>
      </p:sp>
      <p:pic>
        <p:nvPicPr>
          <p:cNvPr id="9" name="Picture 8">
            <a:extLst>
              <a:ext uri="{FF2B5EF4-FFF2-40B4-BE49-F238E27FC236}">
                <a16:creationId xmlns:a16="http://schemas.microsoft.com/office/drawing/2014/main" id="{2B2CDE5A-33D6-15F7-EAA0-B8819B23191A}"/>
              </a:ext>
            </a:extLst>
          </p:cNvPr>
          <p:cNvPicPr>
            <a:picLocks noChangeAspect="1"/>
          </p:cNvPicPr>
          <p:nvPr/>
        </p:nvPicPr>
        <p:blipFill>
          <a:blip r:embed="rId2"/>
          <a:stretch>
            <a:fillRect/>
          </a:stretch>
        </p:blipFill>
        <p:spPr>
          <a:xfrm>
            <a:off x="311150" y="620200"/>
            <a:ext cx="6174241" cy="4460905"/>
          </a:xfrm>
          <a:prstGeom prst="rect">
            <a:avLst/>
          </a:prstGeom>
        </p:spPr>
      </p:pic>
      <p:sp>
        <p:nvSpPr>
          <p:cNvPr id="8" name="TextBox 7">
            <a:extLst>
              <a:ext uri="{FF2B5EF4-FFF2-40B4-BE49-F238E27FC236}">
                <a16:creationId xmlns:a16="http://schemas.microsoft.com/office/drawing/2014/main" id="{683D2DE0-E2A8-3AAF-96FC-5CAD93175929}"/>
              </a:ext>
            </a:extLst>
          </p:cNvPr>
          <p:cNvSpPr txBox="1"/>
          <p:nvPr/>
        </p:nvSpPr>
        <p:spPr>
          <a:xfrm>
            <a:off x="6485391" y="1212268"/>
            <a:ext cx="5139710" cy="3046988"/>
          </a:xfrm>
          <a:prstGeom prst="rect">
            <a:avLst/>
          </a:prstGeom>
          <a:noFill/>
        </p:spPr>
        <p:txBody>
          <a:bodyPr wrap="square">
            <a:spAutoFit/>
          </a:bodyPr>
          <a:lstStyle/>
          <a:p>
            <a:pPr algn="l"/>
            <a:r>
              <a:rPr lang="en-US" sz="1600" b="1" i="0" dirty="0">
                <a:solidFill>
                  <a:srgbClr val="616161"/>
                </a:solidFill>
                <a:effectLst/>
                <a:latin typeface="Segoe UI" panose="020B0502040204020203" pitchFamily="34" charset="0"/>
              </a:rPr>
              <a:t>End of the study</a:t>
            </a:r>
          </a:p>
          <a:p>
            <a:pPr algn="l">
              <a:buFont typeface="Arial" panose="020B0604020202020204" pitchFamily="34" charset="0"/>
              <a:buChar char="•"/>
            </a:pPr>
            <a:r>
              <a:rPr lang="en-US" sz="1600" b="1" i="0" dirty="0">
                <a:solidFill>
                  <a:srgbClr val="616161"/>
                </a:solidFill>
                <a:effectLst/>
                <a:latin typeface="Segoe UI" panose="020B0502040204020203" pitchFamily="34" charset="0"/>
              </a:rPr>
              <a:t>Faster-Progression Subgroup</a:t>
            </a:r>
            <a:r>
              <a:rPr lang="en-US" sz="1600" b="0" i="0" dirty="0">
                <a:solidFill>
                  <a:srgbClr val="616161"/>
                </a:solidFill>
                <a:effectLst/>
                <a:latin typeface="Segoe UI" panose="020B0502040204020203" pitchFamily="34" charset="0"/>
              </a:rPr>
              <a:t>:</a:t>
            </a:r>
          </a:p>
          <a:p>
            <a:pPr marL="742950" lvl="1" indent="-285750" algn="l">
              <a:buFont typeface="Arial" panose="020B0604020202020204" pitchFamily="34" charset="0"/>
              <a:buChar char="•"/>
            </a:pPr>
            <a:r>
              <a:rPr lang="en-US" sz="1600" b="1" i="0" dirty="0">
                <a:solidFill>
                  <a:srgbClr val="616161"/>
                </a:solidFill>
                <a:effectLst/>
                <a:latin typeface="Segoe UI" panose="020B0502040204020203" pitchFamily="34" charset="0"/>
              </a:rPr>
              <a:t>Placebo Group</a:t>
            </a:r>
            <a:r>
              <a:rPr lang="en-US" sz="1600" b="0" i="0" dirty="0">
                <a:solidFill>
                  <a:srgbClr val="616161"/>
                </a:solidFill>
                <a:effectLst/>
                <a:latin typeface="Segoe UI" panose="020B0502040204020203" pitchFamily="34" charset="0"/>
              </a:rPr>
              <a:t>: The adjusted geometric mean ratio to baseline for </a:t>
            </a:r>
            <a:r>
              <a:rPr lang="en-US" sz="1600" b="0" i="0" dirty="0" err="1">
                <a:solidFill>
                  <a:srgbClr val="616161"/>
                </a:solidFill>
                <a:effectLst/>
                <a:latin typeface="Segoe UI" panose="020B0502040204020203" pitchFamily="34" charset="0"/>
              </a:rPr>
              <a:t>NfL</a:t>
            </a:r>
            <a:r>
              <a:rPr lang="en-US" sz="1600" b="0" i="0" dirty="0">
                <a:solidFill>
                  <a:srgbClr val="616161"/>
                </a:solidFill>
                <a:effectLst/>
                <a:latin typeface="Segoe UI" panose="020B0502040204020203" pitchFamily="34" charset="0"/>
              </a:rPr>
              <a:t> concentration was 1.20.</a:t>
            </a:r>
          </a:p>
          <a:p>
            <a:pPr marL="742950" lvl="1" indent="-285750" algn="l">
              <a:buFont typeface="Arial" panose="020B0604020202020204" pitchFamily="34" charset="0"/>
              <a:buChar char="•"/>
            </a:pPr>
            <a:r>
              <a:rPr lang="en-US" sz="1600" b="1" i="0" dirty="0" err="1">
                <a:solidFill>
                  <a:srgbClr val="616161"/>
                </a:solidFill>
                <a:effectLst/>
                <a:latin typeface="Segoe UI" panose="020B0502040204020203" pitchFamily="34" charset="0"/>
              </a:rPr>
              <a:t>Tofersen</a:t>
            </a:r>
            <a:r>
              <a:rPr lang="en-US" sz="1600" b="1" i="0" dirty="0">
                <a:solidFill>
                  <a:srgbClr val="616161"/>
                </a:solidFill>
                <a:effectLst/>
                <a:latin typeface="Segoe UI" panose="020B0502040204020203" pitchFamily="34" charset="0"/>
              </a:rPr>
              <a:t> Group</a:t>
            </a:r>
            <a:r>
              <a:rPr lang="en-US" sz="1600" b="0" i="0" dirty="0">
                <a:solidFill>
                  <a:srgbClr val="616161"/>
                </a:solidFill>
                <a:effectLst/>
                <a:latin typeface="Segoe UI" panose="020B0502040204020203" pitchFamily="34" charset="0"/>
              </a:rPr>
              <a:t>: The adjusted geometric mean ratio to baseline for </a:t>
            </a:r>
            <a:r>
              <a:rPr lang="en-US" sz="1600" b="0" i="0" dirty="0" err="1">
                <a:solidFill>
                  <a:srgbClr val="616161"/>
                </a:solidFill>
                <a:effectLst/>
                <a:latin typeface="Segoe UI" panose="020B0502040204020203" pitchFamily="34" charset="0"/>
              </a:rPr>
              <a:t>NfL</a:t>
            </a:r>
            <a:r>
              <a:rPr lang="en-US" sz="1600" b="0" i="0" dirty="0">
                <a:solidFill>
                  <a:srgbClr val="616161"/>
                </a:solidFill>
                <a:effectLst/>
                <a:latin typeface="Segoe UI" panose="020B0502040204020203" pitchFamily="34" charset="0"/>
              </a:rPr>
              <a:t> concentration was 0.40.</a:t>
            </a:r>
          </a:p>
          <a:p>
            <a:pPr marL="742950" lvl="1" indent="-285750" algn="l">
              <a:buFont typeface="Arial" panose="020B0604020202020204" pitchFamily="34" charset="0"/>
              <a:buChar char="•"/>
            </a:pPr>
            <a:r>
              <a:rPr lang="en-US" sz="1600" b="1" i="0" dirty="0">
                <a:solidFill>
                  <a:srgbClr val="616161"/>
                </a:solidFill>
                <a:effectLst/>
                <a:latin typeface="Segoe UI" panose="020B0502040204020203" pitchFamily="34" charset="0"/>
              </a:rPr>
              <a:t>Between-Group Difference</a:t>
            </a:r>
            <a:r>
              <a:rPr lang="en-US" sz="1600" b="0" i="0" dirty="0">
                <a:solidFill>
                  <a:srgbClr val="616161"/>
                </a:solidFill>
                <a:effectLst/>
                <a:latin typeface="Segoe UI" panose="020B0502040204020203" pitchFamily="34" charset="0"/>
              </a:rPr>
              <a:t>: The geometric mean ratio for </a:t>
            </a:r>
            <a:r>
              <a:rPr lang="en-US" sz="1600" b="0" i="0" dirty="0" err="1">
                <a:solidFill>
                  <a:srgbClr val="616161"/>
                </a:solidFill>
                <a:effectLst/>
                <a:latin typeface="Segoe UI" panose="020B0502040204020203" pitchFamily="34" charset="0"/>
              </a:rPr>
              <a:t>tofersen</a:t>
            </a:r>
            <a:r>
              <a:rPr lang="en-US" sz="1600" b="0" i="0" dirty="0">
                <a:solidFill>
                  <a:srgbClr val="616161"/>
                </a:solidFill>
                <a:effectLst/>
                <a:latin typeface="Segoe UI" panose="020B0502040204020203" pitchFamily="34" charset="0"/>
              </a:rPr>
              <a:t> vs. placebo was 0.33 </a:t>
            </a:r>
            <a:r>
              <a:rPr lang="en-US" sz="1600" b="0" i="0">
                <a:solidFill>
                  <a:srgbClr val="616161"/>
                </a:solidFill>
                <a:effectLst/>
                <a:latin typeface="Segoe UI" panose="020B0502040204020203" pitchFamily="34" charset="0"/>
              </a:rPr>
              <a:t>(95% </a:t>
            </a:r>
            <a:r>
              <a:rPr lang="en-US" sz="1600" b="0" i="0" dirty="0">
                <a:solidFill>
                  <a:srgbClr val="616161"/>
                </a:solidFill>
                <a:effectLst/>
                <a:latin typeface="Segoe UI" panose="020B0502040204020203" pitchFamily="34" charset="0"/>
              </a:rPr>
              <a:t>CI, 0.25 to 0.45).</a:t>
            </a:r>
          </a:p>
          <a:p>
            <a:pPr marL="742950" lvl="1" indent="-285750" algn="l">
              <a:buFont typeface="Arial" panose="020B0604020202020204" pitchFamily="34" charset="0"/>
              <a:buChar char="•"/>
            </a:pPr>
            <a:r>
              <a:rPr lang="en-US" sz="1600" b="1" dirty="0">
                <a:solidFill>
                  <a:srgbClr val="616161"/>
                </a:solidFill>
                <a:latin typeface="Segoe UI" panose="020B0502040204020203" pitchFamily="34" charset="0"/>
              </a:rPr>
              <a:t>Approximated SD: (</a:t>
            </a:r>
            <a:r>
              <a:rPr lang="en-US" sz="1600" dirty="0">
                <a:solidFill>
                  <a:srgbClr val="616161"/>
                </a:solidFill>
                <a:latin typeface="Segoe UI" panose="020B0502040204020203" pitchFamily="34" charset="0"/>
              </a:rPr>
              <a:t>.45-.25)/2*1.96 = 0.051</a:t>
            </a:r>
            <a:endParaRPr lang="en-US" sz="1600" b="1" dirty="0">
              <a:solidFill>
                <a:srgbClr val="616161"/>
              </a:solidFill>
              <a:latin typeface="Segoe UI" panose="020B0502040204020203" pitchFamily="34" charset="0"/>
            </a:endParaRPr>
          </a:p>
        </p:txBody>
      </p:sp>
    </p:spTree>
    <p:extLst>
      <p:ext uri="{BB962C8B-B14F-4D97-AF65-F5344CB8AC3E}">
        <p14:creationId xmlns:p14="http://schemas.microsoft.com/office/powerpoint/2010/main" val="4225755233"/>
      </p:ext>
    </p:extLst>
  </p:cSld>
  <p:clrMapOvr>
    <a:masterClrMapping/>
  </p:clrMapOvr>
  <p:transition spd="slow">
    <p:push dir="u"/>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EA2BF54-12E7-F18D-A90F-E615C707D652}"/>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888C4075-F4B3-9CF6-1348-A7E2E3A68B34}"/>
              </a:ext>
            </a:extLst>
          </p:cNvPr>
          <p:cNvSpPr>
            <a:spLocks noGrp="1"/>
          </p:cNvSpPr>
          <p:nvPr>
            <p:ph type="body" sz="quarter" idx="15"/>
          </p:nvPr>
        </p:nvSpPr>
        <p:spPr/>
        <p:txBody>
          <a:bodyPr/>
          <a:lstStyle/>
          <a:p>
            <a:endParaRPr lang="en-US">
              <a:solidFill>
                <a:srgbClr val="000000"/>
              </a:solidFill>
            </a:endParaRPr>
          </a:p>
          <a:p>
            <a:endParaRPr lang="en-US">
              <a:solidFill>
                <a:srgbClr val="000000"/>
              </a:solidFill>
            </a:endParaRPr>
          </a:p>
          <a:p>
            <a:endParaRPr lang="en-US">
              <a:solidFill>
                <a:srgbClr val="000000"/>
              </a:solidFill>
            </a:endParaRPr>
          </a:p>
          <a:p>
            <a:endParaRPr lang="en-US"/>
          </a:p>
        </p:txBody>
      </p:sp>
      <p:sp>
        <p:nvSpPr>
          <p:cNvPr id="3" name="Footer Placeholder 2">
            <a:extLst>
              <a:ext uri="{FF2B5EF4-FFF2-40B4-BE49-F238E27FC236}">
                <a16:creationId xmlns:a16="http://schemas.microsoft.com/office/drawing/2014/main" id="{C5A8E362-9352-7906-3EEC-E751D1D05C4E}"/>
              </a:ext>
            </a:extLst>
          </p:cNvPr>
          <p:cNvSpPr>
            <a:spLocks noGrp="1"/>
          </p:cNvSpPr>
          <p:nvPr>
            <p:ph type="ftr" sz="quarter" idx="3"/>
          </p:nvPr>
        </p:nvSpPr>
        <p:spPr/>
        <p:txBody>
          <a:bodyPr/>
          <a:lstStyle/>
          <a:p>
            <a:r>
              <a:rPr lang="en-JP"/>
              <a:t> </a:t>
            </a:r>
          </a:p>
        </p:txBody>
      </p:sp>
      <p:sp>
        <p:nvSpPr>
          <p:cNvPr id="4" name="Title 3">
            <a:extLst>
              <a:ext uri="{FF2B5EF4-FFF2-40B4-BE49-F238E27FC236}">
                <a16:creationId xmlns:a16="http://schemas.microsoft.com/office/drawing/2014/main" id="{E2C73B05-DCB7-E1AB-5ECA-F8955FB69257}"/>
              </a:ext>
            </a:extLst>
          </p:cNvPr>
          <p:cNvSpPr>
            <a:spLocks noGrp="1"/>
          </p:cNvSpPr>
          <p:nvPr>
            <p:ph type="title"/>
          </p:nvPr>
        </p:nvSpPr>
        <p:spPr/>
        <p:txBody>
          <a:bodyPr/>
          <a:lstStyle/>
          <a:p>
            <a:r>
              <a:rPr lang="en-US" err="1"/>
              <a:t>Tofersen</a:t>
            </a:r>
            <a:r>
              <a:rPr lang="en-US"/>
              <a:t> Phase 2/3 </a:t>
            </a:r>
            <a:r>
              <a:rPr lang="en-US" err="1"/>
              <a:t>NfL</a:t>
            </a:r>
            <a:r>
              <a:rPr lang="en-US"/>
              <a:t> Results</a:t>
            </a:r>
          </a:p>
        </p:txBody>
      </p:sp>
      <p:sp>
        <p:nvSpPr>
          <p:cNvPr id="5" name="Slide Number Placeholder 4">
            <a:extLst>
              <a:ext uri="{FF2B5EF4-FFF2-40B4-BE49-F238E27FC236}">
                <a16:creationId xmlns:a16="http://schemas.microsoft.com/office/drawing/2014/main" id="{547F4641-2713-E0C9-F9F9-A58D4D66F5B0}"/>
              </a:ext>
            </a:extLst>
          </p:cNvPr>
          <p:cNvSpPr>
            <a:spLocks noGrp="1"/>
          </p:cNvSpPr>
          <p:nvPr>
            <p:ph type="sldNum" sz="quarter" idx="4"/>
          </p:nvPr>
        </p:nvSpPr>
        <p:spPr/>
        <p:txBody>
          <a:bodyPr/>
          <a:lstStyle/>
          <a:p>
            <a:pPr defTabSz="1218810"/>
            <a:fld id="{E9B57936-92EF-4126-AE48-1D9D36D15E98}" type="slidenum">
              <a:rPr lang="ja-JP" altLang="en-US" smtClean="0"/>
              <a:pPr defTabSz="1218810"/>
              <a:t>18</a:t>
            </a:fld>
            <a:endParaRPr lang="ja-JP" altLang="en-US"/>
          </a:p>
        </p:txBody>
      </p:sp>
      <p:sp>
        <p:nvSpPr>
          <p:cNvPr id="6" name="Text Placeholder 5">
            <a:extLst>
              <a:ext uri="{FF2B5EF4-FFF2-40B4-BE49-F238E27FC236}">
                <a16:creationId xmlns:a16="http://schemas.microsoft.com/office/drawing/2014/main" id="{DA768FB1-4FFD-E1C2-A74E-A05944F85AFA}"/>
              </a:ext>
            </a:extLst>
          </p:cNvPr>
          <p:cNvSpPr>
            <a:spLocks noGrp="1"/>
          </p:cNvSpPr>
          <p:nvPr>
            <p:ph type="body" sz="quarter" idx="16"/>
          </p:nvPr>
        </p:nvSpPr>
        <p:spPr/>
        <p:txBody>
          <a:bodyPr/>
          <a:lstStyle/>
          <a:p>
            <a:endParaRPr lang="en-US"/>
          </a:p>
        </p:txBody>
      </p:sp>
      <p:sp>
        <p:nvSpPr>
          <p:cNvPr id="7" name="TextBox 6">
            <a:extLst>
              <a:ext uri="{FF2B5EF4-FFF2-40B4-BE49-F238E27FC236}">
                <a16:creationId xmlns:a16="http://schemas.microsoft.com/office/drawing/2014/main" id="{26C506F0-5C10-A008-4BA6-38979BC07894}"/>
              </a:ext>
            </a:extLst>
          </p:cNvPr>
          <p:cNvSpPr txBox="1"/>
          <p:nvPr/>
        </p:nvSpPr>
        <p:spPr>
          <a:xfrm>
            <a:off x="606078" y="1233488"/>
            <a:ext cx="10206466" cy="4801314"/>
          </a:xfrm>
          <a:prstGeom prst="rect">
            <a:avLst/>
          </a:prstGeom>
          <a:noFill/>
        </p:spPr>
        <p:txBody>
          <a:bodyPr wrap="square" rtlCol="0">
            <a:spAutoFit/>
          </a:bodyPr>
          <a:lstStyle/>
          <a:p>
            <a:pPr algn="l">
              <a:buFont typeface="Arial" panose="020B0604020202020204" pitchFamily="34" charset="0"/>
              <a:buChar char="•"/>
            </a:pPr>
            <a:r>
              <a:rPr lang="en-US" b="1" i="0" dirty="0">
                <a:solidFill>
                  <a:srgbClr val="616161"/>
                </a:solidFill>
                <a:effectLst/>
                <a:latin typeface="Segoe UI" panose="020B0502040204020203" pitchFamily="34" charset="0"/>
              </a:rPr>
              <a:t> Adjusted geometric mean ratio to VALOR baseline</a:t>
            </a:r>
            <a:r>
              <a:rPr lang="en-US" b="0" i="0" dirty="0">
                <a:solidFill>
                  <a:srgbClr val="616161"/>
                </a:solidFill>
                <a:effectLst/>
                <a:latin typeface="Segoe UI" panose="020B0502040204020203" pitchFamily="34" charset="0"/>
              </a:rPr>
              <a:t>: 1.20</a:t>
            </a:r>
          </a:p>
          <a:p>
            <a:pPr algn="l">
              <a:buFont typeface="Arial" panose="020B0604020202020204" pitchFamily="34" charset="0"/>
              <a:buChar char="•"/>
            </a:pPr>
            <a:r>
              <a:rPr lang="en-US" b="1" i="0" dirty="0">
                <a:solidFill>
                  <a:srgbClr val="616161"/>
                </a:solidFill>
                <a:effectLst/>
                <a:latin typeface="Segoe UI" panose="020B0502040204020203" pitchFamily="34" charset="0"/>
              </a:rPr>
              <a:t> Geometric mean ratio: </a:t>
            </a:r>
            <a:r>
              <a:rPr lang="en-US" b="1" i="0" dirty="0" err="1">
                <a:solidFill>
                  <a:srgbClr val="616161"/>
                </a:solidFill>
                <a:effectLst/>
                <a:latin typeface="Segoe UI" panose="020B0502040204020203" pitchFamily="34" charset="0"/>
              </a:rPr>
              <a:t>tofersen</a:t>
            </a:r>
            <a:r>
              <a:rPr lang="en-US" b="1" i="0" dirty="0">
                <a:solidFill>
                  <a:srgbClr val="616161"/>
                </a:solidFill>
                <a:effectLst/>
                <a:latin typeface="Segoe UI" panose="020B0502040204020203" pitchFamily="34" charset="0"/>
              </a:rPr>
              <a:t> vs. placebo </a:t>
            </a:r>
            <a:r>
              <a:rPr lang="en-US" b="1" i="0">
                <a:solidFill>
                  <a:srgbClr val="616161"/>
                </a:solidFill>
                <a:effectLst/>
                <a:latin typeface="Segoe UI" panose="020B0502040204020203" pitchFamily="34" charset="0"/>
              </a:rPr>
              <a:t>(95% </a:t>
            </a:r>
            <a:r>
              <a:rPr lang="en-US" b="1" i="0" dirty="0">
                <a:solidFill>
                  <a:srgbClr val="616161"/>
                </a:solidFill>
                <a:effectLst/>
                <a:latin typeface="Segoe UI" panose="020B0502040204020203" pitchFamily="34" charset="0"/>
              </a:rPr>
              <a:t>CI)</a:t>
            </a:r>
            <a:r>
              <a:rPr lang="en-US" b="0" i="0" dirty="0">
                <a:solidFill>
                  <a:srgbClr val="616161"/>
                </a:solidFill>
                <a:effectLst/>
                <a:latin typeface="Segoe UI" panose="020B0502040204020203" pitchFamily="34" charset="0"/>
              </a:rPr>
              <a:t>: 0.33 (0.25 to 0.45)</a:t>
            </a:r>
          </a:p>
          <a:p>
            <a:pPr algn="l"/>
            <a:r>
              <a:rPr lang="en-US" b="0" i="0" dirty="0">
                <a:solidFill>
                  <a:srgbClr val="616161"/>
                </a:solidFill>
                <a:effectLst/>
                <a:latin typeface="Segoe UI" panose="020B0502040204020203" pitchFamily="34" charset="0"/>
              </a:rPr>
              <a:t>This indicates that the concentration of </a:t>
            </a:r>
            <a:r>
              <a:rPr lang="en-US" b="0" i="0" dirty="0" err="1">
                <a:solidFill>
                  <a:srgbClr val="616161"/>
                </a:solidFill>
                <a:effectLst/>
                <a:latin typeface="Segoe UI" panose="020B0502040204020203" pitchFamily="34" charset="0"/>
              </a:rPr>
              <a:t>NfL</a:t>
            </a:r>
            <a:r>
              <a:rPr lang="en-US" b="0" i="0" dirty="0">
                <a:solidFill>
                  <a:srgbClr val="616161"/>
                </a:solidFill>
                <a:effectLst/>
                <a:latin typeface="Segoe UI" panose="020B0502040204020203" pitchFamily="34" charset="0"/>
              </a:rPr>
              <a:t> in plasma increased </a:t>
            </a:r>
            <a:r>
              <a:rPr lang="en-US" b="0" i="0">
                <a:solidFill>
                  <a:srgbClr val="616161"/>
                </a:solidFill>
                <a:effectLst/>
                <a:latin typeface="Segoe UI" panose="020B0502040204020203" pitchFamily="34" charset="0"/>
              </a:rPr>
              <a:t>by 20% </a:t>
            </a:r>
            <a:r>
              <a:rPr lang="en-US" b="0" i="0" dirty="0">
                <a:solidFill>
                  <a:srgbClr val="616161"/>
                </a:solidFill>
                <a:effectLst/>
                <a:latin typeface="Segoe UI" panose="020B0502040204020203" pitchFamily="34" charset="0"/>
              </a:rPr>
              <a:t>from baseline in the placebo group.</a:t>
            </a:r>
          </a:p>
          <a:p>
            <a:pPr algn="l"/>
            <a:endParaRPr lang="en-US" dirty="0">
              <a:solidFill>
                <a:srgbClr val="616161"/>
              </a:solidFill>
              <a:latin typeface="Segoe UI" panose="020B0502040204020203" pitchFamily="34" charset="0"/>
            </a:endParaRPr>
          </a:p>
          <a:p>
            <a:pPr algn="l"/>
            <a:r>
              <a:rPr lang="en-US" b="0" i="0" dirty="0">
                <a:solidFill>
                  <a:srgbClr val="616161"/>
                </a:solidFill>
                <a:effectLst/>
                <a:latin typeface="Segoe UI" panose="020B0502040204020203" pitchFamily="34" charset="0"/>
              </a:rPr>
              <a:t>In the faster-progression subgroup, the concentration of neurofilament light chains in plasma was reduced </a:t>
            </a:r>
            <a:r>
              <a:rPr lang="en-US" b="0" i="0">
                <a:solidFill>
                  <a:srgbClr val="616161"/>
                </a:solidFill>
                <a:effectLst/>
                <a:latin typeface="Segoe UI" panose="020B0502040204020203" pitchFamily="34" charset="0"/>
              </a:rPr>
              <a:t>by 60% </a:t>
            </a:r>
            <a:r>
              <a:rPr lang="en-US" b="0" i="0" dirty="0">
                <a:solidFill>
                  <a:srgbClr val="616161"/>
                </a:solidFill>
                <a:effectLst/>
                <a:latin typeface="Segoe UI" panose="020B0502040204020203" pitchFamily="34" charset="0"/>
              </a:rPr>
              <a:t>in participants who received </a:t>
            </a:r>
            <a:r>
              <a:rPr lang="en-US" b="0" i="0" dirty="0" err="1">
                <a:solidFill>
                  <a:srgbClr val="616161"/>
                </a:solidFill>
                <a:effectLst/>
                <a:latin typeface="Segoe UI" panose="020B0502040204020203" pitchFamily="34" charset="0"/>
              </a:rPr>
              <a:t>tofersen</a:t>
            </a:r>
            <a:r>
              <a:rPr lang="en-US" b="0" i="0" dirty="0">
                <a:solidFill>
                  <a:srgbClr val="616161"/>
                </a:solidFill>
                <a:effectLst/>
                <a:latin typeface="Segoe UI" panose="020B0502040204020203" pitchFamily="34" charset="0"/>
              </a:rPr>
              <a:t>, whereas it increased </a:t>
            </a:r>
            <a:r>
              <a:rPr lang="en-US" b="0" i="0">
                <a:solidFill>
                  <a:srgbClr val="616161"/>
                </a:solidFill>
                <a:effectLst/>
                <a:latin typeface="Segoe UI" panose="020B0502040204020203" pitchFamily="34" charset="0"/>
              </a:rPr>
              <a:t>by 20% </a:t>
            </a:r>
            <a:r>
              <a:rPr lang="en-US" b="0" i="0" dirty="0">
                <a:solidFill>
                  <a:srgbClr val="616161"/>
                </a:solidFill>
                <a:effectLst/>
                <a:latin typeface="Segoe UI" panose="020B0502040204020203" pitchFamily="34" charset="0"/>
              </a:rPr>
              <a:t>in those who received placebo. </a:t>
            </a:r>
          </a:p>
          <a:p>
            <a:pPr algn="l"/>
            <a:endParaRPr lang="en-US" dirty="0">
              <a:solidFill>
                <a:srgbClr val="616161"/>
              </a:solidFill>
              <a:latin typeface="Segoe UI" panose="020B0502040204020203" pitchFamily="34" charset="0"/>
            </a:endParaRPr>
          </a:p>
          <a:p>
            <a:pPr algn="l"/>
            <a:r>
              <a:rPr lang="en-US" b="0" i="0" dirty="0">
                <a:solidFill>
                  <a:srgbClr val="616161"/>
                </a:solidFill>
                <a:effectLst/>
                <a:latin typeface="Segoe UI" panose="020B0502040204020203" pitchFamily="34" charset="0"/>
              </a:rPr>
              <a:t>The faster-progression subgroup in the VALOR trial was defined based on the following criteria:</a:t>
            </a:r>
          </a:p>
          <a:p>
            <a:pPr algn="l">
              <a:buFont typeface="Arial" panose="020B0604020202020204" pitchFamily="34" charset="0"/>
              <a:buChar char="•"/>
            </a:pPr>
            <a:r>
              <a:rPr lang="en-US" b="1" i="0" dirty="0">
                <a:solidFill>
                  <a:srgbClr val="616161"/>
                </a:solidFill>
                <a:effectLst/>
                <a:latin typeface="Segoe UI" panose="020B0502040204020203" pitchFamily="34" charset="0"/>
              </a:rPr>
              <a:t>SOD1 Mutation Type</a:t>
            </a:r>
            <a:r>
              <a:rPr lang="en-US" b="0" i="0" dirty="0">
                <a:solidFill>
                  <a:srgbClr val="616161"/>
                </a:solidFill>
                <a:effectLst/>
                <a:latin typeface="Segoe UI" panose="020B0502040204020203" pitchFamily="34" charset="0"/>
              </a:rPr>
              <a:t>: Specific types of SOD1 mutations associated with faster disease progression.</a:t>
            </a:r>
          </a:p>
          <a:p>
            <a:pPr algn="l">
              <a:buFont typeface="Arial" panose="020B0604020202020204" pitchFamily="34" charset="0"/>
              <a:buChar char="•"/>
            </a:pPr>
            <a:endParaRPr lang="en-US" b="0" i="0" dirty="0">
              <a:solidFill>
                <a:srgbClr val="616161"/>
              </a:solidFill>
              <a:effectLst/>
              <a:latin typeface="Segoe UI" panose="020B0502040204020203" pitchFamily="34" charset="0"/>
            </a:endParaRPr>
          </a:p>
          <a:p>
            <a:pPr algn="l">
              <a:buFont typeface="Arial" panose="020B0604020202020204" pitchFamily="34" charset="0"/>
              <a:buChar char="•"/>
            </a:pPr>
            <a:r>
              <a:rPr lang="en-US" b="1" i="0" dirty="0">
                <a:solidFill>
                  <a:srgbClr val="616161"/>
                </a:solidFill>
                <a:effectLst/>
                <a:latin typeface="Segoe UI" panose="020B0502040204020203" pitchFamily="34" charset="0"/>
              </a:rPr>
              <a:t>Pre-randomization ALSFRS-R Slope</a:t>
            </a:r>
            <a:r>
              <a:rPr lang="en-US" b="0" i="0" dirty="0">
                <a:solidFill>
                  <a:srgbClr val="616161"/>
                </a:solidFill>
                <a:effectLst/>
                <a:latin typeface="Segoe UI" panose="020B0502040204020203" pitchFamily="34" charset="0"/>
              </a:rPr>
              <a:t>: The estimated slope of the ALS Functional Rating Scale-Revised (ALSFRS-R) score calculated from the time of symptom onset until screening.</a:t>
            </a:r>
          </a:p>
          <a:p>
            <a:pPr algn="l"/>
            <a:endParaRPr lang="en-US" b="0" i="0" dirty="0">
              <a:solidFill>
                <a:srgbClr val="616161"/>
              </a:solidFill>
              <a:effectLst/>
              <a:latin typeface="Segoe UI" panose="020B0502040204020203" pitchFamily="34" charset="0"/>
            </a:endParaRPr>
          </a:p>
          <a:p>
            <a:pPr algn="l"/>
            <a:r>
              <a:rPr lang="en-US" sz="1800" b="0" i="0" u="none" strike="noStrike" baseline="0" dirty="0">
                <a:latin typeface="OTNEJMQuadraat"/>
              </a:rPr>
              <a:t>A total of 60 of the 108 participants made up the faster-progression subgroup</a:t>
            </a:r>
            <a:endParaRPr lang="en-US" b="0" i="0" dirty="0">
              <a:solidFill>
                <a:srgbClr val="242424"/>
              </a:solidFill>
              <a:effectLst/>
              <a:latin typeface="Segoe UI" panose="020B0502040204020203" pitchFamily="34" charset="0"/>
            </a:endParaRPr>
          </a:p>
        </p:txBody>
      </p:sp>
    </p:spTree>
    <p:extLst>
      <p:ext uri="{BB962C8B-B14F-4D97-AF65-F5344CB8AC3E}">
        <p14:creationId xmlns:p14="http://schemas.microsoft.com/office/powerpoint/2010/main" val="3887536290"/>
      </p:ext>
    </p:extLst>
  </p:cSld>
  <p:clrMapOvr>
    <a:masterClrMapping/>
  </p:clrMapOvr>
  <p:transition spd="slow">
    <p:push dir="u"/>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3553128-A13D-27D1-700A-27193D2D4A91}"/>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358BC1C5-D063-1D1A-4160-A1559983B08B}"/>
              </a:ext>
            </a:extLst>
          </p:cNvPr>
          <p:cNvSpPr>
            <a:spLocks noGrp="1"/>
          </p:cNvSpPr>
          <p:nvPr>
            <p:ph type="body" sz="quarter" idx="15"/>
          </p:nvPr>
        </p:nvSpPr>
        <p:spPr/>
        <p:txBody>
          <a:bodyPr/>
          <a:lstStyle/>
          <a:p>
            <a:endParaRPr lang="en-US" dirty="0">
              <a:solidFill>
                <a:srgbClr val="000000"/>
              </a:solidFill>
            </a:endParaRPr>
          </a:p>
          <a:p>
            <a:endParaRPr lang="en-US" dirty="0"/>
          </a:p>
        </p:txBody>
      </p:sp>
      <p:sp>
        <p:nvSpPr>
          <p:cNvPr id="3" name="Footer Placeholder 2">
            <a:extLst>
              <a:ext uri="{FF2B5EF4-FFF2-40B4-BE49-F238E27FC236}">
                <a16:creationId xmlns:a16="http://schemas.microsoft.com/office/drawing/2014/main" id="{569C9A69-668F-788E-99B0-0CA5727ED999}"/>
              </a:ext>
            </a:extLst>
          </p:cNvPr>
          <p:cNvSpPr>
            <a:spLocks noGrp="1"/>
          </p:cNvSpPr>
          <p:nvPr>
            <p:ph type="ftr" sz="quarter" idx="3"/>
          </p:nvPr>
        </p:nvSpPr>
        <p:spPr/>
        <p:txBody>
          <a:bodyPr/>
          <a:lstStyle/>
          <a:p>
            <a:r>
              <a:rPr lang="en-JP"/>
              <a:t> </a:t>
            </a:r>
          </a:p>
        </p:txBody>
      </p:sp>
      <p:sp>
        <p:nvSpPr>
          <p:cNvPr id="4" name="Title 3">
            <a:extLst>
              <a:ext uri="{FF2B5EF4-FFF2-40B4-BE49-F238E27FC236}">
                <a16:creationId xmlns:a16="http://schemas.microsoft.com/office/drawing/2014/main" id="{AB878AA9-ABF8-9742-4423-ABA2ECF8218A}"/>
              </a:ext>
            </a:extLst>
          </p:cNvPr>
          <p:cNvSpPr>
            <a:spLocks noGrp="1"/>
          </p:cNvSpPr>
          <p:nvPr>
            <p:ph type="title"/>
          </p:nvPr>
        </p:nvSpPr>
        <p:spPr/>
        <p:txBody>
          <a:bodyPr/>
          <a:lstStyle/>
          <a:p>
            <a:r>
              <a:rPr lang="en-US" dirty="0"/>
              <a:t>UNC 13A Study Design</a:t>
            </a:r>
          </a:p>
        </p:txBody>
      </p:sp>
      <p:sp>
        <p:nvSpPr>
          <p:cNvPr id="5" name="Slide Number Placeholder 4">
            <a:extLst>
              <a:ext uri="{FF2B5EF4-FFF2-40B4-BE49-F238E27FC236}">
                <a16:creationId xmlns:a16="http://schemas.microsoft.com/office/drawing/2014/main" id="{D811F871-DD59-C0C0-9874-6507C8DBA01B}"/>
              </a:ext>
            </a:extLst>
          </p:cNvPr>
          <p:cNvSpPr>
            <a:spLocks noGrp="1"/>
          </p:cNvSpPr>
          <p:nvPr>
            <p:ph type="sldNum" sz="quarter" idx="4"/>
          </p:nvPr>
        </p:nvSpPr>
        <p:spPr/>
        <p:txBody>
          <a:bodyPr/>
          <a:lstStyle/>
          <a:p>
            <a:pPr defTabSz="1218810"/>
            <a:fld id="{E9B57936-92EF-4126-AE48-1D9D36D15E98}" type="slidenum">
              <a:rPr lang="ja-JP" altLang="en-US" smtClean="0"/>
              <a:pPr defTabSz="1218810"/>
              <a:t>1</a:t>
            </a:fld>
            <a:endParaRPr lang="ja-JP" altLang="en-US"/>
          </a:p>
        </p:txBody>
      </p:sp>
      <p:sp>
        <p:nvSpPr>
          <p:cNvPr id="6" name="Text Placeholder 5">
            <a:extLst>
              <a:ext uri="{FF2B5EF4-FFF2-40B4-BE49-F238E27FC236}">
                <a16:creationId xmlns:a16="http://schemas.microsoft.com/office/drawing/2014/main" id="{FFF0BF6A-FD53-A6C3-FFCD-0602DFDC5218}"/>
              </a:ext>
            </a:extLst>
          </p:cNvPr>
          <p:cNvSpPr>
            <a:spLocks noGrp="1"/>
          </p:cNvSpPr>
          <p:nvPr>
            <p:ph type="body" sz="quarter" idx="16"/>
          </p:nvPr>
        </p:nvSpPr>
        <p:spPr/>
        <p:txBody>
          <a:bodyPr/>
          <a:lstStyle/>
          <a:p>
            <a:endParaRPr lang="en-US"/>
          </a:p>
        </p:txBody>
      </p:sp>
      <p:pic>
        <p:nvPicPr>
          <p:cNvPr id="7" name="Picture 6">
            <a:extLst>
              <a:ext uri="{FF2B5EF4-FFF2-40B4-BE49-F238E27FC236}">
                <a16:creationId xmlns:a16="http://schemas.microsoft.com/office/drawing/2014/main" id="{B894DF33-971C-7151-E172-EB251EBA629E}"/>
              </a:ext>
            </a:extLst>
          </p:cNvPr>
          <p:cNvPicPr>
            <a:picLocks noChangeAspect="1"/>
          </p:cNvPicPr>
          <p:nvPr/>
        </p:nvPicPr>
        <p:blipFill>
          <a:blip r:embed="rId3"/>
          <a:stretch>
            <a:fillRect/>
          </a:stretch>
        </p:blipFill>
        <p:spPr>
          <a:xfrm>
            <a:off x="5614304" y="1233488"/>
            <a:ext cx="6483734" cy="2975699"/>
          </a:xfrm>
          <a:prstGeom prst="rect">
            <a:avLst/>
          </a:prstGeom>
        </p:spPr>
      </p:pic>
      <p:sp>
        <p:nvSpPr>
          <p:cNvPr id="9" name="TextBox 8">
            <a:extLst>
              <a:ext uri="{FF2B5EF4-FFF2-40B4-BE49-F238E27FC236}">
                <a16:creationId xmlns:a16="http://schemas.microsoft.com/office/drawing/2014/main" id="{F3349300-0F7C-A12F-B4FF-9FCBEAAD10FC}"/>
              </a:ext>
            </a:extLst>
          </p:cNvPr>
          <p:cNvSpPr txBox="1"/>
          <p:nvPr/>
        </p:nvSpPr>
        <p:spPr>
          <a:xfrm>
            <a:off x="300038" y="1213628"/>
            <a:ext cx="5440362" cy="5257850"/>
          </a:xfrm>
          <a:prstGeom prst="rect">
            <a:avLst/>
          </a:prstGeom>
          <a:noFill/>
        </p:spPr>
        <p:txBody>
          <a:bodyPr wrap="square" rtlCol="0">
            <a:spAutoFit/>
          </a:bodyPr>
          <a:lstStyle/>
          <a:p>
            <a:r>
              <a:rPr lang="en-US" b="1" dirty="0"/>
              <a:t>Study Type: </a:t>
            </a:r>
            <a:r>
              <a:rPr lang="en-US" dirty="0"/>
              <a:t>First in Human </a:t>
            </a:r>
            <a:r>
              <a:rPr lang="en-US" dirty="0" err="1"/>
              <a:t>ePOC</a:t>
            </a:r>
            <a:endParaRPr lang="en-US" dirty="0"/>
          </a:p>
          <a:p>
            <a:endParaRPr lang="en-US" dirty="0"/>
          </a:p>
          <a:p>
            <a:r>
              <a:rPr lang="en-US" b="1" dirty="0"/>
              <a:t>Target Population: </a:t>
            </a:r>
            <a:r>
              <a:rPr lang="en-US" dirty="0"/>
              <a:t>Adults with ALS of age between 18-62</a:t>
            </a:r>
          </a:p>
          <a:p>
            <a:r>
              <a:rPr lang="en-US" sz="1800" b="1" i="0" dirty="0">
                <a:solidFill>
                  <a:srgbClr val="000000"/>
                </a:solidFill>
                <a:effectLst/>
                <a:latin typeface="Calibri" panose="020F0502020204030204" pitchFamily="34" charset="0"/>
              </a:rPr>
              <a:t>Study Design: </a:t>
            </a:r>
            <a:r>
              <a:rPr lang="en-US" sz="1800" b="0" i="0" dirty="0">
                <a:solidFill>
                  <a:srgbClr val="000000"/>
                </a:solidFill>
                <a:effectLst/>
                <a:latin typeface="Calibri" panose="020F0502020204030204" pitchFamily="34" charset="0"/>
              </a:rPr>
              <a:t>Randomized, Double-Blind, Placebo-Controlled </a:t>
            </a:r>
            <a:r>
              <a:rPr lang="en-US" dirty="0">
                <a:solidFill>
                  <a:srgbClr val="000000"/>
                </a:solidFill>
                <a:latin typeface="Calibri" panose="020F0502020204030204" pitchFamily="34" charset="0"/>
              </a:rPr>
              <a:t>MAD (SAD) study</a:t>
            </a:r>
          </a:p>
          <a:p>
            <a:endParaRPr lang="en-US" dirty="0">
              <a:solidFill>
                <a:srgbClr val="000000"/>
              </a:solidFill>
              <a:latin typeface="Calibri" panose="020F0502020204030204" pitchFamily="34" charset="0"/>
            </a:endParaRPr>
          </a:p>
          <a:p>
            <a:r>
              <a:rPr lang="en-US" b="1" dirty="0">
                <a:solidFill>
                  <a:srgbClr val="000000"/>
                </a:solidFill>
                <a:latin typeface="Calibri" panose="020F0502020204030204" pitchFamily="34" charset="0"/>
              </a:rPr>
              <a:t>Objective</a:t>
            </a:r>
            <a:r>
              <a:rPr lang="en-US" dirty="0">
                <a:solidFill>
                  <a:srgbClr val="000000"/>
                </a:solidFill>
                <a:latin typeface="Calibri" panose="020F0502020204030204" pitchFamily="34" charset="0"/>
              </a:rPr>
              <a:t>: Safety and tolerability and efficacy evaluation for Go/No-Go.</a:t>
            </a:r>
          </a:p>
          <a:p>
            <a:endParaRPr lang="en-US" dirty="0">
              <a:solidFill>
                <a:srgbClr val="000000"/>
              </a:solidFill>
              <a:latin typeface="Calibri" panose="020F0502020204030204" pitchFamily="34" charset="0"/>
            </a:endParaRPr>
          </a:p>
          <a:p>
            <a:pPr algn="just" rtl="0" fontAlgn="base">
              <a:lnSpc>
                <a:spcPts val="1350"/>
              </a:lnSpc>
            </a:pPr>
            <a:r>
              <a:rPr lang="en-US" sz="1800" b="1" i="0" dirty="0">
                <a:effectLst/>
                <a:latin typeface="Calibri" panose="020F0502020204030204" pitchFamily="34" charset="0"/>
              </a:rPr>
              <a:t>Open Label Extension</a:t>
            </a:r>
            <a:r>
              <a:rPr lang="en-US" sz="1800" b="0" i="0" dirty="0">
                <a:effectLst/>
                <a:latin typeface="Calibri" panose="020F0502020204030204" pitchFamily="34" charset="0"/>
              </a:rPr>
              <a:t> </a:t>
            </a:r>
            <a:endParaRPr lang="en-US" b="0" i="0" dirty="0">
              <a:effectLst/>
              <a:latin typeface="Segoe UI" panose="020B0502040204020203" pitchFamily="34" charset="0"/>
            </a:endParaRPr>
          </a:p>
          <a:p>
            <a:pPr algn="just" rtl="0" fontAlgn="base"/>
            <a:r>
              <a:rPr lang="en-US" sz="1800" b="0" i="0" dirty="0">
                <a:effectLst/>
                <a:latin typeface="Calibri" panose="020F0502020204030204" pitchFamily="34" charset="0"/>
              </a:rPr>
              <a:t>The open label extension (OLE) portion of the Ph1/2 will have similar objectives to the main study but will be a separate study with its own protocol.  Only patients completing the Ph1/2 will be invited to roll into the OLE. The original treatment group assignment will remain blinded to the participants and investigators.</a:t>
            </a:r>
            <a:endParaRPr lang="en-US" b="0" i="0" dirty="0">
              <a:effectLst/>
              <a:latin typeface="Segoe UI" panose="020B0502040204020203" pitchFamily="34" charset="0"/>
            </a:endParaRPr>
          </a:p>
          <a:p>
            <a:endParaRPr lang="en-US" dirty="0"/>
          </a:p>
          <a:p>
            <a:endParaRPr lang="en-US" dirty="0"/>
          </a:p>
        </p:txBody>
      </p:sp>
    </p:spTree>
    <p:extLst>
      <p:ext uri="{BB962C8B-B14F-4D97-AF65-F5344CB8AC3E}">
        <p14:creationId xmlns:p14="http://schemas.microsoft.com/office/powerpoint/2010/main" val="367513924"/>
      </p:ext>
    </p:extLst>
  </p:cSld>
  <p:clrMapOvr>
    <a:masterClrMapping/>
  </p:clrMapOvr>
  <p:transition spd="slow">
    <p:push dir="u"/>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8A7F956-226B-E2C5-7570-A9971147FE8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25" name="think-cell data - do not delete" hidden="1">
                        <a:extLst>
                          <a:ext uri="{FF2B5EF4-FFF2-40B4-BE49-F238E27FC236}">
                            <a16:creationId xmlns:a16="http://schemas.microsoft.com/office/drawing/2014/main" id="{88A7F956-226B-E2C5-7570-A9971147FE8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48" name="Arrow: Right 1047">
            <a:extLst>
              <a:ext uri="{FF2B5EF4-FFF2-40B4-BE49-F238E27FC236}">
                <a16:creationId xmlns:a16="http://schemas.microsoft.com/office/drawing/2014/main" id="{B835FFD2-B1A6-020F-75E3-C6E04EAC6573}"/>
              </a:ext>
            </a:extLst>
          </p:cNvPr>
          <p:cNvSpPr/>
          <p:nvPr/>
        </p:nvSpPr>
        <p:spPr>
          <a:xfrm>
            <a:off x="7574562" y="-358424"/>
            <a:ext cx="4560187" cy="5964960"/>
          </a:xfrm>
          <a:prstGeom prst="rightArrow">
            <a:avLst/>
          </a:prstGeom>
          <a:solidFill>
            <a:schemeClr val="bg2"/>
          </a:solidFill>
          <a:ln>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tx1"/>
                </a:solidFill>
              </a:rPr>
              <a:t>Open label extension</a:t>
            </a:r>
          </a:p>
          <a:p>
            <a:pPr algn="ctr"/>
            <a:r>
              <a:rPr lang="en-US" sz="1200">
                <a:solidFill>
                  <a:schemeClr val="tx1"/>
                </a:solidFill>
              </a:rPr>
              <a:t>(earliest start could be the end of chronic tox, in-life results, timing TBD)</a:t>
            </a:r>
          </a:p>
        </p:txBody>
      </p:sp>
      <p:sp>
        <p:nvSpPr>
          <p:cNvPr id="2" name="Title 1">
            <a:extLst>
              <a:ext uri="{FF2B5EF4-FFF2-40B4-BE49-F238E27FC236}">
                <a16:creationId xmlns:a16="http://schemas.microsoft.com/office/drawing/2014/main" id="{6FA94DC7-DCB9-67B7-BDCB-C72C1B3438F3}"/>
              </a:ext>
            </a:extLst>
          </p:cNvPr>
          <p:cNvSpPr>
            <a:spLocks noGrp="1"/>
          </p:cNvSpPr>
          <p:nvPr>
            <p:ph type="title"/>
          </p:nvPr>
        </p:nvSpPr>
        <p:spPr/>
        <p:txBody>
          <a:bodyPr vert="horz">
            <a:normAutofit/>
          </a:bodyPr>
          <a:lstStyle/>
          <a:p>
            <a:r>
              <a:rPr kumimoji="1" lang="en-US" sz="2800" b="1" i="0" u="none" strike="noStrike" kern="1200" cap="none" spc="0" normalizeH="0" baseline="0" noProof="0">
                <a:ln>
                  <a:noFill/>
                </a:ln>
                <a:solidFill>
                  <a:srgbClr val="34373F"/>
                </a:solidFill>
                <a:effectLst/>
                <a:uLnTx/>
                <a:uFillTx/>
                <a:latin typeface="Calibri" panose="020F0502020204030204" pitchFamily="34" charset="0"/>
                <a:ea typeface="メイリオ" pitchFamily="50" charset="-128"/>
                <a:cs typeface="Calibri" pitchFamily="34" charset="0"/>
              </a:rPr>
              <a:t>Ph1/2 Study Schematic (DRAFT)</a:t>
            </a:r>
            <a:endParaRPr lang="en-US" sz="2000"/>
          </a:p>
        </p:txBody>
      </p:sp>
      <p:sp>
        <p:nvSpPr>
          <p:cNvPr id="5" name="Rectangle 4">
            <a:extLst>
              <a:ext uri="{FF2B5EF4-FFF2-40B4-BE49-F238E27FC236}">
                <a16:creationId xmlns:a16="http://schemas.microsoft.com/office/drawing/2014/main" id="{58CD0C01-36B2-F76C-DAC1-269B44F3DE95}"/>
              </a:ext>
            </a:extLst>
          </p:cNvPr>
          <p:cNvSpPr/>
          <p:nvPr/>
        </p:nvSpPr>
        <p:spPr>
          <a:xfrm>
            <a:off x="1292326" y="1188450"/>
            <a:ext cx="2718033" cy="201336"/>
          </a:xfrm>
          <a:prstGeom prst="rect">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solidFill>
                  <a:schemeClr val="bg1"/>
                </a:solidFill>
              </a:rPr>
              <a:t>Cohort A (x mg</a:t>
            </a:r>
            <a:r>
              <a:rPr lang="en-US">
                <a:solidFill>
                  <a:schemeClr val="tx1"/>
                </a:solidFill>
              </a:rPr>
              <a:t>)</a:t>
            </a:r>
          </a:p>
        </p:txBody>
      </p:sp>
      <p:sp>
        <p:nvSpPr>
          <p:cNvPr id="6" name="Rectangle 5">
            <a:extLst>
              <a:ext uri="{FF2B5EF4-FFF2-40B4-BE49-F238E27FC236}">
                <a16:creationId xmlns:a16="http://schemas.microsoft.com/office/drawing/2014/main" id="{ECE9BF03-26C1-55A3-08AD-93029692B61F}"/>
              </a:ext>
            </a:extLst>
          </p:cNvPr>
          <p:cNvSpPr/>
          <p:nvPr/>
        </p:nvSpPr>
        <p:spPr>
          <a:xfrm>
            <a:off x="4010359" y="1188450"/>
            <a:ext cx="2718033" cy="201336"/>
          </a:xfrm>
          <a:prstGeom prst="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solidFill>
                  <a:schemeClr val="tx1"/>
                </a:solidFill>
              </a:rPr>
              <a:t>f/u period</a:t>
            </a:r>
          </a:p>
        </p:txBody>
      </p:sp>
      <p:sp>
        <p:nvSpPr>
          <p:cNvPr id="7" name="Rectangle 6">
            <a:extLst>
              <a:ext uri="{FF2B5EF4-FFF2-40B4-BE49-F238E27FC236}">
                <a16:creationId xmlns:a16="http://schemas.microsoft.com/office/drawing/2014/main" id="{E160BAA2-09DB-6194-10ED-CB2566EBF678}"/>
              </a:ext>
            </a:extLst>
          </p:cNvPr>
          <p:cNvSpPr/>
          <p:nvPr/>
        </p:nvSpPr>
        <p:spPr>
          <a:xfrm>
            <a:off x="2132623" y="2104248"/>
            <a:ext cx="2718033" cy="201336"/>
          </a:xfrm>
          <a:prstGeom prst="rect">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800">
                <a:solidFill>
                  <a:schemeClr val="bg1"/>
                </a:solidFill>
              </a:rPr>
              <a:t>Cohort B (2x mg)</a:t>
            </a:r>
          </a:p>
        </p:txBody>
      </p:sp>
      <p:sp>
        <p:nvSpPr>
          <p:cNvPr id="8" name="Rectangle 7">
            <a:extLst>
              <a:ext uri="{FF2B5EF4-FFF2-40B4-BE49-F238E27FC236}">
                <a16:creationId xmlns:a16="http://schemas.microsoft.com/office/drawing/2014/main" id="{D20C13FE-69AE-C584-18A9-C722A1F9BA29}"/>
              </a:ext>
            </a:extLst>
          </p:cNvPr>
          <p:cNvSpPr/>
          <p:nvPr/>
        </p:nvSpPr>
        <p:spPr>
          <a:xfrm>
            <a:off x="4850656" y="2104248"/>
            <a:ext cx="2718033" cy="201336"/>
          </a:xfrm>
          <a:prstGeom prst="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solidFill>
                  <a:schemeClr val="tx1"/>
                </a:solidFill>
              </a:rPr>
              <a:t>f/u period</a:t>
            </a:r>
          </a:p>
        </p:txBody>
      </p:sp>
      <p:sp>
        <p:nvSpPr>
          <p:cNvPr id="9" name="Rectangle 8">
            <a:extLst>
              <a:ext uri="{FF2B5EF4-FFF2-40B4-BE49-F238E27FC236}">
                <a16:creationId xmlns:a16="http://schemas.microsoft.com/office/drawing/2014/main" id="{C69D6C88-EB38-6249-CC23-453F6E8BFA0B}"/>
              </a:ext>
            </a:extLst>
          </p:cNvPr>
          <p:cNvSpPr/>
          <p:nvPr/>
        </p:nvSpPr>
        <p:spPr>
          <a:xfrm>
            <a:off x="3088968" y="3023265"/>
            <a:ext cx="2718033" cy="201336"/>
          </a:xfrm>
          <a:prstGeom prst="rect">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800">
                <a:solidFill>
                  <a:schemeClr val="bg1"/>
                </a:solidFill>
              </a:rPr>
              <a:t>Cohort C (4x mg)</a:t>
            </a:r>
          </a:p>
        </p:txBody>
      </p:sp>
      <p:sp>
        <p:nvSpPr>
          <p:cNvPr id="10" name="Rectangle 9">
            <a:extLst>
              <a:ext uri="{FF2B5EF4-FFF2-40B4-BE49-F238E27FC236}">
                <a16:creationId xmlns:a16="http://schemas.microsoft.com/office/drawing/2014/main" id="{21B760F6-5EF8-C529-539F-9C8B2B6E5217}"/>
              </a:ext>
            </a:extLst>
          </p:cNvPr>
          <p:cNvSpPr/>
          <p:nvPr/>
        </p:nvSpPr>
        <p:spPr>
          <a:xfrm>
            <a:off x="5807001" y="3023265"/>
            <a:ext cx="2718033" cy="201336"/>
          </a:xfrm>
          <a:prstGeom prst="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solidFill>
                  <a:schemeClr val="tx1"/>
                </a:solidFill>
              </a:rPr>
              <a:t>f/u period</a:t>
            </a:r>
          </a:p>
        </p:txBody>
      </p:sp>
      <p:sp>
        <p:nvSpPr>
          <p:cNvPr id="11" name="Rectangle 10">
            <a:extLst>
              <a:ext uri="{FF2B5EF4-FFF2-40B4-BE49-F238E27FC236}">
                <a16:creationId xmlns:a16="http://schemas.microsoft.com/office/drawing/2014/main" id="{7065E93F-A414-81D1-1B81-139671035BFB}"/>
              </a:ext>
            </a:extLst>
          </p:cNvPr>
          <p:cNvSpPr/>
          <p:nvPr/>
        </p:nvSpPr>
        <p:spPr>
          <a:xfrm>
            <a:off x="4010359" y="3944571"/>
            <a:ext cx="2718033" cy="201336"/>
          </a:xfrm>
          <a:prstGeom prst="rect">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800">
                <a:solidFill>
                  <a:schemeClr val="bg1"/>
                </a:solidFill>
              </a:rPr>
              <a:t>Cohort D (8x mg)</a:t>
            </a:r>
          </a:p>
        </p:txBody>
      </p:sp>
      <p:sp>
        <p:nvSpPr>
          <p:cNvPr id="12" name="Rectangle 11">
            <a:extLst>
              <a:ext uri="{FF2B5EF4-FFF2-40B4-BE49-F238E27FC236}">
                <a16:creationId xmlns:a16="http://schemas.microsoft.com/office/drawing/2014/main" id="{9D255A3B-E3AD-3C58-8F55-3C77ABD89870}"/>
              </a:ext>
            </a:extLst>
          </p:cNvPr>
          <p:cNvSpPr/>
          <p:nvPr/>
        </p:nvSpPr>
        <p:spPr>
          <a:xfrm>
            <a:off x="6728392" y="3944571"/>
            <a:ext cx="2718033" cy="201336"/>
          </a:xfrm>
          <a:prstGeom prst="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solidFill>
                  <a:schemeClr val="tx1"/>
                </a:solidFill>
              </a:rPr>
              <a:t>f/u period</a:t>
            </a:r>
          </a:p>
        </p:txBody>
      </p:sp>
      <p:sp>
        <p:nvSpPr>
          <p:cNvPr id="13" name="TextBox 12">
            <a:extLst>
              <a:ext uri="{FF2B5EF4-FFF2-40B4-BE49-F238E27FC236}">
                <a16:creationId xmlns:a16="http://schemas.microsoft.com/office/drawing/2014/main" id="{0FCB78FE-FF29-E597-2155-9CDAE88244F0}"/>
              </a:ext>
            </a:extLst>
          </p:cNvPr>
          <p:cNvSpPr txBox="1"/>
          <p:nvPr/>
        </p:nvSpPr>
        <p:spPr>
          <a:xfrm>
            <a:off x="653685" y="1058285"/>
            <a:ext cx="646331" cy="461665"/>
          </a:xfrm>
          <a:prstGeom prst="rect">
            <a:avLst/>
          </a:prstGeom>
          <a:noFill/>
        </p:spPr>
        <p:txBody>
          <a:bodyPr wrap="none" rtlCol="0">
            <a:spAutoFit/>
          </a:bodyPr>
          <a:lstStyle/>
          <a:p>
            <a:r>
              <a:rPr lang="en-US" sz="1200" b="1"/>
              <a:t>N=8 </a:t>
            </a:r>
          </a:p>
          <a:p>
            <a:r>
              <a:rPr lang="en-US" sz="1200"/>
              <a:t>(6A:2P)</a:t>
            </a:r>
          </a:p>
        </p:txBody>
      </p:sp>
      <p:sp>
        <p:nvSpPr>
          <p:cNvPr id="14" name="TextBox 13">
            <a:extLst>
              <a:ext uri="{FF2B5EF4-FFF2-40B4-BE49-F238E27FC236}">
                <a16:creationId xmlns:a16="http://schemas.microsoft.com/office/drawing/2014/main" id="{2F8B72E3-4E57-32CF-7083-224395CCC29E}"/>
              </a:ext>
            </a:extLst>
          </p:cNvPr>
          <p:cNvSpPr txBox="1"/>
          <p:nvPr/>
        </p:nvSpPr>
        <p:spPr>
          <a:xfrm>
            <a:off x="1401004" y="1946331"/>
            <a:ext cx="646331" cy="461665"/>
          </a:xfrm>
          <a:prstGeom prst="rect">
            <a:avLst/>
          </a:prstGeom>
          <a:noFill/>
        </p:spPr>
        <p:txBody>
          <a:bodyPr wrap="none" rtlCol="0">
            <a:spAutoFit/>
          </a:bodyPr>
          <a:lstStyle/>
          <a:p>
            <a:r>
              <a:rPr lang="en-US" sz="1200" b="1"/>
              <a:t>N=8 </a:t>
            </a:r>
          </a:p>
          <a:p>
            <a:r>
              <a:rPr lang="en-US" sz="1200"/>
              <a:t>(6A:2P)</a:t>
            </a:r>
          </a:p>
        </p:txBody>
      </p:sp>
      <p:sp>
        <p:nvSpPr>
          <p:cNvPr id="15" name="TextBox 14">
            <a:extLst>
              <a:ext uri="{FF2B5EF4-FFF2-40B4-BE49-F238E27FC236}">
                <a16:creationId xmlns:a16="http://schemas.microsoft.com/office/drawing/2014/main" id="{B5134E7A-0B0B-41AB-D961-B453C2B893CB}"/>
              </a:ext>
            </a:extLst>
          </p:cNvPr>
          <p:cNvSpPr txBox="1"/>
          <p:nvPr/>
        </p:nvSpPr>
        <p:spPr>
          <a:xfrm>
            <a:off x="2407843" y="2847936"/>
            <a:ext cx="724878" cy="461665"/>
          </a:xfrm>
          <a:prstGeom prst="rect">
            <a:avLst/>
          </a:prstGeom>
          <a:noFill/>
        </p:spPr>
        <p:txBody>
          <a:bodyPr wrap="none" rtlCol="0">
            <a:spAutoFit/>
          </a:bodyPr>
          <a:lstStyle/>
          <a:p>
            <a:r>
              <a:rPr lang="en-US" sz="1200" b="1"/>
              <a:t>N=16 </a:t>
            </a:r>
          </a:p>
          <a:p>
            <a:r>
              <a:rPr lang="en-US" sz="1200"/>
              <a:t>(12A:4P)</a:t>
            </a:r>
          </a:p>
        </p:txBody>
      </p:sp>
      <p:sp>
        <p:nvSpPr>
          <p:cNvPr id="16" name="TextBox 15">
            <a:extLst>
              <a:ext uri="{FF2B5EF4-FFF2-40B4-BE49-F238E27FC236}">
                <a16:creationId xmlns:a16="http://schemas.microsoft.com/office/drawing/2014/main" id="{8C023718-5FDF-F4FB-417D-C92B6DA71F3B}"/>
              </a:ext>
            </a:extLst>
          </p:cNvPr>
          <p:cNvSpPr txBox="1"/>
          <p:nvPr/>
        </p:nvSpPr>
        <p:spPr>
          <a:xfrm>
            <a:off x="3329234" y="3761763"/>
            <a:ext cx="724878" cy="461665"/>
          </a:xfrm>
          <a:prstGeom prst="rect">
            <a:avLst/>
          </a:prstGeom>
          <a:noFill/>
        </p:spPr>
        <p:txBody>
          <a:bodyPr wrap="none" rtlCol="0">
            <a:spAutoFit/>
          </a:bodyPr>
          <a:lstStyle/>
          <a:p>
            <a:r>
              <a:rPr lang="en-US" sz="1200" b="1"/>
              <a:t>N=16 </a:t>
            </a:r>
          </a:p>
          <a:p>
            <a:r>
              <a:rPr lang="en-US" sz="1200"/>
              <a:t>(12A:4P)</a:t>
            </a:r>
          </a:p>
        </p:txBody>
      </p:sp>
      <p:sp>
        <p:nvSpPr>
          <p:cNvPr id="17" name="TextBox 16">
            <a:extLst>
              <a:ext uri="{FF2B5EF4-FFF2-40B4-BE49-F238E27FC236}">
                <a16:creationId xmlns:a16="http://schemas.microsoft.com/office/drawing/2014/main" id="{F8F95942-9FA7-6F6F-EA17-5D3DF5918AFC}"/>
              </a:ext>
            </a:extLst>
          </p:cNvPr>
          <p:cNvSpPr txBox="1"/>
          <p:nvPr/>
        </p:nvSpPr>
        <p:spPr>
          <a:xfrm>
            <a:off x="254006" y="2598003"/>
            <a:ext cx="976286" cy="830997"/>
          </a:xfrm>
          <a:prstGeom prst="rect">
            <a:avLst/>
          </a:prstGeom>
          <a:noFill/>
        </p:spPr>
        <p:txBody>
          <a:bodyPr wrap="square" rtlCol="0">
            <a:spAutoFit/>
          </a:bodyPr>
          <a:lstStyle/>
          <a:p>
            <a:r>
              <a:rPr lang="en-US" sz="1200"/>
              <a:t>Total N = 48 (36 active and 12 placebo)</a:t>
            </a:r>
          </a:p>
        </p:txBody>
      </p:sp>
      <p:grpSp>
        <p:nvGrpSpPr>
          <p:cNvPr id="18" name="Group 17">
            <a:extLst>
              <a:ext uri="{FF2B5EF4-FFF2-40B4-BE49-F238E27FC236}">
                <a16:creationId xmlns:a16="http://schemas.microsoft.com/office/drawing/2014/main" id="{E62BF04D-C96A-A35A-F4B1-667A5948EB1C}"/>
              </a:ext>
            </a:extLst>
          </p:cNvPr>
          <p:cNvGrpSpPr/>
          <p:nvPr/>
        </p:nvGrpSpPr>
        <p:grpSpPr>
          <a:xfrm>
            <a:off x="1237093" y="595614"/>
            <a:ext cx="2786335" cy="577214"/>
            <a:chOff x="1237093" y="595614"/>
            <a:chExt cx="2786335" cy="577214"/>
          </a:xfrm>
        </p:grpSpPr>
        <p:pic>
          <p:nvPicPr>
            <p:cNvPr id="1028" name="Picture 4" descr="Vector flat syringe icon outline. Medical equipment line art picture  isolated on white background. Healthcare, research and laboratory concept.  Health check or treatment clip art 6982489 Vector Art at Vecteezy">
              <a:extLst>
                <a:ext uri="{FF2B5EF4-FFF2-40B4-BE49-F238E27FC236}">
                  <a16:creationId xmlns:a16="http://schemas.microsoft.com/office/drawing/2014/main" id="{2D1ABBDD-64CA-0450-390E-697277F79AF9}"/>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28076" r="27851"/>
            <a:stretch/>
          </p:blipFill>
          <p:spPr bwMode="auto">
            <a:xfrm rot="10800000" flipH="1">
              <a:off x="1237093" y="608748"/>
              <a:ext cx="128640" cy="564080"/>
            </a:xfrm>
            <a:prstGeom prst="rect">
              <a:avLst/>
            </a:prstGeom>
            <a:noFill/>
            <a:ln>
              <a:solidFill>
                <a:srgbClr val="FF0000"/>
              </a:solidFill>
            </a:ln>
            <a:extLst>
              <a:ext uri="{909E8E84-426E-40DD-AFC4-6F175D3DCCD1}">
                <a14:hiddenFill xmlns:a14="http://schemas.microsoft.com/office/drawing/2010/main">
                  <a:solidFill>
                    <a:srgbClr val="FFFFFF"/>
                  </a:solidFill>
                </a14:hiddenFill>
              </a:ext>
            </a:extLst>
          </p:spPr>
        </p:pic>
        <p:pic>
          <p:nvPicPr>
            <p:cNvPr id="19" name="Picture 4" descr="Vector flat syringe icon outline. Medical equipment line art picture  isolated on white background. Healthcare, research and laboratory concept.  Health check or treatment clip art 6982489 Vector Art at Vecteezy">
              <a:extLst>
                <a:ext uri="{FF2B5EF4-FFF2-40B4-BE49-F238E27FC236}">
                  <a16:creationId xmlns:a16="http://schemas.microsoft.com/office/drawing/2014/main" id="{46DB060A-F104-5FFF-5309-CFEEE5D4D3F7}"/>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28076" r="27851"/>
            <a:stretch/>
          </p:blipFill>
          <p:spPr bwMode="auto">
            <a:xfrm rot="10800000" flipH="1">
              <a:off x="2068303" y="608748"/>
              <a:ext cx="128640" cy="564080"/>
            </a:xfrm>
            <a:prstGeom prst="rect">
              <a:avLst/>
            </a:prstGeom>
            <a:noFill/>
            <a:ln>
              <a:solidFill>
                <a:srgbClr val="FF0000"/>
              </a:solidFill>
            </a:ln>
            <a:extLst>
              <a:ext uri="{909E8E84-426E-40DD-AFC4-6F175D3DCCD1}">
                <a14:hiddenFill xmlns:a14="http://schemas.microsoft.com/office/drawing/2010/main">
                  <a:solidFill>
                    <a:srgbClr val="FFFFFF"/>
                  </a:solidFill>
                </a14:hiddenFill>
              </a:ext>
            </a:extLst>
          </p:spPr>
        </p:pic>
        <p:pic>
          <p:nvPicPr>
            <p:cNvPr id="20" name="Picture 4" descr="Vector flat syringe icon outline. Medical equipment line art picture  isolated on white background. Healthcare, research and laboratory concept.  Health check or treatment clip art 6982489 Vector Art at Vecteezy">
              <a:extLst>
                <a:ext uri="{FF2B5EF4-FFF2-40B4-BE49-F238E27FC236}">
                  <a16:creationId xmlns:a16="http://schemas.microsoft.com/office/drawing/2014/main" id="{2A74725F-F38F-8793-6C43-D8A9DD472BDB}"/>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28076" r="27851"/>
            <a:stretch/>
          </p:blipFill>
          <p:spPr bwMode="auto">
            <a:xfrm rot="10800000" flipH="1">
              <a:off x="3024648" y="600117"/>
              <a:ext cx="128640" cy="564080"/>
            </a:xfrm>
            <a:prstGeom prst="rect">
              <a:avLst/>
            </a:prstGeom>
            <a:noFill/>
            <a:ln>
              <a:solidFill>
                <a:srgbClr val="FF0000"/>
              </a:solidFill>
            </a:ln>
            <a:extLst>
              <a:ext uri="{909E8E84-426E-40DD-AFC4-6F175D3DCCD1}">
                <a14:hiddenFill xmlns:a14="http://schemas.microsoft.com/office/drawing/2010/main">
                  <a:solidFill>
                    <a:srgbClr val="FFFFFF"/>
                  </a:solidFill>
                </a14:hiddenFill>
              </a:ext>
            </a:extLst>
          </p:spPr>
        </p:pic>
        <p:pic>
          <p:nvPicPr>
            <p:cNvPr id="21" name="Picture 4" descr="Vector flat syringe icon outline. Medical equipment line art picture  isolated on white background. Healthcare, research and laboratory concept.  Health check or treatment clip art 6982489 Vector Art at Vecteezy">
              <a:extLst>
                <a:ext uri="{FF2B5EF4-FFF2-40B4-BE49-F238E27FC236}">
                  <a16:creationId xmlns:a16="http://schemas.microsoft.com/office/drawing/2014/main" id="{00AF6E8F-C547-96CB-50C8-42F637C51DD9}"/>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28076" r="27851"/>
            <a:stretch/>
          </p:blipFill>
          <p:spPr bwMode="auto">
            <a:xfrm rot="10800000" flipH="1">
              <a:off x="3894788" y="595614"/>
              <a:ext cx="128640" cy="564080"/>
            </a:xfrm>
            <a:prstGeom prst="rect">
              <a:avLst/>
            </a:prstGeom>
            <a:noFill/>
            <a:ln>
              <a:solidFill>
                <a:srgbClr val="FF0000"/>
              </a:solidFill>
            </a:ln>
            <a:extLst>
              <a:ext uri="{909E8E84-426E-40DD-AFC4-6F175D3DCCD1}">
                <a14:hiddenFill xmlns:a14="http://schemas.microsoft.com/office/drawing/2010/main">
                  <a:solidFill>
                    <a:srgbClr val="FFFFFF"/>
                  </a:solidFill>
                </a14:hiddenFill>
              </a:ext>
            </a:extLst>
          </p:spPr>
        </p:pic>
      </p:grpSp>
      <p:sp>
        <p:nvSpPr>
          <p:cNvPr id="1030" name="TextBox 1029">
            <a:extLst>
              <a:ext uri="{FF2B5EF4-FFF2-40B4-BE49-F238E27FC236}">
                <a16:creationId xmlns:a16="http://schemas.microsoft.com/office/drawing/2014/main" id="{FA0ED9E3-1114-C843-DFFC-F19B01B25B00}"/>
              </a:ext>
            </a:extLst>
          </p:cNvPr>
          <p:cNvSpPr txBox="1"/>
          <p:nvPr/>
        </p:nvSpPr>
        <p:spPr>
          <a:xfrm>
            <a:off x="4889295" y="4223428"/>
            <a:ext cx="828560" cy="369332"/>
          </a:xfrm>
          <a:prstGeom prst="rect">
            <a:avLst/>
          </a:prstGeom>
          <a:noFill/>
        </p:spPr>
        <p:txBody>
          <a:bodyPr wrap="none" rtlCol="0">
            <a:spAutoFit/>
          </a:bodyPr>
          <a:lstStyle/>
          <a:p>
            <a:r>
              <a:rPr lang="en-US"/>
              <a:t>12 </a:t>
            </a:r>
            <a:r>
              <a:rPr lang="en-US" err="1"/>
              <a:t>wks</a:t>
            </a:r>
            <a:endParaRPr lang="en-US"/>
          </a:p>
        </p:txBody>
      </p:sp>
      <p:sp>
        <p:nvSpPr>
          <p:cNvPr id="1031" name="TextBox 1030">
            <a:extLst>
              <a:ext uri="{FF2B5EF4-FFF2-40B4-BE49-F238E27FC236}">
                <a16:creationId xmlns:a16="http://schemas.microsoft.com/office/drawing/2014/main" id="{2EDCBE9E-05A1-4CCF-BF65-2C9A2C9157AA}"/>
              </a:ext>
            </a:extLst>
          </p:cNvPr>
          <p:cNvSpPr txBox="1"/>
          <p:nvPr/>
        </p:nvSpPr>
        <p:spPr>
          <a:xfrm>
            <a:off x="7823155" y="4205571"/>
            <a:ext cx="828560" cy="369332"/>
          </a:xfrm>
          <a:prstGeom prst="rect">
            <a:avLst/>
          </a:prstGeom>
          <a:noFill/>
        </p:spPr>
        <p:txBody>
          <a:bodyPr wrap="none" rtlCol="0">
            <a:spAutoFit/>
          </a:bodyPr>
          <a:lstStyle/>
          <a:p>
            <a:r>
              <a:rPr lang="en-US"/>
              <a:t>12 </a:t>
            </a:r>
            <a:r>
              <a:rPr lang="en-US" err="1"/>
              <a:t>wks</a:t>
            </a:r>
            <a:endParaRPr lang="en-US"/>
          </a:p>
        </p:txBody>
      </p:sp>
      <p:cxnSp>
        <p:nvCxnSpPr>
          <p:cNvPr id="1033" name="Straight Arrow Connector 1032">
            <a:extLst>
              <a:ext uri="{FF2B5EF4-FFF2-40B4-BE49-F238E27FC236}">
                <a16:creationId xmlns:a16="http://schemas.microsoft.com/office/drawing/2014/main" id="{6C5783A2-4171-FE23-A060-B2728C7E63CF}"/>
              </a:ext>
            </a:extLst>
          </p:cNvPr>
          <p:cNvCxnSpPr>
            <a:stCxn id="1030" idx="1"/>
          </p:cNvCxnSpPr>
          <p:nvPr/>
        </p:nvCxnSpPr>
        <p:spPr>
          <a:xfrm flipH="1">
            <a:off x="4023428" y="4408094"/>
            <a:ext cx="865867" cy="0"/>
          </a:xfrm>
          <a:prstGeom prst="straightConnector1">
            <a:avLst/>
          </a:prstGeom>
          <a:ln>
            <a:tailEnd type="triangle"/>
          </a:ln>
        </p:spPr>
        <p:style>
          <a:lnRef idx="3">
            <a:schemeClr val="dk1"/>
          </a:lnRef>
          <a:fillRef idx="0">
            <a:schemeClr val="dk1"/>
          </a:fillRef>
          <a:effectRef idx="2">
            <a:schemeClr val="dk1"/>
          </a:effectRef>
          <a:fontRef idx="minor">
            <a:schemeClr val="tx1"/>
          </a:fontRef>
        </p:style>
      </p:cxnSp>
      <p:cxnSp>
        <p:nvCxnSpPr>
          <p:cNvPr id="1034" name="Straight Arrow Connector 1033">
            <a:extLst>
              <a:ext uri="{FF2B5EF4-FFF2-40B4-BE49-F238E27FC236}">
                <a16:creationId xmlns:a16="http://schemas.microsoft.com/office/drawing/2014/main" id="{3C71D1BE-95E3-36B7-652F-E039C8C18411}"/>
              </a:ext>
            </a:extLst>
          </p:cNvPr>
          <p:cNvCxnSpPr>
            <a:cxnSpLocks/>
          </p:cNvCxnSpPr>
          <p:nvPr/>
        </p:nvCxnSpPr>
        <p:spPr>
          <a:xfrm flipH="1">
            <a:off x="6769844" y="4408094"/>
            <a:ext cx="981495" cy="0"/>
          </a:xfrm>
          <a:prstGeom prst="straightConnector1">
            <a:avLst/>
          </a:prstGeom>
          <a:ln>
            <a:tailEnd type="triangle"/>
          </a:ln>
        </p:spPr>
        <p:style>
          <a:lnRef idx="3">
            <a:schemeClr val="dk1"/>
          </a:lnRef>
          <a:fillRef idx="0">
            <a:schemeClr val="dk1"/>
          </a:fillRef>
          <a:effectRef idx="2">
            <a:schemeClr val="dk1"/>
          </a:effectRef>
          <a:fontRef idx="minor">
            <a:schemeClr val="tx1"/>
          </a:fontRef>
        </p:style>
      </p:cxnSp>
      <p:cxnSp>
        <p:nvCxnSpPr>
          <p:cNvPr id="1037" name="Straight Arrow Connector 1036">
            <a:extLst>
              <a:ext uri="{FF2B5EF4-FFF2-40B4-BE49-F238E27FC236}">
                <a16:creationId xmlns:a16="http://schemas.microsoft.com/office/drawing/2014/main" id="{B1A138C0-5ED1-B410-8363-BEDDD55080F3}"/>
              </a:ext>
            </a:extLst>
          </p:cNvPr>
          <p:cNvCxnSpPr>
            <a:cxnSpLocks/>
          </p:cNvCxnSpPr>
          <p:nvPr/>
        </p:nvCxnSpPr>
        <p:spPr>
          <a:xfrm>
            <a:off x="5695115" y="4408094"/>
            <a:ext cx="1010408" cy="0"/>
          </a:xfrm>
          <a:prstGeom prst="straightConnector1">
            <a:avLst/>
          </a:prstGeom>
          <a:ln>
            <a:tailEnd type="triangle"/>
          </a:ln>
        </p:spPr>
        <p:style>
          <a:lnRef idx="3">
            <a:schemeClr val="dk1"/>
          </a:lnRef>
          <a:fillRef idx="0">
            <a:schemeClr val="dk1"/>
          </a:fillRef>
          <a:effectRef idx="2">
            <a:schemeClr val="dk1"/>
          </a:effectRef>
          <a:fontRef idx="minor">
            <a:schemeClr val="tx1"/>
          </a:fontRef>
        </p:style>
      </p:cxnSp>
      <p:cxnSp>
        <p:nvCxnSpPr>
          <p:cNvPr id="1041" name="Straight Arrow Connector 1040">
            <a:extLst>
              <a:ext uri="{FF2B5EF4-FFF2-40B4-BE49-F238E27FC236}">
                <a16:creationId xmlns:a16="http://schemas.microsoft.com/office/drawing/2014/main" id="{A6ECEDDA-ED0F-AC7A-C39F-674A9042E67E}"/>
              </a:ext>
            </a:extLst>
          </p:cNvPr>
          <p:cNvCxnSpPr>
            <a:cxnSpLocks/>
          </p:cNvCxnSpPr>
          <p:nvPr/>
        </p:nvCxnSpPr>
        <p:spPr>
          <a:xfrm>
            <a:off x="8651715" y="4415085"/>
            <a:ext cx="864618" cy="0"/>
          </a:xfrm>
          <a:prstGeom prst="straightConnector1">
            <a:avLst/>
          </a:prstGeom>
          <a:ln>
            <a:tailEnd type="triangle"/>
          </a:ln>
        </p:spPr>
        <p:style>
          <a:lnRef idx="3">
            <a:schemeClr val="dk1"/>
          </a:lnRef>
          <a:fillRef idx="0">
            <a:schemeClr val="dk1"/>
          </a:fillRef>
          <a:effectRef idx="2">
            <a:schemeClr val="dk1"/>
          </a:effectRef>
          <a:fontRef idx="minor">
            <a:schemeClr val="tx1"/>
          </a:fontRef>
        </p:style>
      </p:cxnSp>
      <p:sp>
        <p:nvSpPr>
          <p:cNvPr id="1046" name="TextBox 1045">
            <a:extLst>
              <a:ext uri="{FF2B5EF4-FFF2-40B4-BE49-F238E27FC236}">
                <a16:creationId xmlns:a16="http://schemas.microsoft.com/office/drawing/2014/main" id="{22B18C26-DDC2-6619-2718-50E3930E4B1A}"/>
              </a:ext>
            </a:extLst>
          </p:cNvPr>
          <p:cNvSpPr txBox="1"/>
          <p:nvPr/>
        </p:nvSpPr>
        <p:spPr>
          <a:xfrm>
            <a:off x="215447" y="4664467"/>
            <a:ext cx="10307856" cy="2185214"/>
          </a:xfrm>
          <a:prstGeom prst="rect">
            <a:avLst/>
          </a:prstGeom>
          <a:noFill/>
        </p:spPr>
        <p:txBody>
          <a:bodyPr wrap="square" rtlCol="0">
            <a:spAutoFit/>
          </a:bodyPr>
          <a:lstStyle/>
          <a:p>
            <a:pPr marL="285750" indent="-285750">
              <a:buFont typeface="Arial" panose="020B0604020202020204" pitchFamily="34" charset="0"/>
              <a:buChar char="•"/>
            </a:pPr>
            <a:r>
              <a:rPr lang="en-US" sz="1200"/>
              <a:t>Start of </a:t>
            </a:r>
            <a:r>
              <a:rPr lang="en-US" sz="1200" b="1"/>
              <a:t>each cohort </a:t>
            </a:r>
            <a:r>
              <a:rPr lang="en-US" sz="1200"/>
              <a:t>with </a:t>
            </a:r>
            <a:r>
              <a:rPr lang="en-US" sz="1200" b="1"/>
              <a:t>sentinel dosing </a:t>
            </a:r>
            <a:r>
              <a:rPr lang="en-US" sz="1200"/>
              <a:t>(1 active, 1 placebo)</a:t>
            </a:r>
          </a:p>
          <a:p>
            <a:pPr marL="742950" lvl="1" indent="-285750">
              <a:buFont typeface="Arial" panose="020B0604020202020204" pitchFamily="34" charset="0"/>
              <a:buChar char="•"/>
            </a:pPr>
            <a:r>
              <a:rPr lang="en-US" sz="1200"/>
              <a:t>24 </a:t>
            </a:r>
            <a:r>
              <a:rPr lang="en-US" sz="1200" err="1"/>
              <a:t>hr</a:t>
            </a:r>
            <a:r>
              <a:rPr lang="en-US" sz="1200"/>
              <a:t> safety data review of sentinels prior to allowing dosing of remaining within cohort</a:t>
            </a:r>
          </a:p>
          <a:p>
            <a:pPr marL="742950" lvl="1" indent="-285750">
              <a:buFont typeface="Arial" panose="020B0604020202020204" pitchFamily="34" charset="0"/>
              <a:buChar char="•"/>
            </a:pPr>
            <a:r>
              <a:rPr lang="en-US" sz="1200"/>
              <a:t>After sentinels, no more than one patient can be dosed in a day</a:t>
            </a:r>
          </a:p>
          <a:p>
            <a:pPr marL="285750" indent="-285750">
              <a:buFont typeface="Arial" panose="020B0604020202020204" pitchFamily="34" charset="0"/>
              <a:buChar char="•"/>
            </a:pPr>
            <a:r>
              <a:rPr lang="en-US" sz="1200" b="1"/>
              <a:t>Dose escalation</a:t>
            </a:r>
          </a:p>
          <a:p>
            <a:pPr marL="742950" lvl="1" indent="-285750">
              <a:buFont typeface="Arial" panose="020B0604020202020204" pitchFamily="34" charset="0"/>
              <a:buChar char="•"/>
            </a:pPr>
            <a:r>
              <a:rPr lang="en-US" sz="1200"/>
              <a:t>All patients in previous cohort have reached 7 days post 2</a:t>
            </a:r>
            <a:r>
              <a:rPr lang="en-US" sz="1200" baseline="30000"/>
              <a:t>nd</a:t>
            </a:r>
            <a:r>
              <a:rPr lang="en-US" sz="1200"/>
              <a:t> dose (4 </a:t>
            </a:r>
            <a:r>
              <a:rPr lang="en-US" sz="1200" err="1"/>
              <a:t>wks</a:t>
            </a:r>
            <a:r>
              <a:rPr lang="en-US" sz="1200"/>
              <a:t> post baseline) for safety review</a:t>
            </a:r>
          </a:p>
          <a:p>
            <a:pPr marL="742950" lvl="1" indent="-285750">
              <a:buFont typeface="Arial" panose="020B0604020202020204" pitchFamily="34" charset="0"/>
              <a:buChar char="•"/>
            </a:pPr>
            <a:r>
              <a:rPr lang="en-US" sz="1200"/>
              <a:t>Once safety confirmed, sentinel dosing for next cohort can start</a:t>
            </a:r>
          </a:p>
          <a:p>
            <a:pPr marL="285750" indent="-285750">
              <a:buFont typeface="Arial" panose="020B0604020202020204" pitchFamily="34" charset="0"/>
              <a:buChar char="•"/>
            </a:pPr>
            <a:r>
              <a:rPr lang="en-US" sz="1200" b="1"/>
              <a:t>Adaptive elements:  </a:t>
            </a:r>
            <a:r>
              <a:rPr lang="en-US" sz="1200"/>
              <a:t>Emerging PK and PD could lead to adaptions of dose level, dose frequency, and sample size in cohort 3 and 4</a:t>
            </a:r>
          </a:p>
          <a:p>
            <a:pPr marL="742950" lvl="1" indent="-285750">
              <a:buFont typeface="Arial" panose="020B0604020202020204" pitchFamily="34" charset="0"/>
              <a:buChar char="•"/>
            </a:pPr>
            <a:r>
              <a:rPr lang="en-US" sz="1200"/>
              <a:t>However, dose level will not exceed 2x to prior dose level and dose frequency will not be more frequent than monthly</a:t>
            </a:r>
          </a:p>
          <a:p>
            <a:pPr marL="171450" indent="-171450">
              <a:buFont typeface="Arial" panose="020B0604020202020204" pitchFamily="34" charset="0"/>
              <a:buChar char="•"/>
            </a:pPr>
            <a:r>
              <a:rPr lang="en-US" sz="1200"/>
              <a:t>Utilization of an external DSMB</a:t>
            </a:r>
          </a:p>
          <a:p>
            <a:pPr marL="742950" lvl="1" indent="-285750">
              <a:buFont typeface="Arial" panose="020B0604020202020204" pitchFamily="34" charset="0"/>
              <a:buChar char="•"/>
            </a:pPr>
            <a:endParaRPr lang="en-US" sz="1400"/>
          </a:p>
          <a:p>
            <a:pPr marL="742950" lvl="1" indent="-285750">
              <a:buFont typeface="Arial" panose="020B0604020202020204" pitchFamily="34" charset="0"/>
              <a:buChar char="•"/>
            </a:pPr>
            <a:endParaRPr lang="en-US" sz="1400"/>
          </a:p>
        </p:txBody>
      </p:sp>
      <p:grpSp>
        <p:nvGrpSpPr>
          <p:cNvPr id="1055" name="Group 1054">
            <a:extLst>
              <a:ext uri="{FF2B5EF4-FFF2-40B4-BE49-F238E27FC236}">
                <a16:creationId xmlns:a16="http://schemas.microsoft.com/office/drawing/2014/main" id="{46658FF9-EF77-C8F2-3C1F-3A2C695B3B1A}"/>
              </a:ext>
            </a:extLst>
          </p:cNvPr>
          <p:cNvGrpSpPr/>
          <p:nvPr/>
        </p:nvGrpSpPr>
        <p:grpSpPr>
          <a:xfrm>
            <a:off x="4609953" y="589325"/>
            <a:ext cx="2145149" cy="579671"/>
            <a:chOff x="4609953" y="589325"/>
            <a:chExt cx="2145149" cy="579671"/>
          </a:xfrm>
        </p:grpSpPr>
        <p:pic>
          <p:nvPicPr>
            <p:cNvPr id="3" name="Picture 4" descr="Vector flat syringe icon outline. Medical equipment line art picture  isolated on white background. Healthcare, research and laboratory concept.  Health check or treatment clip art 6982489 Vector Art at Vecteezy">
              <a:extLst>
                <a:ext uri="{FF2B5EF4-FFF2-40B4-BE49-F238E27FC236}">
                  <a16:creationId xmlns:a16="http://schemas.microsoft.com/office/drawing/2014/main" id="{1EF460B7-6329-64E1-A7A3-DC64F56D69D0}"/>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28076" r="27851"/>
            <a:stretch/>
          </p:blipFill>
          <p:spPr bwMode="auto">
            <a:xfrm rot="10800000" flipH="1">
              <a:off x="4609953" y="589325"/>
              <a:ext cx="128640" cy="564080"/>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4" descr="Vector flat syringe icon outline. Medical equipment line art picture  isolated on white background. Healthcare, research and laboratory concept.  Health check or treatment clip art 6982489 Vector Art at Vecteezy">
              <a:extLst>
                <a:ext uri="{FF2B5EF4-FFF2-40B4-BE49-F238E27FC236}">
                  <a16:creationId xmlns:a16="http://schemas.microsoft.com/office/drawing/2014/main" id="{FC1DD9EF-8B57-3F2C-5B8A-5EDFA8018A4A}"/>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28076" r="27851"/>
            <a:stretch/>
          </p:blipFill>
          <p:spPr bwMode="auto">
            <a:xfrm rot="10800000" flipH="1">
              <a:off x="6626462" y="604916"/>
              <a:ext cx="128640" cy="56408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2" name="Group 21">
            <a:extLst>
              <a:ext uri="{FF2B5EF4-FFF2-40B4-BE49-F238E27FC236}">
                <a16:creationId xmlns:a16="http://schemas.microsoft.com/office/drawing/2014/main" id="{4B8FB0D4-855F-C033-1681-73CDDEC045EB}"/>
              </a:ext>
            </a:extLst>
          </p:cNvPr>
          <p:cNvGrpSpPr/>
          <p:nvPr/>
        </p:nvGrpSpPr>
        <p:grpSpPr>
          <a:xfrm>
            <a:off x="2095536" y="1527066"/>
            <a:ext cx="2786335" cy="577214"/>
            <a:chOff x="1237093" y="595614"/>
            <a:chExt cx="2786335" cy="577214"/>
          </a:xfrm>
        </p:grpSpPr>
        <p:pic>
          <p:nvPicPr>
            <p:cNvPr id="23" name="Picture 4" descr="Vector flat syringe icon outline. Medical equipment line art picture  isolated on white background. Healthcare, research and laboratory concept.  Health check or treatment clip art 6982489 Vector Art at Vecteezy">
              <a:extLst>
                <a:ext uri="{FF2B5EF4-FFF2-40B4-BE49-F238E27FC236}">
                  <a16:creationId xmlns:a16="http://schemas.microsoft.com/office/drawing/2014/main" id="{E735AEDD-8F6E-2ABE-0C9E-7A113BCB3853}"/>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28076" r="27851"/>
            <a:stretch/>
          </p:blipFill>
          <p:spPr bwMode="auto">
            <a:xfrm rot="10800000" flipH="1">
              <a:off x="1237093" y="608748"/>
              <a:ext cx="128640" cy="564080"/>
            </a:xfrm>
            <a:prstGeom prst="rect">
              <a:avLst/>
            </a:prstGeom>
            <a:noFill/>
            <a:ln>
              <a:solidFill>
                <a:srgbClr val="FF0000"/>
              </a:solidFill>
            </a:ln>
            <a:extLst>
              <a:ext uri="{909E8E84-426E-40DD-AFC4-6F175D3DCCD1}">
                <a14:hiddenFill xmlns:a14="http://schemas.microsoft.com/office/drawing/2010/main">
                  <a:solidFill>
                    <a:srgbClr val="FFFFFF"/>
                  </a:solidFill>
                </a14:hiddenFill>
              </a:ext>
            </a:extLst>
          </p:spPr>
        </p:pic>
        <p:pic>
          <p:nvPicPr>
            <p:cNvPr id="1026" name="Picture 4" descr="Vector flat syringe icon outline. Medical equipment line art picture  isolated on white background. Healthcare, research and laboratory concept.  Health check or treatment clip art 6982489 Vector Art at Vecteezy">
              <a:extLst>
                <a:ext uri="{FF2B5EF4-FFF2-40B4-BE49-F238E27FC236}">
                  <a16:creationId xmlns:a16="http://schemas.microsoft.com/office/drawing/2014/main" id="{D6B91CF4-D5E3-EE4D-443B-E980218BFE33}"/>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28076" r="27851"/>
            <a:stretch/>
          </p:blipFill>
          <p:spPr bwMode="auto">
            <a:xfrm rot="10800000" flipH="1">
              <a:off x="2068303" y="608748"/>
              <a:ext cx="128640" cy="564080"/>
            </a:xfrm>
            <a:prstGeom prst="rect">
              <a:avLst/>
            </a:prstGeom>
            <a:noFill/>
            <a:ln>
              <a:solidFill>
                <a:srgbClr val="FF0000"/>
              </a:solidFill>
            </a:ln>
            <a:extLst>
              <a:ext uri="{909E8E84-426E-40DD-AFC4-6F175D3DCCD1}">
                <a14:hiddenFill xmlns:a14="http://schemas.microsoft.com/office/drawing/2010/main">
                  <a:solidFill>
                    <a:srgbClr val="FFFFFF"/>
                  </a:solidFill>
                </a14:hiddenFill>
              </a:ext>
            </a:extLst>
          </p:spPr>
        </p:pic>
        <p:pic>
          <p:nvPicPr>
            <p:cNvPr id="1032" name="Picture 4" descr="Vector flat syringe icon outline. Medical equipment line art picture  isolated on white background. Healthcare, research and laboratory concept.  Health check or treatment clip art 6982489 Vector Art at Vecteezy">
              <a:extLst>
                <a:ext uri="{FF2B5EF4-FFF2-40B4-BE49-F238E27FC236}">
                  <a16:creationId xmlns:a16="http://schemas.microsoft.com/office/drawing/2014/main" id="{005E3EAD-DD1B-4DC0-7930-0F48F407B295}"/>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28076" r="27851"/>
            <a:stretch/>
          </p:blipFill>
          <p:spPr bwMode="auto">
            <a:xfrm rot="10800000" flipH="1">
              <a:off x="3024648" y="600117"/>
              <a:ext cx="128640" cy="564080"/>
            </a:xfrm>
            <a:prstGeom prst="rect">
              <a:avLst/>
            </a:prstGeom>
            <a:noFill/>
            <a:ln>
              <a:solidFill>
                <a:srgbClr val="FF0000"/>
              </a:solidFill>
            </a:ln>
            <a:extLst>
              <a:ext uri="{909E8E84-426E-40DD-AFC4-6F175D3DCCD1}">
                <a14:hiddenFill xmlns:a14="http://schemas.microsoft.com/office/drawing/2010/main">
                  <a:solidFill>
                    <a:srgbClr val="FFFFFF"/>
                  </a:solidFill>
                </a14:hiddenFill>
              </a:ext>
            </a:extLst>
          </p:spPr>
        </p:pic>
        <p:pic>
          <p:nvPicPr>
            <p:cNvPr id="1035" name="Picture 4" descr="Vector flat syringe icon outline. Medical equipment line art picture  isolated on white background. Healthcare, research and laboratory concept.  Health check or treatment clip art 6982489 Vector Art at Vecteezy">
              <a:extLst>
                <a:ext uri="{FF2B5EF4-FFF2-40B4-BE49-F238E27FC236}">
                  <a16:creationId xmlns:a16="http://schemas.microsoft.com/office/drawing/2014/main" id="{B8B7AB19-9530-B301-0A12-1A580E314712}"/>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28076" r="27851"/>
            <a:stretch/>
          </p:blipFill>
          <p:spPr bwMode="auto">
            <a:xfrm rot="10800000" flipH="1">
              <a:off x="3894788" y="595614"/>
              <a:ext cx="128640" cy="564080"/>
            </a:xfrm>
            <a:prstGeom prst="rect">
              <a:avLst/>
            </a:prstGeom>
            <a:noFill/>
            <a:ln>
              <a:solidFill>
                <a:srgbClr val="FF0000"/>
              </a:solidFill>
            </a:ln>
            <a:extLst>
              <a:ext uri="{909E8E84-426E-40DD-AFC4-6F175D3DCCD1}">
                <a14:hiddenFill xmlns:a14="http://schemas.microsoft.com/office/drawing/2010/main">
                  <a:solidFill>
                    <a:srgbClr val="FFFFFF"/>
                  </a:solidFill>
                </a14:hiddenFill>
              </a:ext>
            </a:extLst>
          </p:spPr>
        </p:pic>
      </p:grpSp>
      <p:grpSp>
        <p:nvGrpSpPr>
          <p:cNvPr id="1036" name="Group 1035">
            <a:extLst>
              <a:ext uri="{FF2B5EF4-FFF2-40B4-BE49-F238E27FC236}">
                <a16:creationId xmlns:a16="http://schemas.microsoft.com/office/drawing/2014/main" id="{C48498B1-05CD-4FF6-9C6D-3944D9AAC286}"/>
              </a:ext>
            </a:extLst>
          </p:cNvPr>
          <p:cNvGrpSpPr/>
          <p:nvPr/>
        </p:nvGrpSpPr>
        <p:grpSpPr>
          <a:xfrm>
            <a:off x="3044122" y="2435031"/>
            <a:ext cx="2786335" cy="577214"/>
            <a:chOff x="1237093" y="595614"/>
            <a:chExt cx="2786335" cy="577214"/>
          </a:xfrm>
        </p:grpSpPr>
        <p:pic>
          <p:nvPicPr>
            <p:cNvPr id="1038" name="Picture 4" descr="Vector flat syringe icon outline. Medical equipment line art picture  isolated on white background. Healthcare, research and laboratory concept.  Health check or treatment clip art 6982489 Vector Art at Vecteezy">
              <a:extLst>
                <a:ext uri="{FF2B5EF4-FFF2-40B4-BE49-F238E27FC236}">
                  <a16:creationId xmlns:a16="http://schemas.microsoft.com/office/drawing/2014/main" id="{6F344653-5754-117C-338C-B7CD1456B875}"/>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28076" r="27851"/>
            <a:stretch/>
          </p:blipFill>
          <p:spPr bwMode="auto">
            <a:xfrm rot="10800000" flipH="1">
              <a:off x="1237093" y="608748"/>
              <a:ext cx="128640" cy="564080"/>
            </a:xfrm>
            <a:prstGeom prst="rect">
              <a:avLst/>
            </a:prstGeom>
            <a:noFill/>
            <a:ln>
              <a:solidFill>
                <a:srgbClr val="FF0000"/>
              </a:solidFill>
            </a:ln>
            <a:extLst>
              <a:ext uri="{909E8E84-426E-40DD-AFC4-6F175D3DCCD1}">
                <a14:hiddenFill xmlns:a14="http://schemas.microsoft.com/office/drawing/2010/main">
                  <a:solidFill>
                    <a:srgbClr val="FFFFFF"/>
                  </a:solidFill>
                </a14:hiddenFill>
              </a:ext>
            </a:extLst>
          </p:spPr>
        </p:pic>
        <p:pic>
          <p:nvPicPr>
            <p:cNvPr id="1039" name="Picture 4" descr="Vector flat syringe icon outline. Medical equipment line art picture  isolated on white background. Healthcare, research and laboratory concept.  Health check or treatment clip art 6982489 Vector Art at Vecteezy">
              <a:extLst>
                <a:ext uri="{FF2B5EF4-FFF2-40B4-BE49-F238E27FC236}">
                  <a16:creationId xmlns:a16="http://schemas.microsoft.com/office/drawing/2014/main" id="{A5B034C4-62E0-0269-D73B-818501631CBC}"/>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28076" r="27851"/>
            <a:stretch/>
          </p:blipFill>
          <p:spPr bwMode="auto">
            <a:xfrm rot="10800000" flipH="1">
              <a:off x="2068303" y="608748"/>
              <a:ext cx="128640" cy="564080"/>
            </a:xfrm>
            <a:prstGeom prst="rect">
              <a:avLst/>
            </a:prstGeom>
            <a:noFill/>
            <a:ln>
              <a:solidFill>
                <a:srgbClr val="FF0000"/>
              </a:solidFill>
            </a:ln>
            <a:extLst>
              <a:ext uri="{909E8E84-426E-40DD-AFC4-6F175D3DCCD1}">
                <a14:hiddenFill xmlns:a14="http://schemas.microsoft.com/office/drawing/2010/main">
                  <a:solidFill>
                    <a:srgbClr val="FFFFFF"/>
                  </a:solidFill>
                </a14:hiddenFill>
              </a:ext>
            </a:extLst>
          </p:spPr>
        </p:pic>
        <p:pic>
          <p:nvPicPr>
            <p:cNvPr id="1040" name="Picture 4" descr="Vector flat syringe icon outline. Medical equipment line art picture  isolated on white background. Healthcare, research and laboratory concept.  Health check or treatment clip art 6982489 Vector Art at Vecteezy">
              <a:extLst>
                <a:ext uri="{FF2B5EF4-FFF2-40B4-BE49-F238E27FC236}">
                  <a16:creationId xmlns:a16="http://schemas.microsoft.com/office/drawing/2014/main" id="{5FB0B256-1D96-D007-E50B-A9E096DEA1A8}"/>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28076" r="27851"/>
            <a:stretch/>
          </p:blipFill>
          <p:spPr bwMode="auto">
            <a:xfrm rot="10800000" flipH="1">
              <a:off x="3024648" y="600117"/>
              <a:ext cx="128640" cy="564080"/>
            </a:xfrm>
            <a:prstGeom prst="rect">
              <a:avLst/>
            </a:prstGeom>
            <a:noFill/>
            <a:ln>
              <a:solidFill>
                <a:srgbClr val="FF0000"/>
              </a:solidFill>
            </a:ln>
            <a:extLst>
              <a:ext uri="{909E8E84-426E-40DD-AFC4-6F175D3DCCD1}">
                <a14:hiddenFill xmlns:a14="http://schemas.microsoft.com/office/drawing/2010/main">
                  <a:solidFill>
                    <a:srgbClr val="FFFFFF"/>
                  </a:solidFill>
                </a14:hiddenFill>
              </a:ext>
            </a:extLst>
          </p:spPr>
        </p:pic>
        <p:pic>
          <p:nvPicPr>
            <p:cNvPr id="1042" name="Picture 4" descr="Vector flat syringe icon outline. Medical equipment line art picture  isolated on white background. Healthcare, research and laboratory concept.  Health check or treatment clip art 6982489 Vector Art at Vecteezy">
              <a:extLst>
                <a:ext uri="{FF2B5EF4-FFF2-40B4-BE49-F238E27FC236}">
                  <a16:creationId xmlns:a16="http://schemas.microsoft.com/office/drawing/2014/main" id="{3B463B7F-0DFE-0ADB-CEBC-4C444EBBB91B}"/>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28076" r="27851"/>
            <a:stretch/>
          </p:blipFill>
          <p:spPr bwMode="auto">
            <a:xfrm rot="10800000" flipH="1">
              <a:off x="3894788" y="595614"/>
              <a:ext cx="128640" cy="564080"/>
            </a:xfrm>
            <a:prstGeom prst="rect">
              <a:avLst/>
            </a:prstGeom>
            <a:noFill/>
            <a:ln>
              <a:solidFill>
                <a:srgbClr val="FF0000"/>
              </a:solidFill>
            </a:ln>
            <a:extLst>
              <a:ext uri="{909E8E84-426E-40DD-AFC4-6F175D3DCCD1}">
                <a14:hiddenFill xmlns:a14="http://schemas.microsoft.com/office/drawing/2010/main">
                  <a:solidFill>
                    <a:srgbClr val="FFFFFF"/>
                  </a:solidFill>
                </a14:hiddenFill>
              </a:ext>
            </a:extLst>
          </p:spPr>
        </p:pic>
      </p:grpSp>
      <p:grpSp>
        <p:nvGrpSpPr>
          <p:cNvPr id="1050" name="Group 1049">
            <a:extLst>
              <a:ext uri="{FF2B5EF4-FFF2-40B4-BE49-F238E27FC236}">
                <a16:creationId xmlns:a16="http://schemas.microsoft.com/office/drawing/2014/main" id="{926EBD15-905B-64AB-D8E3-947310902545}"/>
              </a:ext>
            </a:extLst>
          </p:cNvPr>
          <p:cNvGrpSpPr/>
          <p:nvPr/>
        </p:nvGrpSpPr>
        <p:grpSpPr>
          <a:xfrm>
            <a:off x="3991683" y="3359868"/>
            <a:ext cx="2786335" cy="577214"/>
            <a:chOff x="1237093" y="595614"/>
            <a:chExt cx="2786335" cy="577214"/>
          </a:xfrm>
        </p:grpSpPr>
        <p:pic>
          <p:nvPicPr>
            <p:cNvPr id="1051" name="Picture 4" descr="Vector flat syringe icon outline. Medical equipment line art picture  isolated on white background. Healthcare, research and laboratory concept.  Health check or treatment clip art 6982489 Vector Art at Vecteezy">
              <a:extLst>
                <a:ext uri="{FF2B5EF4-FFF2-40B4-BE49-F238E27FC236}">
                  <a16:creationId xmlns:a16="http://schemas.microsoft.com/office/drawing/2014/main" id="{904533DC-8E50-9EF7-1338-6D3E1A23E772}"/>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28076" r="27851"/>
            <a:stretch/>
          </p:blipFill>
          <p:spPr bwMode="auto">
            <a:xfrm rot="10800000" flipH="1">
              <a:off x="1237093" y="608748"/>
              <a:ext cx="128640" cy="564080"/>
            </a:xfrm>
            <a:prstGeom prst="rect">
              <a:avLst/>
            </a:prstGeom>
            <a:noFill/>
            <a:ln>
              <a:solidFill>
                <a:srgbClr val="FF0000"/>
              </a:solidFill>
            </a:ln>
            <a:extLst>
              <a:ext uri="{909E8E84-426E-40DD-AFC4-6F175D3DCCD1}">
                <a14:hiddenFill xmlns:a14="http://schemas.microsoft.com/office/drawing/2010/main">
                  <a:solidFill>
                    <a:srgbClr val="FFFFFF"/>
                  </a:solidFill>
                </a14:hiddenFill>
              </a:ext>
            </a:extLst>
          </p:spPr>
        </p:pic>
        <p:pic>
          <p:nvPicPr>
            <p:cNvPr id="1052" name="Picture 4" descr="Vector flat syringe icon outline. Medical equipment line art picture  isolated on white background. Healthcare, research and laboratory concept.  Health check or treatment clip art 6982489 Vector Art at Vecteezy">
              <a:extLst>
                <a:ext uri="{FF2B5EF4-FFF2-40B4-BE49-F238E27FC236}">
                  <a16:creationId xmlns:a16="http://schemas.microsoft.com/office/drawing/2014/main" id="{E122CDA9-F23B-A8B9-ED98-07A17BC4CA2B}"/>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28076" r="27851"/>
            <a:stretch/>
          </p:blipFill>
          <p:spPr bwMode="auto">
            <a:xfrm rot="10800000" flipH="1">
              <a:off x="2068303" y="608748"/>
              <a:ext cx="128640" cy="564080"/>
            </a:xfrm>
            <a:prstGeom prst="rect">
              <a:avLst/>
            </a:prstGeom>
            <a:noFill/>
            <a:ln>
              <a:solidFill>
                <a:srgbClr val="FF0000"/>
              </a:solidFill>
            </a:ln>
            <a:extLst>
              <a:ext uri="{909E8E84-426E-40DD-AFC4-6F175D3DCCD1}">
                <a14:hiddenFill xmlns:a14="http://schemas.microsoft.com/office/drawing/2010/main">
                  <a:solidFill>
                    <a:srgbClr val="FFFFFF"/>
                  </a:solidFill>
                </a14:hiddenFill>
              </a:ext>
            </a:extLst>
          </p:spPr>
        </p:pic>
        <p:pic>
          <p:nvPicPr>
            <p:cNvPr id="1053" name="Picture 4" descr="Vector flat syringe icon outline. Medical equipment line art picture  isolated on white background. Healthcare, research and laboratory concept.  Health check or treatment clip art 6982489 Vector Art at Vecteezy">
              <a:extLst>
                <a:ext uri="{FF2B5EF4-FFF2-40B4-BE49-F238E27FC236}">
                  <a16:creationId xmlns:a16="http://schemas.microsoft.com/office/drawing/2014/main" id="{B0778982-B530-74D5-30C6-B7658EDC440F}"/>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28076" r="27851"/>
            <a:stretch/>
          </p:blipFill>
          <p:spPr bwMode="auto">
            <a:xfrm rot="10800000" flipH="1">
              <a:off x="3024648" y="600117"/>
              <a:ext cx="128640" cy="564080"/>
            </a:xfrm>
            <a:prstGeom prst="rect">
              <a:avLst/>
            </a:prstGeom>
            <a:noFill/>
            <a:ln>
              <a:solidFill>
                <a:srgbClr val="FF0000"/>
              </a:solidFill>
            </a:ln>
            <a:extLst>
              <a:ext uri="{909E8E84-426E-40DD-AFC4-6F175D3DCCD1}">
                <a14:hiddenFill xmlns:a14="http://schemas.microsoft.com/office/drawing/2010/main">
                  <a:solidFill>
                    <a:srgbClr val="FFFFFF"/>
                  </a:solidFill>
                </a14:hiddenFill>
              </a:ext>
            </a:extLst>
          </p:spPr>
        </p:pic>
        <p:pic>
          <p:nvPicPr>
            <p:cNvPr id="1054" name="Picture 4" descr="Vector flat syringe icon outline. Medical equipment line art picture  isolated on white background. Healthcare, research and laboratory concept.  Health check or treatment clip art 6982489 Vector Art at Vecteezy">
              <a:extLst>
                <a:ext uri="{FF2B5EF4-FFF2-40B4-BE49-F238E27FC236}">
                  <a16:creationId xmlns:a16="http://schemas.microsoft.com/office/drawing/2014/main" id="{B25D1BB8-E85A-F8EC-A2BC-BC0582934EDE}"/>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28076" r="27851"/>
            <a:stretch/>
          </p:blipFill>
          <p:spPr bwMode="auto">
            <a:xfrm rot="10800000" flipH="1">
              <a:off x="3894788" y="595614"/>
              <a:ext cx="128640" cy="564080"/>
            </a:xfrm>
            <a:prstGeom prst="rect">
              <a:avLst/>
            </a:prstGeom>
            <a:noFill/>
            <a:ln>
              <a:solidFill>
                <a:srgbClr val="FF0000"/>
              </a:solidFill>
            </a:ln>
            <a:extLst>
              <a:ext uri="{909E8E84-426E-40DD-AFC4-6F175D3DCCD1}">
                <a14:hiddenFill xmlns:a14="http://schemas.microsoft.com/office/drawing/2010/main">
                  <a:solidFill>
                    <a:srgbClr val="FFFFFF"/>
                  </a:solidFill>
                </a14:hiddenFill>
              </a:ext>
            </a:extLst>
          </p:spPr>
        </p:pic>
      </p:grpSp>
      <p:grpSp>
        <p:nvGrpSpPr>
          <p:cNvPr id="1056" name="Group 1055">
            <a:extLst>
              <a:ext uri="{FF2B5EF4-FFF2-40B4-BE49-F238E27FC236}">
                <a16:creationId xmlns:a16="http://schemas.microsoft.com/office/drawing/2014/main" id="{53C0E461-33AF-B4C1-26BA-84EECB338939}"/>
              </a:ext>
            </a:extLst>
          </p:cNvPr>
          <p:cNvGrpSpPr/>
          <p:nvPr/>
        </p:nvGrpSpPr>
        <p:grpSpPr>
          <a:xfrm>
            <a:off x="5499137" y="1519232"/>
            <a:ext cx="2145149" cy="579671"/>
            <a:chOff x="4609953" y="589325"/>
            <a:chExt cx="2145149" cy="579671"/>
          </a:xfrm>
        </p:grpSpPr>
        <p:pic>
          <p:nvPicPr>
            <p:cNvPr id="1057" name="Picture 4" descr="Vector flat syringe icon outline. Medical equipment line art picture  isolated on white background. Healthcare, research and laboratory concept.  Health check or treatment clip art 6982489 Vector Art at Vecteezy">
              <a:extLst>
                <a:ext uri="{FF2B5EF4-FFF2-40B4-BE49-F238E27FC236}">
                  <a16:creationId xmlns:a16="http://schemas.microsoft.com/office/drawing/2014/main" id="{3A32B9C1-6B28-54C1-40A4-553692750CAD}"/>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28076" r="27851"/>
            <a:stretch/>
          </p:blipFill>
          <p:spPr bwMode="auto">
            <a:xfrm rot="10800000" flipH="1">
              <a:off x="4609953" y="589325"/>
              <a:ext cx="128640" cy="564080"/>
            </a:xfrm>
            <a:prstGeom prst="rect">
              <a:avLst/>
            </a:prstGeom>
            <a:noFill/>
            <a:extLst>
              <a:ext uri="{909E8E84-426E-40DD-AFC4-6F175D3DCCD1}">
                <a14:hiddenFill xmlns:a14="http://schemas.microsoft.com/office/drawing/2010/main">
                  <a:solidFill>
                    <a:srgbClr val="FFFFFF"/>
                  </a:solidFill>
                </a14:hiddenFill>
              </a:ext>
            </a:extLst>
          </p:spPr>
        </p:pic>
        <p:pic>
          <p:nvPicPr>
            <p:cNvPr id="1058" name="Picture 4" descr="Vector flat syringe icon outline. Medical equipment line art picture  isolated on white background. Healthcare, research and laboratory concept.  Health check or treatment clip art 6982489 Vector Art at Vecteezy">
              <a:extLst>
                <a:ext uri="{FF2B5EF4-FFF2-40B4-BE49-F238E27FC236}">
                  <a16:creationId xmlns:a16="http://schemas.microsoft.com/office/drawing/2014/main" id="{BD1ADC91-530E-4FED-447A-135C1D483D03}"/>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28076" r="27851"/>
            <a:stretch/>
          </p:blipFill>
          <p:spPr bwMode="auto">
            <a:xfrm rot="10800000" flipH="1">
              <a:off x="6626462" y="604916"/>
              <a:ext cx="128640" cy="56408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059" name="Group 1058">
            <a:extLst>
              <a:ext uri="{FF2B5EF4-FFF2-40B4-BE49-F238E27FC236}">
                <a16:creationId xmlns:a16="http://schemas.microsoft.com/office/drawing/2014/main" id="{24F66689-C033-8EB9-D118-7E23928C9E8D}"/>
              </a:ext>
            </a:extLst>
          </p:cNvPr>
          <p:cNvGrpSpPr/>
          <p:nvPr/>
        </p:nvGrpSpPr>
        <p:grpSpPr>
          <a:xfrm>
            <a:off x="6436252" y="2433183"/>
            <a:ext cx="2145149" cy="579671"/>
            <a:chOff x="4609953" y="589325"/>
            <a:chExt cx="2145149" cy="579671"/>
          </a:xfrm>
        </p:grpSpPr>
        <p:pic>
          <p:nvPicPr>
            <p:cNvPr id="1060" name="Picture 4" descr="Vector flat syringe icon outline. Medical equipment line art picture  isolated on white background. Healthcare, research and laboratory concept.  Health check or treatment clip art 6982489 Vector Art at Vecteezy">
              <a:extLst>
                <a:ext uri="{FF2B5EF4-FFF2-40B4-BE49-F238E27FC236}">
                  <a16:creationId xmlns:a16="http://schemas.microsoft.com/office/drawing/2014/main" id="{ECE9F6A7-155C-94B0-2951-60D08BF16515}"/>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28076" r="27851"/>
            <a:stretch/>
          </p:blipFill>
          <p:spPr bwMode="auto">
            <a:xfrm rot="10800000" flipH="1">
              <a:off x="4609953" y="589325"/>
              <a:ext cx="128640" cy="564080"/>
            </a:xfrm>
            <a:prstGeom prst="rect">
              <a:avLst/>
            </a:prstGeom>
            <a:noFill/>
            <a:extLst>
              <a:ext uri="{909E8E84-426E-40DD-AFC4-6F175D3DCCD1}">
                <a14:hiddenFill xmlns:a14="http://schemas.microsoft.com/office/drawing/2010/main">
                  <a:solidFill>
                    <a:srgbClr val="FFFFFF"/>
                  </a:solidFill>
                </a14:hiddenFill>
              </a:ext>
            </a:extLst>
          </p:spPr>
        </p:pic>
        <p:pic>
          <p:nvPicPr>
            <p:cNvPr id="1061" name="Picture 4" descr="Vector flat syringe icon outline. Medical equipment line art picture  isolated on white background. Healthcare, research and laboratory concept.  Health check or treatment clip art 6982489 Vector Art at Vecteezy">
              <a:extLst>
                <a:ext uri="{FF2B5EF4-FFF2-40B4-BE49-F238E27FC236}">
                  <a16:creationId xmlns:a16="http://schemas.microsoft.com/office/drawing/2014/main" id="{60645EA0-79F0-EF34-E3C9-A23393708B96}"/>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28076" r="27851"/>
            <a:stretch/>
          </p:blipFill>
          <p:spPr bwMode="auto">
            <a:xfrm rot="10800000" flipH="1">
              <a:off x="6626462" y="604916"/>
              <a:ext cx="128640" cy="56408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062" name="Group 1061">
            <a:extLst>
              <a:ext uri="{FF2B5EF4-FFF2-40B4-BE49-F238E27FC236}">
                <a16:creationId xmlns:a16="http://schemas.microsoft.com/office/drawing/2014/main" id="{3C1EEDAB-A7B6-7F85-8FE8-690D742AB2CF}"/>
              </a:ext>
            </a:extLst>
          </p:cNvPr>
          <p:cNvGrpSpPr/>
          <p:nvPr/>
        </p:nvGrpSpPr>
        <p:grpSpPr>
          <a:xfrm>
            <a:off x="7371184" y="3364900"/>
            <a:ext cx="2145149" cy="579671"/>
            <a:chOff x="4609953" y="589325"/>
            <a:chExt cx="2145149" cy="579671"/>
          </a:xfrm>
        </p:grpSpPr>
        <p:pic>
          <p:nvPicPr>
            <p:cNvPr id="1063" name="Picture 4" descr="Vector flat syringe icon outline. Medical equipment line art picture  isolated on white background. Healthcare, research and laboratory concept.  Health check or treatment clip art 6982489 Vector Art at Vecteezy">
              <a:extLst>
                <a:ext uri="{FF2B5EF4-FFF2-40B4-BE49-F238E27FC236}">
                  <a16:creationId xmlns:a16="http://schemas.microsoft.com/office/drawing/2014/main" id="{82A88E72-644B-D700-44D3-E520759A761A}"/>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28076" r="27851"/>
            <a:stretch/>
          </p:blipFill>
          <p:spPr bwMode="auto">
            <a:xfrm rot="10800000" flipH="1">
              <a:off x="4609953" y="589325"/>
              <a:ext cx="128640" cy="564080"/>
            </a:xfrm>
            <a:prstGeom prst="rect">
              <a:avLst/>
            </a:prstGeom>
            <a:noFill/>
            <a:extLst>
              <a:ext uri="{909E8E84-426E-40DD-AFC4-6F175D3DCCD1}">
                <a14:hiddenFill xmlns:a14="http://schemas.microsoft.com/office/drawing/2010/main">
                  <a:solidFill>
                    <a:srgbClr val="FFFFFF"/>
                  </a:solidFill>
                </a14:hiddenFill>
              </a:ext>
            </a:extLst>
          </p:spPr>
        </p:pic>
        <p:pic>
          <p:nvPicPr>
            <p:cNvPr id="1064" name="Picture 4" descr="Vector flat syringe icon outline. Medical equipment line art picture  isolated on white background. Healthcare, research and laboratory concept.  Health check or treatment clip art 6982489 Vector Art at Vecteezy">
              <a:extLst>
                <a:ext uri="{FF2B5EF4-FFF2-40B4-BE49-F238E27FC236}">
                  <a16:creationId xmlns:a16="http://schemas.microsoft.com/office/drawing/2014/main" id="{3B9362F2-10C9-0432-ECA4-01CFC745404F}"/>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28076" r="27851"/>
            <a:stretch/>
          </p:blipFill>
          <p:spPr bwMode="auto">
            <a:xfrm rot="10800000" flipH="1">
              <a:off x="6626462" y="604916"/>
              <a:ext cx="128640" cy="564080"/>
            </a:xfrm>
            <a:prstGeom prst="rect">
              <a:avLst/>
            </a:prstGeom>
            <a:noFill/>
            <a:extLst>
              <a:ext uri="{909E8E84-426E-40DD-AFC4-6F175D3DCCD1}">
                <a14:hiddenFill xmlns:a14="http://schemas.microsoft.com/office/drawing/2010/main">
                  <a:solidFill>
                    <a:srgbClr val="FFFFFF"/>
                  </a:solidFill>
                </a14:hiddenFill>
              </a:ext>
            </a:extLst>
          </p:spPr>
        </p:pic>
      </p:grpSp>
      <p:pic>
        <p:nvPicPr>
          <p:cNvPr id="1065" name="Picture 4" descr="Vector flat syringe icon outline. Medical equipment line art picture  isolated on white background. Healthcare, research and laboratory concept.  Health check or treatment clip art 6982489 Vector Art at Vecteezy">
            <a:extLst>
              <a:ext uri="{FF2B5EF4-FFF2-40B4-BE49-F238E27FC236}">
                <a16:creationId xmlns:a16="http://schemas.microsoft.com/office/drawing/2014/main" id="{FAE03B3E-C29F-4CCA-CC32-E09EC9F1BA22}"/>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28076" r="27851"/>
          <a:stretch/>
        </p:blipFill>
        <p:spPr bwMode="auto">
          <a:xfrm rot="10800000" flipH="1">
            <a:off x="287036" y="3641491"/>
            <a:ext cx="128640" cy="564080"/>
          </a:xfrm>
          <a:prstGeom prst="rect">
            <a:avLst/>
          </a:prstGeom>
          <a:noFill/>
          <a:ln>
            <a:solidFill>
              <a:srgbClr val="FF0000"/>
            </a:solidFill>
          </a:ln>
          <a:extLst>
            <a:ext uri="{909E8E84-426E-40DD-AFC4-6F175D3DCCD1}">
              <a14:hiddenFill xmlns:a14="http://schemas.microsoft.com/office/drawing/2010/main">
                <a:solidFill>
                  <a:srgbClr val="FFFFFF"/>
                </a:solidFill>
              </a14:hiddenFill>
            </a:ext>
          </a:extLst>
        </p:spPr>
      </p:pic>
      <p:pic>
        <p:nvPicPr>
          <p:cNvPr id="1066" name="Picture 4" descr="Vector flat syringe icon outline. Medical equipment line art picture  isolated on white background. Healthcare, research and laboratory concept.  Health check or treatment clip art 6982489 Vector Art at Vecteezy">
            <a:extLst>
              <a:ext uri="{FF2B5EF4-FFF2-40B4-BE49-F238E27FC236}">
                <a16:creationId xmlns:a16="http://schemas.microsoft.com/office/drawing/2014/main" id="{1C727911-EBDB-1B08-D289-7D5872B96D3C}"/>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28076" r="27851"/>
          <a:stretch/>
        </p:blipFill>
        <p:spPr bwMode="auto">
          <a:xfrm rot="10800000" flipH="1">
            <a:off x="1200278" y="3633209"/>
            <a:ext cx="128640" cy="564080"/>
          </a:xfrm>
          <a:prstGeom prst="rect">
            <a:avLst/>
          </a:prstGeom>
          <a:noFill/>
          <a:extLst>
            <a:ext uri="{909E8E84-426E-40DD-AFC4-6F175D3DCCD1}">
              <a14:hiddenFill xmlns:a14="http://schemas.microsoft.com/office/drawing/2010/main">
                <a:solidFill>
                  <a:srgbClr val="FFFFFF"/>
                </a:solidFill>
              </a14:hiddenFill>
            </a:ext>
          </a:extLst>
        </p:spPr>
      </p:pic>
      <p:sp>
        <p:nvSpPr>
          <p:cNvPr id="1067" name="TextBox 1066">
            <a:extLst>
              <a:ext uri="{FF2B5EF4-FFF2-40B4-BE49-F238E27FC236}">
                <a16:creationId xmlns:a16="http://schemas.microsoft.com/office/drawing/2014/main" id="{EE314791-4135-E888-57F4-52701DD22D3F}"/>
              </a:ext>
            </a:extLst>
          </p:cNvPr>
          <p:cNvSpPr txBox="1"/>
          <p:nvPr/>
        </p:nvSpPr>
        <p:spPr>
          <a:xfrm>
            <a:off x="433696" y="3633209"/>
            <a:ext cx="544217" cy="461665"/>
          </a:xfrm>
          <a:prstGeom prst="rect">
            <a:avLst/>
          </a:prstGeom>
          <a:noFill/>
        </p:spPr>
        <p:txBody>
          <a:bodyPr wrap="square" rtlCol="0">
            <a:spAutoFit/>
          </a:bodyPr>
          <a:lstStyle/>
          <a:p>
            <a:pPr algn="ctr"/>
            <a:r>
              <a:rPr lang="en-US" sz="800"/>
              <a:t>Drug or placebo </a:t>
            </a:r>
          </a:p>
          <a:p>
            <a:pPr algn="ctr"/>
            <a:r>
              <a:rPr lang="en-US" sz="800"/>
              <a:t>IT bolus</a:t>
            </a:r>
          </a:p>
        </p:txBody>
      </p:sp>
      <p:sp>
        <p:nvSpPr>
          <p:cNvPr id="1068" name="TextBox 1067">
            <a:extLst>
              <a:ext uri="{FF2B5EF4-FFF2-40B4-BE49-F238E27FC236}">
                <a16:creationId xmlns:a16="http://schemas.microsoft.com/office/drawing/2014/main" id="{70C970D9-528D-1C06-36E5-2472BDEAE26B}"/>
              </a:ext>
            </a:extLst>
          </p:cNvPr>
          <p:cNvSpPr txBox="1"/>
          <p:nvPr/>
        </p:nvSpPr>
        <p:spPr>
          <a:xfrm>
            <a:off x="1306349" y="3651547"/>
            <a:ext cx="544217" cy="338554"/>
          </a:xfrm>
          <a:prstGeom prst="rect">
            <a:avLst/>
          </a:prstGeom>
          <a:noFill/>
        </p:spPr>
        <p:txBody>
          <a:bodyPr wrap="square" rtlCol="0">
            <a:spAutoFit/>
          </a:bodyPr>
          <a:lstStyle/>
          <a:p>
            <a:pPr algn="ctr"/>
            <a:r>
              <a:rPr lang="en-US" sz="800"/>
              <a:t>LP for CSF only</a:t>
            </a:r>
          </a:p>
        </p:txBody>
      </p:sp>
    </p:spTree>
    <p:extLst>
      <p:ext uri="{BB962C8B-B14F-4D97-AF65-F5344CB8AC3E}">
        <p14:creationId xmlns:p14="http://schemas.microsoft.com/office/powerpoint/2010/main" val="3225158885"/>
      </p:ext>
    </p:extLst>
  </p:cSld>
  <p:clrMapOvr>
    <a:masterClrMapping/>
  </p:clrMapOvr>
  <p:transition spd="slow">
    <p:push dir="u"/>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8D8B547-E22C-F72D-F235-34C5993B3582}"/>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CDD800F2-774C-E3EC-5336-F0E791C38510}"/>
              </a:ext>
            </a:extLst>
          </p:cNvPr>
          <p:cNvSpPr>
            <a:spLocks noGrp="1"/>
          </p:cNvSpPr>
          <p:nvPr>
            <p:ph type="body" sz="quarter" idx="15"/>
          </p:nvPr>
        </p:nvSpPr>
        <p:spPr/>
        <p:txBody>
          <a:bodyPr/>
          <a:lstStyle/>
          <a:p>
            <a:endParaRPr lang="en-US">
              <a:solidFill>
                <a:srgbClr val="000000"/>
              </a:solidFill>
            </a:endParaRPr>
          </a:p>
          <a:p>
            <a:endParaRPr lang="en-US">
              <a:solidFill>
                <a:srgbClr val="000000"/>
              </a:solidFill>
            </a:endParaRPr>
          </a:p>
          <a:p>
            <a:endParaRPr lang="en-US">
              <a:solidFill>
                <a:srgbClr val="000000"/>
              </a:solidFill>
            </a:endParaRPr>
          </a:p>
          <a:p>
            <a:endParaRPr lang="en-US"/>
          </a:p>
        </p:txBody>
      </p:sp>
      <p:sp>
        <p:nvSpPr>
          <p:cNvPr id="3" name="Footer Placeholder 2">
            <a:extLst>
              <a:ext uri="{FF2B5EF4-FFF2-40B4-BE49-F238E27FC236}">
                <a16:creationId xmlns:a16="http://schemas.microsoft.com/office/drawing/2014/main" id="{695F25AC-E825-A0BF-5126-7A28261BB8CB}"/>
              </a:ext>
            </a:extLst>
          </p:cNvPr>
          <p:cNvSpPr>
            <a:spLocks noGrp="1"/>
          </p:cNvSpPr>
          <p:nvPr>
            <p:ph type="ftr" sz="quarter" idx="3"/>
          </p:nvPr>
        </p:nvSpPr>
        <p:spPr/>
        <p:txBody>
          <a:bodyPr/>
          <a:lstStyle/>
          <a:p>
            <a:r>
              <a:rPr lang="en-JP"/>
              <a:t> </a:t>
            </a:r>
          </a:p>
        </p:txBody>
      </p:sp>
      <p:sp>
        <p:nvSpPr>
          <p:cNvPr id="4" name="Title 3">
            <a:extLst>
              <a:ext uri="{FF2B5EF4-FFF2-40B4-BE49-F238E27FC236}">
                <a16:creationId xmlns:a16="http://schemas.microsoft.com/office/drawing/2014/main" id="{2F52BCE0-B88B-E003-ABA1-D3EEED8E9208}"/>
              </a:ext>
            </a:extLst>
          </p:cNvPr>
          <p:cNvSpPr>
            <a:spLocks noGrp="1"/>
          </p:cNvSpPr>
          <p:nvPr>
            <p:ph type="title"/>
          </p:nvPr>
        </p:nvSpPr>
        <p:spPr/>
        <p:txBody>
          <a:bodyPr/>
          <a:lstStyle/>
          <a:p>
            <a:r>
              <a:rPr lang="en-US"/>
              <a:t>FTE for Biostatistician</a:t>
            </a:r>
          </a:p>
        </p:txBody>
      </p:sp>
      <p:sp>
        <p:nvSpPr>
          <p:cNvPr id="5" name="Slide Number Placeholder 4">
            <a:extLst>
              <a:ext uri="{FF2B5EF4-FFF2-40B4-BE49-F238E27FC236}">
                <a16:creationId xmlns:a16="http://schemas.microsoft.com/office/drawing/2014/main" id="{0FF983EA-880D-EDB6-2A07-65D88B31BD60}"/>
              </a:ext>
            </a:extLst>
          </p:cNvPr>
          <p:cNvSpPr>
            <a:spLocks noGrp="1"/>
          </p:cNvSpPr>
          <p:nvPr>
            <p:ph type="sldNum" sz="quarter" idx="4"/>
          </p:nvPr>
        </p:nvSpPr>
        <p:spPr/>
        <p:txBody>
          <a:bodyPr/>
          <a:lstStyle/>
          <a:p>
            <a:pPr defTabSz="1218810"/>
            <a:fld id="{E9B57936-92EF-4126-AE48-1D9D36D15E98}" type="slidenum">
              <a:rPr lang="ja-JP" altLang="en-US" smtClean="0"/>
              <a:pPr defTabSz="1218810"/>
              <a:t>20</a:t>
            </a:fld>
            <a:endParaRPr lang="ja-JP" altLang="en-US"/>
          </a:p>
        </p:txBody>
      </p:sp>
      <p:sp>
        <p:nvSpPr>
          <p:cNvPr id="6" name="Text Placeholder 5">
            <a:extLst>
              <a:ext uri="{FF2B5EF4-FFF2-40B4-BE49-F238E27FC236}">
                <a16:creationId xmlns:a16="http://schemas.microsoft.com/office/drawing/2014/main" id="{EBA8E3F0-A635-1798-6CBA-5DEDE32EF3C9}"/>
              </a:ext>
            </a:extLst>
          </p:cNvPr>
          <p:cNvSpPr>
            <a:spLocks noGrp="1"/>
          </p:cNvSpPr>
          <p:nvPr>
            <p:ph type="body" sz="quarter" idx="16"/>
          </p:nvPr>
        </p:nvSpPr>
        <p:spPr/>
        <p:txBody>
          <a:bodyPr/>
          <a:lstStyle/>
          <a:p>
            <a:endParaRPr lang="en-US"/>
          </a:p>
        </p:txBody>
      </p:sp>
      <p:sp>
        <p:nvSpPr>
          <p:cNvPr id="13" name="TextBox 12">
            <a:extLst>
              <a:ext uri="{FF2B5EF4-FFF2-40B4-BE49-F238E27FC236}">
                <a16:creationId xmlns:a16="http://schemas.microsoft.com/office/drawing/2014/main" id="{F43F62A5-D9A3-A47D-9C0A-94FC235F0763}"/>
              </a:ext>
            </a:extLst>
          </p:cNvPr>
          <p:cNvSpPr txBox="1"/>
          <p:nvPr/>
        </p:nvSpPr>
        <p:spPr>
          <a:xfrm>
            <a:off x="606079" y="1233488"/>
            <a:ext cx="5489922" cy="4524315"/>
          </a:xfrm>
          <a:prstGeom prst="rect">
            <a:avLst/>
          </a:prstGeom>
          <a:noFill/>
        </p:spPr>
        <p:txBody>
          <a:bodyPr wrap="square">
            <a:spAutoFit/>
          </a:bodyPr>
          <a:lstStyle/>
          <a:p>
            <a:pPr marR="0" algn="l" rtl="0"/>
            <a:r>
              <a:rPr lang="en-US" b="1" i="0" u="none" strike="noStrike" kern="100" baseline="0" dirty="0">
                <a:latin typeface="Times New Roman" panose="02020603050405020304" pitchFamily="18" charset="0"/>
              </a:rPr>
              <a:t>Dec 2024 - Jun 2025 (Phase 1/2)</a:t>
            </a:r>
          </a:p>
          <a:p>
            <a:pPr marL="171450" marR="0" indent="-171450" algn="l" rtl="0">
              <a:buFont typeface="Arial" panose="020B0604020202020204" pitchFamily="34" charset="0"/>
              <a:buChar char="•"/>
            </a:pPr>
            <a:r>
              <a:rPr lang="en-US" b="1" i="0" u="none" strike="noStrike" kern="100" baseline="0" dirty="0">
                <a:latin typeface="Times New Roman" panose="02020603050405020304" pitchFamily="18" charset="0"/>
              </a:rPr>
              <a:t>Involvement:</a:t>
            </a:r>
            <a:endParaRPr lang="en-US" b="0" i="0" u="none" strike="noStrike" kern="100" baseline="0" dirty="0">
              <a:latin typeface="Times New Roman" panose="02020603050405020304" pitchFamily="18" charset="0"/>
            </a:endParaRPr>
          </a:p>
          <a:p>
            <a:pPr marL="627063" lvl="2" indent="-169863">
              <a:buFont typeface="Arial" panose="020B0604020202020204" pitchFamily="34" charset="0"/>
              <a:buChar char="•"/>
            </a:pPr>
            <a:r>
              <a:rPr lang="en-US" b="0" i="0" u="none" strike="noStrike" kern="100" baseline="0" dirty="0">
                <a:latin typeface="Times New Roman" panose="02020603050405020304" pitchFamily="18" charset="0"/>
              </a:rPr>
              <a:t>Review literature</a:t>
            </a:r>
          </a:p>
          <a:p>
            <a:pPr marL="628650" lvl="1" indent="-171450">
              <a:buFont typeface="Arial" panose="020B0604020202020204" pitchFamily="34" charset="0"/>
              <a:buChar char="•"/>
            </a:pPr>
            <a:r>
              <a:rPr lang="en-US" b="0" i="0" u="none" strike="noStrike" kern="100" baseline="0" dirty="0">
                <a:latin typeface="Times New Roman" panose="02020603050405020304" pitchFamily="18" charset="0"/>
              </a:rPr>
              <a:t>Write and disseminate the concept note</a:t>
            </a:r>
          </a:p>
          <a:p>
            <a:pPr marL="628650" lvl="1" indent="-171450">
              <a:buFont typeface="Arial" panose="020B0604020202020204" pitchFamily="34" charset="0"/>
              <a:buChar char="•"/>
            </a:pPr>
            <a:r>
              <a:rPr lang="en-US" b="0" i="0" u="none" strike="noStrike" kern="100" baseline="0" dirty="0">
                <a:latin typeface="Times New Roman" panose="02020603050405020304" pitchFamily="18" charset="0"/>
              </a:rPr>
              <a:t>Perform simulation and power analysis</a:t>
            </a:r>
          </a:p>
          <a:p>
            <a:pPr marL="628650" lvl="1" indent="-171450">
              <a:buFont typeface="Arial" panose="020B0604020202020204" pitchFamily="34" charset="0"/>
              <a:buChar char="•"/>
            </a:pPr>
            <a:r>
              <a:rPr lang="en-US" b="0" i="0" u="none" strike="noStrike" kern="100" baseline="0" dirty="0">
                <a:latin typeface="Times New Roman" panose="02020603050405020304" pitchFamily="18" charset="0"/>
              </a:rPr>
              <a:t>Contribute to Concept Sheet and CDP</a:t>
            </a:r>
          </a:p>
          <a:p>
            <a:pPr marL="171450" marR="0" indent="-171450" algn="l" rtl="0">
              <a:buFont typeface="Arial" panose="020B0604020202020204" pitchFamily="34" charset="0"/>
              <a:buChar char="•"/>
            </a:pPr>
            <a:r>
              <a:rPr lang="en-US" b="1" i="0" u="none" strike="noStrike" kern="100" baseline="0" dirty="0">
                <a:latin typeface="Times New Roman" panose="02020603050405020304" pitchFamily="18" charset="0"/>
              </a:rPr>
              <a:t>FTE Required</a:t>
            </a:r>
            <a:r>
              <a:rPr lang="en-US" b="1" i="0" u="none" strike="noStrike" kern="100" baseline="0">
                <a:latin typeface="Times New Roman" panose="02020603050405020304" pitchFamily="18" charset="0"/>
              </a:rPr>
              <a:t>:</a:t>
            </a:r>
            <a:r>
              <a:rPr lang="en-US" b="0" i="0" u="none" strike="noStrike" kern="100" baseline="0">
                <a:latin typeface="Times New Roman" panose="02020603050405020304" pitchFamily="18" charset="0"/>
              </a:rPr>
              <a:t> 70% </a:t>
            </a:r>
            <a:r>
              <a:rPr lang="en-US" b="0" i="0" u="none" strike="noStrike" kern="100" baseline="0" dirty="0">
                <a:latin typeface="Times New Roman" panose="02020603050405020304" pitchFamily="18" charset="0"/>
              </a:rPr>
              <a:t>of a biostatistician</a:t>
            </a:r>
          </a:p>
          <a:p>
            <a:pPr marR="0" algn="l" rtl="0"/>
            <a:endParaRPr lang="en-US" b="1" i="0" u="none" strike="noStrike" kern="100" baseline="0" dirty="0">
              <a:latin typeface="Times New Roman" panose="02020603050405020304" pitchFamily="18" charset="0"/>
            </a:endParaRPr>
          </a:p>
          <a:p>
            <a:pPr marR="0" algn="l" rtl="0"/>
            <a:r>
              <a:rPr lang="en-US" b="1" i="0" u="none" strike="noStrike" kern="100" baseline="0" dirty="0">
                <a:latin typeface="Times New Roman" panose="02020603050405020304" pitchFamily="18" charset="0"/>
              </a:rPr>
              <a:t>Jul 2026 - Sep 2026</a:t>
            </a:r>
          </a:p>
          <a:p>
            <a:pPr marL="171450" marR="0" indent="-171450" algn="l" rtl="0">
              <a:buFont typeface="Arial" panose="020B0604020202020204" pitchFamily="34" charset="0"/>
              <a:buChar char="•"/>
            </a:pPr>
            <a:r>
              <a:rPr lang="en-US" b="1" i="0" u="none" strike="noStrike" kern="100" baseline="0" dirty="0">
                <a:latin typeface="Times New Roman" panose="02020603050405020304" pitchFamily="18" charset="0"/>
              </a:rPr>
              <a:t>Involvement:</a:t>
            </a:r>
            <a:endParaRPr lang="en-US" b="0" i="0" u="none" strike="noStrike" kern="100" baseline="0" dirty="0">
              <a:latin typeface="Times New Roman" panose="02020603050405020304" pitchFamily="18" charset="0"/>
            </a:endParaRPr>
          </a:p>
          <a:p>
            <a:pPr marL="627063" lvl="2" indent="-169863">
              <a:buFont typeface="Arial" panose="020B0604020202020204" pitchFamily="34" charset="0"/>
              <a:buChar char="•"/>
            </a:pPr>
            <a:r>
              <a:rPr lang="en-US" kern="100" dirty="0">
                <a:latin typeface="Times New Roman" panose="02020603050405020304" pitchFamily="18" charset="0"/>
              </a:rPr>
              <a:t>Develop Protocol and SAP</a:t>
            </a:r>
          </a:p>
          <a:p>
            <a:pPr marL="627063" lvl="2" indent="-169863">
              <a:buFont typeface="Arial" panose="020B0604020202020204" pitchFamily="34" charset="0"/>
              <a:buChar char="•"/>
            </a:pPr>
            <a:r>
              <a:rPr lang="en-US" kern="100" dirty="0">
                <a:latin typeface="Times New Roman" panose="02020603050405020304" pitchFamily="18" charset="0"/>
              </a:rPr>
              <a:t>Collaborate with statistical programmers for randomization, ADAM, SDTM database, and TLFs setup</a:t>
            </a:r>
          </a:p>
          <a:p>
            <a:pPr marL="171450" marR="0" indent="-171450" algn="l" rtl="0">
              <a:buFont typeface="Arial" panose="020B0604020202020204" pitchFamily="34" charset="0"/>
              <a:buChar char="•"/>
            </a:pPr>
            <a:r>
              <a:rPr lang="en-US" b="1" i="0" u="none" strike="noStrike" kern="100" baseline="0" dirty="0">
                <a:latin typeface="Times New Roman" panose="02020603050405020304" pitchFamily="18" charset="0"/>
              </a:rPr>
              <a:t>FTE Required</a:t>
            </a:r>
            <a:r>
              <a:rPr lang="en-US" b="1" i="0" u="none" strike="noStrike" kern="100" baseline="0">
                <a:latin typeface="Times New Roman" panose="02020603050405020304" pitchFamily="18" charset="0"/>
              </a:rPr>
              <a:t>:</a:t>
            </a:r>
            <a:r>
              <a:rPr lang="en-US" b="0" i="0" u="none" strike="noStrike" kern="100" baseline="0">
                <a:latin typeface="Times New Roman" panose="02020603050405020304" pitchFamily="18" charset="0"/>
              </a:rPr>
              <a:t> 75% </a:t>
            </a:r>
            <a:r>
              <a:rPr lang="en-US" b="0" i="0" u="none" strike="noStrike" kern="100" baseline="0" dirty="0">
                <a:latin typeface="Times New Roman" panose="02020603050405020304" pitchFamily="18" charset="0"/>
              </a:rPr>
              <a:t>of a biostatistician</a:t>
            </a:r>
          </a:p>
          <a:p>
            <a:pPr marR="0" algn="l" rtl="0"/>
            <a:endParaRPr lang="en-US" b="0" i="0" u="none" strike="noStrike" kern="100" baseline="0" dirty="0">
              <a:latin typeface="Times New Roman" panose="02020603050405020304" pitchFamily="18" charset="0"/>
            </a:endParaRPr>
          </a:p>
        </p:txBody>
      </p:sp>
      <p:sp>
        <p:nvSpPr>
          <p:cNvPr id="14" name="TextBox 13">
            <a:extLst>
              <a:ext uri="{FF2B5EF4-FFF2-40B4-BE49-F238E27FC236}">
                <a16:creationId xmlns:a16="http://schemas.microsoft.com/office/drawing/2014/main" id="{375AD8A7-FF53-5856-46D7-F08D8D4116A2}"/>
              </a:ext>
            </a:extLst>
          </p:cNvPr>
          <p:cNvSpPr txBox="1"/>
          <p:nvPr/>
        </p:nvSpPr>
        <p:spPr>
          <a:xfrm>
            <a:off x="6169465" y="1385888"/>
            <a:ext cx="5489922" cy="3416320"/>
          </a:xfrm>
          <a:prstGeom prst="rect">
            <a:avLst/>
          </a:prstGeom>
          <a:noFill/>
        </p:spPr>
        <p:txBody>
          <a:bodyPr wrap="square">
            <a:spAutoFit/>
          </a:bodyPr>
          <a:lstStyle/>
          <a:p>
            <a:pPr marR="0" algn="l" rtl="0"/>
            <a:endParaRPr lang="en-US" b="1" i="0" u="none" strike="noStrike" kern="100" baseline="0" dirty="0">
              <a:latin typeface="Times New Roman" panose="02020603050405020304" pitchFamily="18" charset="0"/>
            </a:endParaRPr>
          </a:p>
          <a:p>
            <a:pPr marR="0" algn="l" rtl="0"/>
            <a:r>
              <a:rPr lang="en-US" b="1" i="0" u="none" strike="noStrike" kern="100" baseline="0" dirty="0">
                <a:latin typeface="Times New Roman" panose="02020603050405020304" pitchFamily="18" charset="0"/>
              </a:rPr>
              <a:t>Oct 2026 Onwards</a:t>
            </a:r>
          </a:p>
          <a:p>
            <a:pPr marL="171450" marR="0" indent="-171450" algn="l" rtl="0">
              <a:buFont typeface="Arial" panose="020B0604020202020204" pitchFamily="34" charset="0"/>
              <a:buChar char="•"/>
            </a:pPr>
            <a:r>
              <a:rPr lang="en-US" b="1" i="0" u="none" strike="noStrike" kern="100" baseline="0" dirty="0">
                <a:latin typeface="Times New Roman" panose="02020603050405020304" pitchFamily="18" charset="0"/>
              </a:rPr>
              <a:t>Involvement:</a:t>
            </a:r>
            <a:endParaRPr lang="en-US" b="0" i="0" u="none" strike="noStrike" kern="100" baseline="0" dirty="0">
              <a:latin typeface="Times New Roman" panose="02020603050405020304" pitchFamily="18" charset="0"/>
            </a:endParaRPr>
          </a:p>
          <a:p>
            <a:pPr marL="627063" lvl="2" indent="-169863">
              <a:buFont typeface="Arial" panose="020B0604020202020204" pitchFamily="34" charset="0"/>
              <a:buChar char="•"/>
            </a:pPr>
            <a:r>
              <a:rPr lang="en-US" kern="100" dirty="0">
                <a:latin typeface="Times New Roman" panose="02020603050405020304" pitchFamily="18" charset="0"/>
              </a:rPr>
              <a:t>Data quality monitoring</a:t>
            </a:r>
          </a:p>
          <a:p>
            <a:pPr marL="627063" lvl="2" indent="-169863">
              <a:buFont typeface="Arial" panose="020B0604020202020204" pitchFamily="34" charset="0"/>
              <a:buChar char="•"/>
            </a:pPr>
            <a:r>
              <a:rPr lang="en-US" kern="100" dirty="0">
                <a:latin typeface="Times New Roman" panose="02020603050405020304" pitchFamily="18" charset="0"/>
              </a:rPr>
              <a:t>Amend protocol and SAP if needed </a:t>
            </a:r>
          </a:p>
          <a:p>
            <a:pPr marL="627063" lvl="2" indent="-169863">
              <a:buFont typeface="Arial" panose="020B0604020202020204" pitchFamily="34" charset="0"/>
              <a:buChar char="•"/>
            </a:pPr>
            <a:r>
              <a:rPr lang="en-US" kern="100" dirty="0">
                <a:latin typeface="Times New Roman" panose="02020603050405020304" pitchFamily="18" charset="0"/>
              </a:rPr>
              <a:t>Collaborate with programmers for database unlock, finalize ADAM, SDTM, and TLF</a:t>
            </a:r>
          </a:p>
          <a:p>
            <a:pPr marL="627063" lvl="2" indent="-169863">
              <a:buFont typeface="Arial" panose="020B0604020202020204" pitchFamily="34" charset="0"/>
              <a:buChar char="•"/>
            </a:pPr>
            <a:r>
              <a:rPr lang="en-US" kern="100" dirty="0">
                <a:latin typeface="Times New Roman" panose="02020603050405020304" pitchFamily="18" charset="0"/>
              </a:rPr>
              <a:t>Analyze data for GNG and CRS</a:t>
            </a:r>
          </a:p>
          <a:p>
            <a:pPr marL="627063" lvl="2" indent="-169863">
              <a:buFont typeface="Arial" panose="020B0604020202020204" pitchFamily="34" charset="0"/>
              <a:buChar char="•"/>
            </a:pPr>
            <a:r>
              <a:rPr lang="en-US" kern="100" dirty="0">
                <a:latin typeface="Times New Roman" panose="02020603050405020304" pitchFamily="18" charset="0"/>
              </a:rPr>
              <a:t>Work with the study team for clinical study report and</a:t>
            </a:r>
            <a:r>
              <a:rPr lang="en-US" b="0" i="0" u="none" strike="noStrike" kern="100" baseline="0" dirty="0">
                <a:latin typeface="Times New Roman" panose="02020603050405020304" pitchFamily="18" charset="0"/>
              </a:rPr>
              <a:t> regulatory submission</a:t>
            </a:r>
          </a:p>
          <a:p>
            <a:pPr marL="627063" lvl="2" indent="-169863">
              <a:buFont typeface="Arial" panose="020B0604020202020204" pitchFamily="34" charset="0"/>
              <a:buChar char="•"/>
            </a:pPr>
            <a:r>
              <a:rPr lang="en-US" kern="100" dirty="0">
                <a:latin typeface="Times New Roman" panose="02020603050405020304" pitchFamily="18" charset="0"/>
              </a:rPr>
              <a:t>Develop Phase 2/3 trial</a:t>
            </a:r>
            <a:endParaRPr lang="en-US" b="0" i="0" u="none" strike="noStrike" kern="100" baseline="0" dirty="0">
              <a:latin typeface="Times New Roman" panose="02020603050405020304" pitchFamily="18" charset="0"/>
            </a:endParaRPr>
          </a:p>
          <a:p>
            <a:pPr marL="171450" marR="0" indent="-171450" algn="l" rtl="0">
              <a:buFont typeface="Arial" panose="020B0604020202020204" pitchFamily="34" charset="0"/>
              <a:buChar char="•"/>
            </a:pPr>
            <a:r>
              <a:rPr lang="en-US" b="1" i="0" u="none" strike="noStrike" kern="100" baseline="0" dirty="0">
                <a:latin typeface="Times New Roman" panose="02020603050405020304" pitchFamily="18" charset="0"/>
              </a:rPr>
              <a:t>FTE Required</a:t>
            </a:r>
            <a:r>
              <a:rPr lang="en-US" b="1" i="0" u="none" strike="noStrike" kern="100" baseline="0">
                <a:latin typeface="Times New Roman" panose="02020603050405020304" pitchFamily="18" charset="0"/>
              </a:rPr>
              <a:t>:</a:t>
            </a:r>
            <a:r>
              <a:rPr lang="en-US" b="0" i="0" u="none" strike="noStrike" kern="100" baseline="0">
                <a:latin typeface="Times New Roman" panose="02020603050405020304" pitchFamily="18" charset="0"/>
              </a:rPr>
              <a:t> 100% </a:t>
            </a:r>
            <a:r>
              <a:rPr lang="en-US" b="0" i="0" u="none" strike="noStrike" kern="100" baseline="0" dirty="0">
                <a:latin typeface="Times New Roman" panose="02020603050405020304" pitchFamily="18" charset="0"/>
              </a:rPr>
              <a:t>of a biostatistician</a:t>
            </a:r>
          </a:p>
        </p:txBody>
      </p:sp>
    </p:spTree>
    <p:extLst>
      <p:ext uri="{BB962C8B-B14F-4D97-AF65-F5344CB8AC3E}">
        <p14:creationId xmlns:p14="http://schemas.microsoft.com/office/powerpoint/2010/main" val="1640238445"/>
      </p:ext>
    </p:extLst>
  </p:cSld>
  <p:clrMapOvr>
    <a:masterClrMapping/>
  </p:clrMapOvr>
  <p:transition spd="slow">
    <p:push dir="u"/>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AB7086D-AD6C-3AF4-1428-4AFD53E0E971}"/>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515DE4AD-BBD4-708C-13C5-CAECDCF34649}"/>
              </a:ext>
            </a:extLst>
          </p:cNvPr>
          <p:cNvSpPr>
            <a:spLocks noGrp="1"/>
          </p:cNvSpPr>
          <p:nvPr>
            <p:ph type="body" sz="quarter" idx="15"/>
          </p:nvPr>
        </p:nvSpPr>
        <p:spPr/>
        <p:txBody>
          <a:bodyPr/>
          <a:lstStyle/>
          <a:p>
            <a:endParaRPr lang="en-US">
              <a:solidFill>
                <a:srgbClr val="000000"/>
              </a:solidFill>
            </a:endParaRPr>
          </a:p>
          <a:p>
            <a:endParaRPr lang="en-US">
              <a:solidFill>
                <a:srgbClr val="000000"/>
              </a:solidFill>
            </a:endParaRPr>
          </a:p>
          <a:p>
            <a:endParaRPr lang="en-US">
              <a:solidFill>
                <a:srgbClr val="000000"/>
              </a:solidFill>
            </a:endParaRPr>
          </a:p>
          <a:p>
            <a:endParaRPr lang="en-US"/>
          </a:p>
        </p:txBody>
      </p:sp>
      <p:sp>
        <p:nvSpPr>
          <p:cNvPr id="3" name="Footer Placeholder 2">
            <a:extLst>
              <a:ext uri="{FF2B5EF4-FFF2-40B4-BE49-F238E27FC236}">
                <a16:creationId xmlns:a16="http://schemas.microsoft.com/office/drawing/2014/main" id="{C815306E-AD38-9B44-3FD3-2C2972DABFF0}"/>
              </a:ext>
            </a:extLst>
          </p:cNvPr>
          <p:cNvSpPr>
            <a:spLocks noGrp="1"/>
          </p:cNvSpPr>
          <p:nvPr>
            <p:ph type="ftr" sz="quarter" idx="3"/>
          </p:nvPr>
        </p:nvSpPr>
        <p:spPr/>
        <p:txBody>
          <a:bodyPr/>
          <a:lstStyle/>
          <a:p>
            <a:r>
              <a:rPr lang="en-JP"/>
              <a:t> </a:t>
            </a:r>
          </a:p>
        </p:txBody>
      </p:sp>
      <p:sp>
        <p:nvSpPr>
          <p:cNvPr id="4" name="Title 3">
            <a:extLst>
              <a:ext uri="{FF2B5EF4-FFF2-40B4-BE49-F238E27FC236}">
                <a16:creationId xmlns:a16="http://schemas.microsoft.com/office/drawing/2014/main" id="{A4A7AAA4-8F52-CE42-6505-B7990BD2731A}"/>
              </a:ext>
            </a:extLst>
          </p:cNvPr>
          <p:cNvSpPr>
            <a:spLocks noGrp="1"/>
          </p:cNvSpPr>
          <p:nvPr>
            <p:ph type="title"/>
          </p:nvPr>
        </p:nvSpPr>
        <p:spPr/>
        <p:txBody>
          <a:bodyPr/>
          <a:lstStyle/>
          <a:p>
            <a:r>
              <a:rPr lang="en-US"/>
              <a:t>Biostatistics Support</a:t>
            </a:r>
          </a:p>
        </p:txBody>
      </p:sp>
      <p:sp>
        <p:nvSpPr>
          <p:cNvPr id="5" name="Slide Number Placeholder 4">
            <a:extLst>
              <a:ext uri="{FF2B5EF4-FFF2-40B4-BE49-F238E27FC236}">
                <a16:creationId xmlns:a16="http://schemas.microsoft.com/office/drawing/2014/main" id="{300747E2-F36E-3B4D-4FBF-D53618753474}"/>
              </a:ext>
            </a:extLst>
          </p:cNvPr>
          <p:cNvSpPr>
            <a:spLocks noGrp="1"/>
          </p:cNvSpPr>
          <p:nvPr>
            <p:ph type="sldNum" sz="quarter" idx="4"/>
          </p:nvPr>
        </p:nvSpPr>
        <p:spPr/>
        <p:txBody>
          <a:bodyPr/>
          <a:lstStyle/>
          <a:p>
            <a:pPr defTabSz="1218810"/>
            <a:fld id="{E9B57936-92EF-4126-AE48-1D9D36D15E98}" type="slidenum">
              <a:rPr lang="ja-JP" altLang="en-US" smtClean="0"/>
              <a:pPr defTabSz="1218810"/>
              <a:t>21</a:t>
            </a:fld>
            <a:endParaRPr lang="ja-JP" altLang="en-US"/>
          </a:p>
        </p:txBody>
      </p:sp>
      <p:sp>
        <p:nvSpPr>
          <p:cNvPr id="6" name="Text Placeholder 5">
            <a:extLst>
              <a:ext uri="{FF2B5EF4-FFF2-40B4-BE49-F238E27FC236}">
                <a16:creationId xmlns:a16="http://schemas.microsoft.com/office/drawing/2014/main" id="{75C6C3E1-B564-CE7F-917B-1CD1F751F61F}"/>
              </a:ext>
            </a:extLst>
          </p:cNvPr>
          <p:cNvSpPr>
            <a:spLocks noGrp="1"/>
          </p:cNvSpPr>
          <p:nvPr>
            <p:ph type="body" sz="quarter" idx="16"/>
          </p:nvPr>
        </p:nvSpPr>
        <p:spPr/>
        <p:txBody>
          <a:bodyPr/>
          <a:lstStyle/>
          <a:p>
            <a:endParaRPr lang="en-US"/>
          </a:p>
        </p:txBody>
      </p:sp>
      <p:sp>
        <p:nvSpPr>
          <p:cNvPr id="7" name="TextBox 6">
            <a:extLst>
              <a:ext uri="{FF2B5EF4-FFF2-40B4-BE49-F238E27FC236}">
                <a16:creationId xmlns:a16="http://schemas.microsoft.com/office/drawing/2014/main" id="{1C5554F0-D42F-1C12-8358-8E6B7BF078C9}"/>
              </a:ext>
            </a:extLst>
          </p:cNvPr>
          <p:cNvSpPr txBox="1"/>
          <p:nvPr/>
        </p:nvSpPr>
        <p:spPr>
          <a:xfrm>
            <a:off x="606079" y="1233488"/>
            <a:ext cx="4625798" cy="3616375"/>
          </a:xfrm>
          <a:prstGeom prst="rect">
            <a:avLst/>
          </a:prstGeom>
          <a:noFill/>
        </p:spPr>
        <p:txBody>
          <a:bodyPr wrap="square" rtlCol="0">
            <a:spAutoFit/>
          </a:bodyPr>
          <a:lstStyle/>
          <a:p>
            <a:r>
              <a:rPr lang="en-US"/>
              <a:t>Biostatistics</a:t>
            </a:r>
          </a:p>
          <a:p>
            <a:pPr marR="0" algn="l" rtl="0"/>
            <a:r>
              <a:rPr lang="en-US" sz="1300" b="1" i="0" u="none" strike="noStrike" baseline="0">
                <a:latin typeface="Times New Roman" panose="02020603050405020304" pitchFamily="18" charset="0"/>
              </a:rPr>
              <a:t>Phase 1/2</a:t>
            </a:r>
          </a:p>
          <a:p>
            <a:pPr marR="0" algn="l" rtl="0">
              <a:buFont typeface="Symbol" panose="05050102010706020507" pitchFamily="18" charset="2"/>
              <a:buChar char="·"/>
            </a:pPr>
            <a:r>
              <a:rPr lang="en-US" sz="1200" b="1" i="0" u="none" strike="noStrike" baseline="0">
                <a:latin typeface="Times New Roman" panose="02020603050405020304" pitchFamily="18" charset="0"/>
              </a:rPr>
              <a:t> Concept Development:</a:t>
            </a:r>
            <a:endParaRPr lang="en-US" sz="1200" b="0" i="0" u="none" strike="noStrike" baseline="0">
              <a:latin typeface="Times New Roman" panose="02020603050405020304" pitchFamily="18" charset="0"/>
            </a:endParaRPr>
          </a:p>
          <a:p>
            <a:pPr marL="112713" marR="0" lvl="1" indent="-171450">
              <a:buFont typeface="Courier New" panose="02070309020205020404" pitchFamily="49" charset="0"/>
              <a:buChar char="o"/>
            </a:pPr>
            <a:r>
              <a:rPr lang="en-US" sz="1200">
                <a:latin typeface="Times New Roman" panose="02020603050405020304" pitchFamily="18" charset="0"/>
              </a:rPr>
              <a:t>Review literature</a:t>
            </a:r>
          </a:p>
          <a:p>
            <a:pPr marL="112713" indent="-171450">
              <a:buFont typeface="Courier New" panose="02070309020205020404" pitchFamily="49" charset="0"/>
              <a:buChar char="o"/>
            </a:pPr>
            <a:r>
              <a:rPr lang="en-US" sz="1200">
                <a:latin typeface="Times New Roman" panose="02020603050405020304" pitchFamily="18" charset="0"/>
              </a:rPr>
              <a:t>Write and disseminate the concept note</a:t>
            </a:r>
          </a:p>
          <a:p>
            <a:pPr marL="112713" indent="-171450">
              <a:buFont typeface="Courier New" panose="02070309020205020404" pitchFamily="49" charset="0"/>
              <a:buChar char="o"/>
            </a:pPr>
            <a:r>
              <a:rPr lang="en-US" sz="1200">
                <a:latin typeface="Times New Roman" panose="02020603050405020304" pitchFamily="18" charset="0"/>
              </a:rPr>
              <a:t>Perform simulation and power analysis</a:t>
            </a:r>
          </a:p>
          <a:p>
            <a:pPr marL="112713" indent="-171450">
              <a:buFont typeface="Courier New" panose="02070309020205020404" pitchFamily="49" charset="0"/>
              <a:buChar char="o"/>
            </a:pPr>
            <a:r>
              <a:rPr lang="en-US" sz="1200">
                <a:latin typeface="Times New Roman" panose="02020603050405020304" pitchFamily="18" charset="0"/>
              </a:rPr>
              <a:t>Contribute to Concept Sheet and CDP</a:t>
            </a:r>
          </a:p>
          <a:p>
            <a:pPr marR="0" algn="l" rtl="0">
              <a:buFont typeface="Symbol" panose="05050102010706020507" pitchFamily="18" charset="2"/>
              <a:buChar char="·"/>
            </a:pPr>
            <a:r>
              <a:rPr lang="en-US" sz="1200" b="1" i="0" u="none" strike="noStrike" baseline="0">
                <a:latin typeface="Times New Roman" panose="02020603050405020304" pitchFamily="18" charset="0"/>
              </a:rPr>
              <a:t> Protocol and SAP:</a:t>
            </a:r>
            <a:endParaRPr lang="en-US" sz="1200" b="0" i="0" u="none" strike="noStrike" baseline="0">
              <a:latin typeface="Times New Roman" panose="02020603050405020304" pitchFamily="18" charset="0"/>
            </a:endParaRPr>
          </a:p>
          <a:p>
            <a:pPr marR="0" lvl="1" algn="l" rtl="0">
              <a:buFont typeface="Courier New" panose="02070309020205020404" pitchFamily="49" charset="0"/>
              <a:buChar char="o"/>
            </a:pPr>
            <a:r>
              <a:rPr lang="en-US" sz="1200" b="0" i="0" u="none" strike="noStrike" baseline="0">
                <a:latin typeface="Times New Roman" panose="02020603050405020304" pitchFamily="18" charset="0"/>
              </a:rPr>
              <a:t> Draft protocol and SAP</a:t>
            </a:r>
          </a:p>
          <a:p>
            <a:pPr marR="0" algn="l" rtl="0">
              <a:buFont typeface="Symbol" panose="05050102010706020507" pitchFamily="18" charset="2"/>
              <a:buChar char="·"/>
            </a:pPr>
            <a:r>
              <a:rPr lang="en-US" sz="1200" b="1" i="0" u="none" strike="noStrike" baseline="0">
                <a:latin typeface="Times New Roman" panose="02020603050405020304" pitchFamily="18" charset="0"/>
              </a:rPr>
              <a:t> Collaboration:</a:t>
            </a:r>
            <a:endParaRPr lang="en-US" sz="1200" b="0" i="0" u="none" strike="noStrike" baseline="0">
              <a:latin typeface="Times New Roman" panose="02020603050405020304" pitchFamily="18" charset="0"/>
            </a:endParaRPr>
          </a:p>
          <a:p>
            <a:pPr marL="112713" marR="0" lvl="1" indent="-112713">
              <a:buFont typeface="Courier New" panose="02070309020205020404" pitchFamily="49" charset="0"/>
              <a:buChar char="o"/>
            </a:pPr>
            <a:r>
              <a:rPr lang="en-US" sz="1200">
                <a:latin typeface="Times New Roman" panose="02020603050405020304" pitchFamily="18" charset="0"/>
              </a:rPr>
              <a:t>Work with statisticians on randomization, ADAM, and SDTM database setup and TLFs</a:t>
            </a:r>
          </a:p>
          <a:p>
            <a:pPr marL="112713" indent="-112713">
              <a:buFont typeface="Courier New" panose="02070309020205020404" pitchFamily="49" charset="0"/>
              <a:buChar char="o"/>
            </a:pPr>
            <a:r>
              <a:rPr lang="en-US" sz="1200">
                <a:latin typeface="Times New Roman" panose="02020603050405020304" pitchFamily="18" charset="0"/>
              </a:rPr>
              <a:t>Monitor data quality</a:t>
            </a:r>
          </a:p>
          <a:p>
            <a:pPr marL="112713" indent="-112713">
              <a:buFont typeface="Courier New" panose="02070309020205020404" pitchFamily="49" charset="0"/>
              <a:buChar char="o"/>
            </a:pPr>
            <a:r>
              <a:rPr lang="en-US" sz="1200">
                <a:latin typeface="Times New Roman" panose="02020603050405020304" pitchFamily="18" charset="0"/>
              </a:rPr>
              <a:t>Coordinate with programmers for database unlock and finalize ADAM, SDTM, and TLF</a:t>
            </a:r>
          </a:p>
          <a:p>
            <a:pPr marL="112713" indent="-112713">
              <a:buFont typeface="Courier New" panose="02070309020205020404" pitchFamily="49" charset="0"/>
              <a:buChar char="o"/>
            </a:pPr>
            <a:r>
              <a:rPr lang="en-US" sz="1200">
                <a:latin typeface="Times New Roman" panose="02020603050405020304" pitchFamily="18" charset="0"/>
              </a:rPr>
              <a:t>Analyze data for GNG and CRS</a:t>
            </a:r>
          </a:p>
          <a:p>
            <a:pPr marL="112713" indent="-112713">
              <a:buFont typeface="Courier New" panose="02070309020205020404" pitchFamily="49" charset="0"/>
              <a:buChar char="o"/>
            </a:pPr>
            <a:r>
              <a:rPr lang="en-US" sz="1200">
                <a:latin typeface="Times New Roman" panose="02020603050405020304" pitchFamily="18" charset="0"/>
              </a:rPr>
              <a:t>Clinical study report and regulatory submission</a:t>
            </a:r>
          </a:p>
          <a:p>
            <a:pPr marL="285750" indent="-285750">
              <a:buFont typeface="Arial" panose="020B0604020202020204" pitchFamily="34" charset="0"/>
              <a:buChar char="•"/>
            </a:pPr>
            <a:endParaRPr lang="en-US"/>
          </a:p>
        </p:txBody>
      </p:sp>
      <p:sp>
        <p:nvSpPr>
          <p:cNvPr id="8" name="TextBox 7">
            <a:extLst>
              <a:ext uri="{FF2B5EF4-FFF2-40B4-BE49-F238E27FC236}">
                <a16:creationId xmlns:a16="http://schemas.microsoft.com/office/drawing/2014/main" id="{B15B46F4-31CF-2F02-EA30-43D45DFDD1CC}"/>
              </a:ext>
            </a:extLst>
          </p:cNvPr>
          <p:cNvSpPr txBox="1"/>
          <p:nvPr/>
        </p:nvSpPr>
        <p:spPr>
          <a:xfrm>
            <a:off x="5990983" y="1251791"/>
            <a:ext cx="4793281" cy="3600986"/>
          </a:xfrm>
          <a:prstGeom prst="rect">
            <a:avLst/>
          </a:prstGeom>
          <a:noFill/>
        </p:spPr>
        <p:txBody>
          <a:bodyPr wrap="square" rtlCol="0">
            <a:spAutoFit/>
          </a:bodyPr>
          <a:lstStyle/>
          <a:p>
            <a:endParaRPr lang="en-US"/>
          </a:p>
          <a:p>
            <a:r>
              <a:rPr lang="en-US"/>
              <a:t>Phase 2/3</a:t>
            </a:r>
          </a:p>
          <a:p>
            <a:pPr marR="0" algn="l" rtl="0">
              <a:buFont typeface="Symbol" panose="05050102010706020507" pitchFamily="18" charset="2"/>
              <a:buChar char="·"/>
            </a:pPr>
            <a:r>
              <a:rPr lang="en-US" sz="1200" b="1" i="0" u="none" strike="noStrike" baseline="0">
                <a:latin typeface="Times New Roman" panose="02020603050405020304" pitchFamily="18" charset="0"/>
              </a:rPr>
              <a:t> Concept Note Development:</a:t>
            </a:r>
            <a:endParaRPr lang="en-US" sz="1200" b="0" i="0" u="none" strike="noStrike" baseline="0">
              <a:latin typeface="Times New Roman" panose="02020603050405020304" pitchFamily="18" charset="0"/>
            </a:endParaRPr>
          </a:p>
          <a:p>
            <a:pPr marL="569913" lvl="2" indent="-171450">
              <a:buFont typeface="Courier New" panose="02070309020205020404" pitchFamily="49" charset="0"/>
              <a:buChar char="o"/>
            </a:pPr>
            <a:r>
              <a:rPr lang="en-US" sz="1200">
                <a:latin typeface="Times New Roman" panose="02020603050405020304" pitchFamily="18" charset="0"/>
              </a:rPr>
              <a:t>Review literature</a:t>
            </a:r>
          </a:p>
          <a:p>
            <a:pPr marL="569913" lvl="1" indent="-171450">
              <a:buFont typeface="Courier New" panose="02070309020205020404" pitchFamily="49" charset="0"/>
              <a:buChar char="o"/>
            </a:pPr>
            <a:r>
              <a:rPr lang="en-US" sz="1200">
                <a:latin typeface="Times New Roman" panose="02020603050405020304" pitchFamily="18" charset="0"/>
              </a:rPr>
              <a:t>Write and disseminate the concept note</a:t>
            </a:r>
          </a:p>
          <a:p>
            <a:pPr marL="569913" lvl="1" indent="-171450">
              <a:buFont typeface="Courier New" panose="02070309020205020404" pitchFamily="49" charset="0"/>
              <a:buChar char="o"/>
            </a:pPr>
            <a:r>
              <a:rPr lang="en-US" sz="1200">
                <a:latin typeface="Times New Roman" panose="02020603050405020304" pitchFamily="18" charset="0"/>
              </a:rPr>
              <a:t>Perform simulation and power analysis</a:t>
            </a:r>
          </a:p>
          <a:p>
            <a:pPr marL="569913" lvl="1" indent="-171450">
              <a:buFont typeface="Courier New" panose="02070309020205020404" pitchFamily="49" charset="0"/>
              <a:buChar char="o"/>
            </a:pPr>
            <a:r>
              <a:rPr lang="en-US" sz="1200" b="0" i="0" u="none" strike="noStrike" baseline="0">
                <a:latin typeface="Times New Roman" panose="02020603050405020304" pitchFamily="18" charset="0"/>
              </a:rPr>
              <a:t>Analyze Pro-Act Data for natural history insights</a:t>
            </a:r>
          </a:p>
          <a:p>
            <a:pPr marL="569913" lvl="1" indent="-171450">
              <a:buFont typeface="Courier New" panose="02070309020205020404" pitchFamily="49" charset="0"/>
              <a:buChar char="o"/>
            </a:pPr>
            <a:r>
              <a:rPr lang="en-US" sz="1200">
                <a:latin typeface="Times New Roman" panose="02020603050405020304" pitchFamily="18" charset="0"/>
              </a:rPr>
              <a:t>Perform necessary simulation modeling, sample size estimation</a:t>
            </a:r>
            <a:endParaRPr lang="en-US" sz="1200" b="0" i="0" u="none" strike="noStrike" baseline="0">
              <a:latin typeface="Times New Roman" panose="02020603050405020304" pitchFamily="18" charset="0"/>
            </a:endParaRPr>
          </a:p>
          <a:p>
            <a:pPr marL="0" lvl="1" indent="-171450">
              <a:buFont typeface="Symbol" panose="05050102010706020507" pitchFamily="18" charset="2"/>
              <a:buChar char="·"/>
            </a:pPr>
            <a:r>
              <a:rPr lang="en-US" sz="1200" b="1">
                <a:latin typeface="Times New Roman" panose="02020603050405020304" pitchFamily="18" charset="0"/>
              </a:rPr>
              <a:t>Protocol and SAP Drafting:</a:t>
            </a:r>
          </a:p>
          <a:p>
            <a:pPr marL="569913" lvl="2" indent="-171450">
              <a:buFont typeface="Courier New" panose="02070309020205020404" pitchFamily="49" charset="0"/>
              <a:buChar char="o"/>
            </a:pPr>
            <a:r>
              <a:rPr lang="en-US" sz="1200">
                <a:latin typeface="Times New Roman" panose="02020603050405020304" pitchFamily="18" charset="0"/>
              </a:rPr>
              <a:t>Draft protocol and SAP</a:t>
            </a:r>
          </a:p>
          <a:p>
            <a:pPr marR="0" algn="l" rtl="0">
              <a:buFont typeface="Symbol" panose="05050102010706020507" pitchFamily="18" charset="2"/>
              <a:buChar char="·"/>
            </a:pPr>
            <a:r>
              <a:rPr lang="en-US" sz="1200" b="1" i="0" u="none" strike="noStrike" baseline="0">
                <a:latin typeface="Times New Roman" panose="02020603050405020304" pitchFamily="18" charset="0"/>
              </a:rPr>
              <a:t> Collaboration:</a:t>
            </a:r>
            <a:endParaRPr lang="en-US" sz="1200" b="0" i="0" u="none" strike="noStrike" baseline="0">
              <a:latin typeface="Times New Roman" panose="02020603050405020304" pitchFamily="18" charset="0"/>
            </a:endParaRPr>
          </a:p>
          <a:p>
            <a:pPr marL="569913" lvl="2" indent="-171450">
              <a:buFont typeface="Courier New" panose="02070309020205020404" pitchFamily="49" charset="0"/>
              <a:buChar char="o"/>
            </a:pPr>
            <a:r>
              <a:rPr lang="en-US" sz="1200">
                <a:latin typeface="Times New Roman" panose="02020603050405020304" pitchFamily="18" charset="0"/>
              </a:rPr>
              <a:t>Work with statistical programmers on randomization, ADAM, SDTM, and TLFs setup</a:t>
            </a:r>
          </a:p>
          <a:p>
            <a:pPr marL="569913" lvl="1" indent="-171450">
              <a:buFont typeface="Courier New" panose="02070309020205020404" pitchFamily="49" charset="0"/>
              <a:buChar char="o"/>
            </a:pPr>
            <a:r>
              <a:rPr lang="en-US" sz="1200">
                <a:latin typeface="Times New Roman" panose="02020603050405020304" pitchFamily="18" charset="0"/>
              </a:rPr>
              <a:t>Partner with programmers or CRO for data quality monitoring</a:t>
            </a:r>
          </a:p>
          <a:p>
            <a:pPr marL="569913" lvl="1" indent="-171450">
              <a:buFont typeface="Courier New" panose="02070309020205020404" pitchFamily="49" charset="0"/>
              <a:buChar char="o"/>
            </a:pPr>
            <a:r>
              <a:rPr lang="en-US" sz="1200">
                <a:latin typeface="Times New Roman" panose="02020603050405020304" pitchFamily="18" charset="0"/>
              </a:rPr>
              <a:t>Coordinate with stat programmers for database lock and finalization of ADAM, SDTM, and TLF</a:t>
            </a:r>
          </a:p>
          <a:p>
            <a:pPr marL="569913" lvl="1" indent="-171450">
              <a:buFont typeface="Courier New" panose="02070309020205020404" pitchFamily="49" charset="0"/>
              <a:buChar char="o"/>
            </a:pPr>
            <a:r>
              <a:rPr lang="en-US" sz="1200">
                <a:latin typeface="Times New Roman" panose="02020603050405020304" pitchFamily="18" charset="0"/>
              </a:rPr>
              <a:t>Engage with study team for clinical study report and regulatory submission</a:t>
            </a:r>
          </a:p>
        </p:txBody>
      </p:sp>
    </p:spTree>
    <p:extLst>
      <p:ext uri="{BB962C8B-B14F-4D97-AF65-F5344CB8AC3E}">
        <p14:creationId xmlns:p14="http://schemas.microsoft.com/office/powerpoint/2010/main" val="2407777282"/>
      </p:ext>
    </p:extLst>
  </p:cSld>
  <p:clrMapOvr>
    <a:masterClrMapping/>
  </p:clrMapOvr>
  <p:transition spd="slow">
    <p:push dir="u"/>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0D9DF302-36A2-8A94-2E60-A836B1B5991C}"/>
              </a:ext>
            </a:extLst>
          </p:cNvPr>
          <p:cNvSpPr>
            <a:spLocks noGrp="1"/>
          </p:cNvSpPr>
          <p:nvPr>
            <p:ph type="body" sz="quarter" idx="15"/>
          </p:nvPr>
        </p:nvSpPr>
        <p:spPr>
          <a:xfrm>
            <a:off x="587375" y="736567"/>
            <a:ext cx="10887892" cy="5384865"/>
          </a:xfrm>
        </p:spPr>
        <p:txBody>
          <a:bodyPr>
            <a:noAutofit/>
          </a:bodyPr>
          <a:lstStyle/>
          <a:p>
            <a:pPr algn="l">
              <a:lnSpc>
                <a:spcPct val="110000"/>
              </a:lnSpc>
              <a:spcBef>
                <a:spcPts val="600"/>
              </a:spcBef>
            </a:pPr>
            <a:r>
              <a:rPr lang="en-US" sz="1500" b="1" i="0" dirty="0">
                <a:solidFill>
                  <a:srgbClr val="616161"/>
                </a:solidFill>
                <a:effectLst/>
                <a:latin typeface="+mj-lt"/>
              </a:rPr>
              <a:t>Population</a:t>
            </a:r>
            <a:endParaRPr lang="en-US" sz="1500" b="0" i="0" dirty="0">
              <a:solidFill>
                <a:srgbClr val="616161"/>
              </a:solidFill>
              <a:effectLst/>
              <a:latin typeface="+mj-lt"/>
            </a:endParaRPr>
          </a:p>
          <a:p>
            <a:pPr marL="742818" lvl="1" indent="-285750">
              <a:buFont typeface="Arial" panose="020B0604020202020204" pitchFamily="34" charset="0"/>
              <a:buChar char="•"/>
            </a:pPr>
            <a:r>
              <a:rPr lang="en-US" sz="1500" b="0" i="0" dirty="0">
                <a:solidFill>
                  <a:srgbClr val="616161"/>
                </a:solidFill>
                <a:effectLst/>
                <a:latin typeface="+mj-lt"/>
              </a:rPr>
              <a:t>Adults with amyotrophic lateral sclerosis (ALS) due to SOD1 mutations.</a:t>
            </a:r>
          </a:p>
          <a:p>
            <a:pPr algn="l">
              <a:lnSpc>
                <a:spcPct val="110000"/>
              </a:lnSpc>
              <a:spcBef>
                <a:spcPts val="600"/>
              </a:spcBef>
            </a:pPr>
            <a:r>
              <a:rPr lang="en-US" sz="1500" b="1" i="0" dirty="0">
                <a:solidFill>
                  <a:srgbClr val="616161"/>
                </a:solidFill>
                <a:effectLst/>
                <a:latin typeface="+mj-lt"/>
              </a:rPr>
              <a:t>Study Design</a:t>
            </a:r>
            <a:endParaRPr lang="en-US" sz="1500" b="0" i="0" dirty="0">
              <a:solidFill>
                <a:srgbClr val="616161"/>
              </a:solidFill>
              <a:effectLst/>
              <a:latin typeface="+mj-lt"/>
            </a:endParaRPr>
          </a:p>
          <a:p>
            <a:pPr marL="742818" lvl="1" indent="-285750">
              <a:buFont typeface="Arial" panose="020B0604020202020204" pitchFamily="34" charset="0"/>
              <a:buChar char="•"/>
            </a:pPr>
            <a:r>
              <a:rPr lang="en-US" sz="1500" b="0" i="0" dirty="0">
                <a:solidFill>
                  <a:srgbClr val="616161"/>
                </a:solidFill>
                <a:effectLst/>
                <a:latin typeface="+mj-lt"/>
              </a:rPr>
              <a:t>Phase 1-2, randomized, double-blind, placebo-controlled, SAD dose finding study. Conducted at 18 sites in the US, Canada, and four Western European countries.</a:t>
            </a:r>
          </a:p>
          <a:p>
            <a:pPr algn="l">
              <a:lnSpc>
                <a:spcPct val="110000"/>
              </a:lnSpc>
              <a:spcBef>
                <a:spcPts val="600"/>
              </a:spcBef>
            </a:pPr>
            <a:r>
              <a:rPr lang="en-US" sz="1500" b="1" i="0" dirty="0">
                <a:solidFill>
                  <a:srgbClr val="616161"/>
                </a:solidFill>
                <a:effectLst/>
                <a:latin typeface="+mj-lt"/>
              </a:rPr>
              <a:t>Endpoint</a:t>
            </a:r>
            <a:endParaRPr lang="en-US" sz="1500" b="0" i="0" dirty="0">
              <a:solidFill>
                <a:srgbClr val="616161"/>
              </a:solidFill>
              <a:effectLst/>
              <a:latin typeface="+mj-lt"/>
            </a:endParaRPr>
          </a:p>
          <a:p>
            <a:pPr marL="742818" lvl="1" indent="-285750">
              <a:buFont typeface="Arial" panose="020B0604020202020204" pitchFamily="34" charset="0"/>
              <a:buChar char="•"/>
            </a:pPr>
            <a:r>
              <a:rPr lang="en-US" sz="1500" b="0" i="0" dirty="0">
                <a:solidFill>
                  <a:srgbClr val="616161"/>
                </a:solidFill>
                <a:effectLst/>
                <a:latin typeface="+mj-lt"/>
              </a:rPr>
              <a:t>Primary: Safety and pharmacokinetics.</a:t>
            </a:r>
          </a:p>
          <a:p>
            <a:pPr marL="742818" lvl="1" indent="-285750">
              <a:buFont typeface="Arial" panose="020B0604020202020204" pitchFamily="34" charset="0"/>
              <a:buChar char="•"/>
            </a:pPr>
            <a:r>
              <a:rPr lang="en-US" sz="1500" b="0" i="0" dirty="0">
                <a:solidFill>
                  <a:srgbClr val="616161"/>
                </a:solidFill>
                <a:effectLst/>
                <a:latin typeface="+mj-lt"/>
              </a:rPr>
              <a:t>Secondary: Change from baseline in cerebrospinal fluid (CSF) SOD1 concentration at day 85.</a:t>
            </a:r>
          </a:p>
          <a:p>
            <a:pPr marL="742818" lvl="1" indent="-285750">
              <a:buFont typeface="Arial" panose="020B0604020202020204" pitchFamily="34" charset="0"/>
              <a:buChar char="•"/>
            </a:pPr>
            <a:r>
              <a:rPr lang="en-US" sz="1500" b="0" i="0" dirty="0">
                <a:solidFill>
                  <a:srgbClr val="616161"/>
                </a:solidFill>
                <a:effectLst/>
                <a:latin typeface="+mj-lt"/>
              </a:rPr>
              <a:t>Exploratory: Change from baseline in  ALSFTS-R score, Clinical function, respiratory function, and muscle strength.</a:t>
            </a:r>
          </a:p>
          <a:p>
            <a:pPr algn="l">
              <a:lnSpc>
                <a:spcPct val="110000"/>
              </a:lnSpc>
              <a:spcBef>
                <a:spcPts val="600"/>
              </a:spcBef>
            </a:pPr>
            <a:r>
              <a:rPr lang="en-US" sz="1500" b="1" i="0" dirty="0">
                <a:solidFill>
                  <a:srgbClr val="616161"/>
                </a:solidFill>
                <a:effectLst/>
                <a:latin typeface="+mj-lt"/>
              </a:rPr>
              <a:t>Sample Size Estimation</a:t>
            </a:r>
            <a:endParaRPr lang="en-US" sz="1500" b="0" i="0" dirty="0">
              <a:solidFill>
                <a:srgbClr val="616161"/>
              </a:solidFill>
              <a:effectLst/>
              <a:latin typeface="+mj-lt"/>
            </a:endParaRPr>
          </a:p>
          <a:p>
            <a:pPr marL="742818" lvl="1" indent="-285750">
              <a:buFont typeface="Arial" panose="020B0604020202020204" pitchFamily="34" charset="0"/>
              <a:buChar char="•"/>
            </a:pPr>
            <a:r>
              <a:rPr lang="en-US" sz="1500" b="0" i="0" dirty="0">
                <a:solidFill>
                  <a:srgbClr val="616161"/>
                </a:solidFill>
                <a:effectLst/>
                <a:latin typeface="+mj-lt"/>
              </a:rPr>
              <a:t>12 participants per dose cohort (9 </a:t>
            </a:r>
            <a:r>
              <a:rPr lang="en-US" sz="1500" b="0" i="0" dirty="0" err="1">
                <a:solidFill>
                  <a:srgbClr val="616161"/>
                </a:solidFill>
                <a:effectLst/>
                <a:latin typeface="+mj-lt"/>
              </a:rPr>
              <a:t>tofersen</a:t>
            </a:r>
            <a:r>
              <a:rPr lang="en-US" sz="1500" b="0" i="0" dirty="0">
                <a:solidFill>
                  <a:srgbClr val="616161"/>
                </a:solidFill>
                <a:effectLst/>
                <a:latin typeface="+mj-lt"/>
              </a:rPr>
              <a:t>, 3 placebo), 48 in total </a:t>
            </a:r>
            <a:r>
              <a:rPr lang="en-US" sz="1500" b="0" i="0">
                <a:solidFill>
                  <a:srgbClr val="616161"/>
                </a:solidFill>
                <a:effectLst/>
                <a:latin typeface="+mj-lt"/>
              </a:rPr>
              <a:t>for 80-99% </a:t>
            </a:r>
            <a:r>
              <a:rPr lang="en-US" sz="1500" b="0" i="0" dirty="0">
                <a:solidFill>
                  <a:srgbClr val="616161"/>
                </a:solidFill>
                <a:effectLst/>
                <a:latin typeface="+mj-lt"/>
              </a:rPr>
              <a:t>power to detect differences </a:t>
            </a:r>
          </a:p>
          <a:p>
            <a:pPr marL="742818" lvl="1" indent="-285750">
              <a:buFont typeface="Arial" panose="020B0604020202020204" pitchFamily="34" charset="0"/>
              <a:buChar char="•"/>
            </a:pPr>
            <a:r>
              <a:rPr lang="en-US" sz="1500" b="0" i="0" dirty="0">
                <a:solidFill>
                  <a:srgbClr val="616161"/>
                </a:solidFill>
                <a:effectLst/>
                <a:latin typeface="+mj-lt"/>
              </a:rPr>
              <a:t>Assumptions: </a:t>
            </a:r>
            <a:r>
              <a:rPr lang="en-US" sz="1500" b="0" i="0">
                <a:solidFill>
                  <a:srgbClr val="616161"/>
                </a:solidFill>
                <a:effectLst/>
                <a:latin typeface="+mj-lt"/>
              </a:rPr>
              <a:t>A 25% </a:t>
            </a:r>
            <a:r>
              <a:rPr lang="en-US" sz="1500" b="0" i="0" dirty="0">
                <a:solidFill>
                  <a:srgbClr val="616161"/>
                </a:solidFill>
                <a:effectLst/>
                <a:latin typeface="+mj-lt"/>
              </a:rPr>
              <a:t>reduction in the CSF SOD1 protein concentration with a pooled standard deviation of 0.11 (natural log)</a:t>
            </a:r>
          </a:p>
          <a:p>
            <a:pPr algn="l">
              <a:lnSpc>
                <a:spcPct val="110000"/>
              </a:lnSpc>
              <a:spcBef>
                <a:spcPts val="600"/>
              </a:spcBef>
            </a:pPr>
            <a:r>
              <a:rPr lang="en-US" sz="1500" b="1" i="0" dirty="0">
                <a:solidFill>
                  <a:srgbClr val="616161"/>
                </a:solidFill>
                <a:effectLst/>
                <a:latin typeface="+mj-lt"/>
              </a:rPr>
              <a:t>Duration</a:t>
            </a:r>
            <a:endParaRPr lang="en-US" sz="1500" b="0" i="0" dirty="0">
              <a:solidFill>
                <a:srgbClr val="616161"/>
              </a:solidFill>
              <a:effectLst/>
              <a:latin typeface="+mj-lt"/>
            </a:endParaRPr>
          </a:p>
          <a:p>
            <a:pPr marL="742818" lvl="1" indent="-285750">
              <a:buFont typeface="Arial" panose="020B0604020202020204" pitchFamily="34" charset="0"/>
              <a:buChar char="•"/>
            </a:pPr>
            <a:r>
              <a:rPr lang="en-US" sz="1500" b="0" i="0" dirty="0">
                <a:solidFill>
                  <a:srgbClr val="616161"/>
                </a:solidFill>
                <a:effectLst/>
                <a:latin typeface="+mj-lt"/>
              </a:rPr>
              <a:t>Up to 31 weeks: 7-week screening, 12-week intervention, 12-week follow-up.</a:t>
            </a:r>
          </a:p>
          <a:p>
            <a:pPr algn="l">
              <a:lnSpc>
                <a:spcPct val="110000"/>
              </a:lnSpc>
              <a:spcBef>
                <a:spcPts val="600"/>
              </a:spcBef>
            </a:pPr>
            <a:r>
              <a:rPr lang="en-US" sz="1500" b="1" i="0" dirty="0">
                <a:solidFill>
                  <a:srgbClr val="616161"/>
                </a:solidFill>
                <a:effectLst/>
                <a:latin typeface="+mj-lt"/>
              </a:rPr>
              <a:t>Key Estimates</a:t>
            </a:r>
            <a:endParaRPr lang="en-US" sz="1500" b="0" i="0" dirty="0">
              <a:solidFill>
                <a:srgbClr val="616161"/>
              </a:solidFill>
              <a:effectLst/>
              <a:latin typeface="+mj-lt"/>
            </a:endParaRPr>
          </a:p>
          <a:p>
            <a:pPr algn="l"/>
            <a:r>
              <a:rPr lang="en-US" sz="1500" b="0" i="0" dirty="0">
                <a:solidFill>
                  <a:srgbClr val="616161"/>
                </a:solidFill>
                <a:effectLst/>
                <a:latin typeface="+mj-lt"/>
              </a:rPr>
              <a:t>Difference in CSF SOD1 concentration change at day 85:</a:t>
            </a:r>
          </a:p>
          <a:p>
            <a:pPr marL="742950" lvl="1" indent="-285750" algn="l">
              <a:buFont typeface="Arial" panose="020B0604020202020204" pitchFamily="34" charset="0"/>
              <a:buChar char="•"/>
            </a:pPr>
            <a:r>
              <a:rPr lang="en-US" sz="1500" b="0" i="0" dirty="0">
                <a:solidFill>
                  <a:srgbClr val="616161"/>
                </a:solidFill>
                <a:effectLst/>
                <a:latin typeface="+mj-lt"/>
              </a:rPr>
              <a:t>100 mg: -33 percentage points </a:t>
            </a:r>
            <a:r>
              <a:rPr lang="en-US" sz="1500" b="0" i="0">
                <a:solidFill>
                  <a:srgbClr val="616161"/>
                </a:solidFill>
                <a:effectLst/>
                <a:latin typeface="+mj-lt"/>
              </a:rPr>
              <a:t>(95% </a:t>
            </a:r>
            <a:r>
              <a:rPr lang="en-US" sz="1500" b="0" i="0" dirty="0">
                <a:solidFill>
                  <a:srgbClr val="616161"/>
                </a:solidFill>
                <a:effectLst/>
                <a:latin typeface="+mj-lt"/>
              </a:rPr>
              <a:t>CI, -47 to -16)</a:t>
            </a:r>
          </a:p>
          <a:p>
            <a:pPr marL="742950" lvl="1" indent="-285750" algn="l">
              <a:buFont typeface="Arial" panose="020B0604020202020204" pitchFamily="34" charset="0"/>
              <a:buChar char="•"/>
            </a:pPr>
            <a:r>
              <a:rPr lang="en-US" sz="1500" dirty="0">
                <a:solidFill>
                  <a:srgbClr val="616161"/>
                </a:solidFill>
                <a:latin typeface="+mj-lt"/>
              </a:rPr>
              <a:t>The study observed that concentrations of neurofilament light chains decreased in participants who received 100 mg of </a:t>
            </a:r>
            <a:r>
              <a:rPr lang="en-US" sz="1500" dirty="0" err="1">
                <a:solidFill>
                  <a:srgbClr val="616161"/>
                </a:solidFill>
                <a:latin typeface="+mj-lt"/>
              </a:rPr>
              <a:t>tofersen</a:t>
            </a:r>
            <a:r>
              <a:rPr lang="en-US" sz="1500" dirty="0">
                <a:solidFill>
                  <a:srgbClr val="616161"/>
                </a:solidFill>
                <a:latin typeface="+mj-lt"/>
              </a:rPr>
              <a:t>, while ALSFRS-R scores showed a potential slowing in decline, suggesting a possible relationship of </a:t>
            </a:r>
            <a:r>
              <a:rPr lang="en-US" sz="1500" dirty="0" err="1">
                <a:solidFill>
                  <a:srgbClr val="616161"/>
                </a:solidFill>
                <a:latin typeface="+mj-lt"/>
              </a:rPr>
              <a:t>NfL</a:t>
            </a:r>
            <a:r>
              <a:rPr lang="en-US" sz="1500" dirty="0">
                <a:solidFill>
                  <a:srgbClr val="616161"/>
                </a:solidFill>
                <a:latin typeface="+mj-lt"/>
              </a:rPr>
              <a:t> and ALSFRS-R</a:t>
            </a:r>
          </a:p>
          <a:p>
            <a:endParaRPr lang="en-US" sz="1500" dirty="0">
              <a:latin typeface="+mj-lt"/>
            </a:endParaRPr>
          </a:p>
        </p:txBody>
      </p:sp>
      <p:sp>
        <p:nvSpPr>
          <p:cNvPr id="3" name="Footer Placeholder 2">
            <a:extLst>
              <a:ext uri="{FF2B5EF4-FFF2-40B4-BE49-F238E27FC236}">
                <a16:creationId xmlns:a16="http://schemas.microsoft.com/office/drawing/2014/main" id="{3D8F075F-3292-8B69-C390-5531DB6D94B7}"/>
              </a:ext>
            </a:extLst>
          </p:cNvPr>
          <p:cNvSpPr>
            <a:spLocks noGrp="1"/>
          </p:cNvSpPr>
          <p:nvPr>
            <p:ph type="ftr" sz="quarter" idx="3"/>
          </p:nvPr>
        </p:nvSpPr>
        <p:spPr/>
        <p:txBody>
          <a:bodyPr/>
          <a:lstStyle/>
          <a:p>
            <a:r>
              <a:rPr lang="en-JP"/>
              <a:t> </a:t>
            </a:r>
          </a:p>
        </p:txBody>
      </p:sp>
      <p:sp>
        <p:nvSpPr>
          <p:cNvPr id="4" name="Title 3">
            <a:extLst>
              <a:ext uri="{FF2B5EF4-FFF2-40B4-BE49-F238E27FC236}">
                <a16:creationId xmlns:a16="http://schemas.microsoft.com/office/drawing/2014/main" id="{BCB34139-D3AE-3ACA-C2C4-7B739D855B0D}"/>
              </a:ext>
            </a:extLst>
          </p:cNvPr>
          <p:cNvSpPr>
            <a:spLocks noGrp="1"/>
          </p:cNvSpPr>
          <p:nvPr>
            <p:ph type="title"/>
          </p:nvPr>
        </p:nvSpPr>
        <p:spPr/>
        <p:txBody>
          <a:bodyPr>
            <a:normAutofit fontScale="90000"/>
          </a:bodyPr>
          <a:lstStyle/>
          <a:p>
            <a:r>
              <a:rPr lang="en-US"/>
              <a:t>Study Overview, </a:t>
            </a:r>
            <a:r>
              <a:rPr lang="en-US" err="1"/>
              <a:t>Tofersen</a:t>
            </a:r>
            <a:r>
              <a:rPr lang="en-US"/>
              <a:t> Phase 1/2</a:t>
            </a:r>
            <a:br>
              <a:rPr lang="en-US"/>
            </a:br>
            <a:endParaRPr lang="en-US"/>
          </a:p>
        </p:txBody>
      </p:sp>
      <p:sp>
        <p:nvSpPr>
          <p:cNvPr id="5" name="Slide Number Placeholder 4">
            <a:extLst>
              <a:ext uri="{FF2B5EF4-FFF2-40B4-BE49-F238E27FC236}">
                <a16:creationId xmlns:a16="http://schemas.microsoft.com/office/drawing/2014/main" id="{31174BB5-06D4-8B0D-C43C-2D10B5193BF4}"/>
              </a:ext>
            </a:extLst>
          </p:cNvPr>
          <p:cNvSpPr>
            <a:spLocks noGrp="1"/>
          </p:cNvSpPr>
          <p:nvPr>
            <p:ph type="sldNum" sz="quarter" idx="4"/>
          </p:nvPr>
        </p:nvSpPr>
        <p:spPr/>
        <p:txBody>
          <a:bodyPr/>
          <a:lstStyle/>
          <a:p>
            <a:pPr defTabSz="1218810"/>
            <a:fld id="{E9B57936-92EF-4126-AE48-1D9D36D15E98}" type="slidenum">
              <a:rPr lang="ja-JP" altLang="en-US" smtClean="0"/>
              <a:pPr defTabSz="1218810"/>
              <a:t>22</a:t>
            </a:fld>
            <a:endParaRPr lang="ja-JP" altLang="en-US"/>
          </a:p>
        </p:txBody>
      </p:sp>
      <p:sp>
        <p:nvSpPr>
          <p:cNvPr id="6" name="Text Placeholder 5">
            <a:extLst>
              <a:ext uri="{FF2B5EF4-FFF2-40B4-BE49-F238E27FC236}">
                <a16:creationId xmlns:a16="http://schemas.microsoft.com/office/drawing/2014/main" id="{61499A3C-77DB-EC91-A2EE-38C9F4101BBE}"/>
              </a:ext>
            </a:extLst>
          </p:cNvPr>
          <p:cNvSpPr>
            <a:spLocks noGrp="1"/>
          </p:cNvSpPr>
          <p:nvPr>
            <p:ph type="body" sz="quarter" idx="16"/>
          </p:nvPr>
        </p:nvSpPr>
        <p:spPr/>
        <p:txBody>
          <a:bodyPr/>
          <a:lstStyle/>
          <a:p>
            <a:endParaRPr lang="en-US"/>
          </a:p>
        </p:txBody>
      </p:sp>
    </p:spTree>
    <p:extLst>
      <p:ext uri="{BB962C8B-B14F-4D97-AF65-F5344CB8AC3E}">
        <p14:creationId xmlns:p14="http://schemas.microsoft.com/office/powerpoint/2010/main" val="2165791290"/>
      </p:ext>
    </p:extLst>
  </p:cSld>
  <p:clrMapOvr>
    <a:masterClrMapping/>
  </p:clrMapOvr>
  <p:transition spd="slow">
    <p:push dir="u"/>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1BD4749-9D6E-E614-2F27-C4496A273962}"/>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9E05C26C-514B-0C46-EFF1-7C55BB24436F}"/>
              </a:ext>
            </a:extLst>
          </p:cNvPr>
          <p:cNvSpPr>
            <a:spLocks noGrp="1"/>
          </p:cNvSpPr>
          <p:nvPr>
            <p:ph type="body" sz="quarter" idx="15"/>
          </p:nvPr>
        </p:nvSpPr>
        <p:spPr/>
        <p:txBody>
          <a:bodyPr>
            <a:normAutofit/>
          </a:bodyPr>
          <a:lstStyle/>
          <a:p>
            <a:r>
              <a:rPr lang="en-US" dirty="0">
                <a:solidFill>
                  <a:srgbClr val="000000"/>
                </a:solidFill>
              </a:rPr>
              <a:t>The baseline neurofilament concentrations were at least 3.5 times as high in the fast-progression subgroup as in the other subgroup. The concentrations of phosphorylated neurofilament heavy chains and neurofilament light chains in plasma and CSF were largely unchanged during the intervention period among the 12 participants in the placebo group at day 85, whereas among the 10 participants who received 100 mg of </a:t>
            </a:r>
            <a:r>
              <a:rPr lang="en-US" dirty="0" err="1">
                <a:solidFill>
                  <a:srgbClr val="000000"/>
                </a:solidFill>
              </a:rPr>
              <a:t>tofersen</a:t>
            </a:r>
            <a:r>
              <a:rPr lang="en-US" dirty="0">
                <a:solidFill>
                  <a:srgbClr val="000000"/>
                </a:solidFill>
              </a:rPr>
              <a:t>, the concentrations decreased from baseline to  day 85. Changes in the  plasma and CSF concentrations of phosphorylated neurofilament heavy chains and neurofilament light chains from day 85 to day 169 are  shown in Figures S13 and S14.</a:t>
            </a:r>
          </a:p>
          <a:p>
            <a:endParaRPr lang="en-US" dirty="0"/>
          </a:p>
          <a:p>
            <a:endParaRPr lang="en-US" dirty="0"/>
          </a:p>
        </p:txBody>
      </p:sp>
      <p:sp>
        <p:nvSpPr>
          <p:cNvPr id="3" name="Footer Placeholder 2">
            <a:extLst>
              <a:ext uri="{FF2B5EF4-FFF2-40B4-BE49-F238E27FC236}">
                <a16:creationId xmlns:a16="http://schemas.microsoft.com/office/drawing/2014/main" id="{46B85F4F-B7D0-A2A5-5AC7-F6ED89D026C8}"/>
              </a:ext>
            </a:extLst>
          </p:cNvPr>
          <p:cNvSpPr>
            <a:spLocks noGrp="1"/>
          </p:cNvSpPr>
          <p:nvPr>
            <p:ph type="ftr" sz="quarter" idx="3"/>
          </p:nvPr>
        </p:nvSpPr>
        <p:spPr/>
        <p:txBody>
          <a:bodyPr/>
          <a:lstStyle/>
          <a:p>
            <a:r>
              <a:rPr lang="en-JP"/>
              <a:t> </a:t>
            </a:r>
          </a:p>
        </p:txBody>
      </p:sp>
      <p:sp>
        <p:nvSpPr>
          <p:cNvPr id="4" name="Title 3">
            <a:extLst>
              <a:ext uri="{FF2B5EF4-FFF2-40B4-BE49-F238E27FC236}">
                <a16:creationId xmlns:a16="http://schemas.microsoft.com/office/drawing/2014/main" id="{906E05B1-ADD3-4911-B22B-36833B285F76}"/>
              </a:ext>
            </a:extLst>
          </p:cNvPr>
          <p:cNvSpPr>
            <a:spLocks noGrp="1"/>
          </p:cNvSpPr>
          <p:nvPr>
            <p:ph type="title"/>
          </p:nvPr>
        </p:nvSpPr>
        <p:spPr/>
        <p:txBody>
          <a:bodyPr/>
          <a:lstStyle/>
          <a:p>
            <a:r>
              <a:rPr lang="en-US" err="1"/>
              <a:t>NfL</a:t>
            </a:r>
            <a:r>
              <a:rPr lang="en-US"/>
              <a:t> Endpoint in </a:t>
            </a:r>
            <a:r>
              <a:rPr lang="en-US" err="1"/>
              <a:t>Tofersen</a:t>
            </a:r>
            <a:r>
              <a:rPr lang="en-US"/>
              <a:t> Phase 1/2 Results</a:t>
            </a:r>
          </a:p>
        </p:txBody>
      </p:sp>
      <p:sp>
        <p:nvSpPr>
          <p:cNvPr id="5" name="Slide Number Placeholder 4">
            <a:extLst>
              <a:ext uri="{FF2B5EF4-FFF2-40B4-BE49-F238E27FC236}">
                <a16:creationId xmlns:a16="http://schemas.microsoft.com/office/drawing/2014/main" id="{89F72351-13F0-9222-57F7-C04EE6CD6C10}"/>
              </a:ext>
            </a:extLst>
          </p:cNvPr>
          <p:cNvSpPr>
            <a:spLocks noGrp="1"/>
          </p:cNvSpPr>
          <p:nvPr>
            <p:ph type="sldNum" sz="quarter" idx="4"/>
          </p:nvPr>
        </p:nvSpPr>
        <p:spPr/>
        <p:txBody>
          <a:bodyPr/>
          <a:lstStyle/>
          <a:p>
            <a:pPr defTabSz="1218810"/>
            <a:fld id="{E9B57936-92EF-4126-AE48-1D9D36D15E98}" type="slidenum">
              <a:rPr lang="ja-JP" altLang="en-US" smtClean="0"/>
              <a:pPr defTabSz="1218810"/>
              <a:t>23</a:t>
            </a:fld>
            <a:endParaRPr lang="ja-JP" altLang="en-US"/>
          </a:p>
        </p:txBody>
      </p:sp>
      <p:sp>
        <p:nvSpPr>
          <p:cNvPr id="6" name="Text Placeholder 5">
            <a:extLst>
              <a:ext uri="{FF2B5EF4-FFF2-40B4-BE49-F238E27FC236}">
                <a16:creationId xmlns:a16="http://schemas.microsoft.com/office/drawing/2014/main" id="{33E207F6-21AA-7903-1E63-BFFD2B90E513}"/>
              </a:ext>
            </a:extLst>
          </p:cNvPr>
          <p:cNvSpPr>
            <a:spLocks noGrp="1"/>
          </p:cNvSpPr>
          <p:nvPr>
            <p:ph type="body" sz="quarter" idx="16"/>
          </p:nvPr>
        </p:nvSpPr>
        <p:spPr/>
        <p:txBody>
          <a:bodyPr/>
          <a:lstStyle/>
          <a:p>
            <a:endParaRPr lang="en-US"/>
          </a:p>
        </p:txBody>
      </p:sp>
      <p:pic>
        <p:nvPicPr>
          <p:cNvPr id="9" name="Picture 8">
            <a:extLst>
              <a:ext uri="{FF2B5EF4-FFF2-40B4-BE49-F238E27FC236}">
                <a16:creationId xmlns:a16="http://schemas.microsoft.com/office/drawing/2014/main" id="{4A55D803-B493-83D6-D1A4-C28757D985FC}"/>
              </a:ext>
            </a:extLst>
          </p:cNvPr>
          <p:cNvPicPr>
            <a:picLocks noChangeAspect="1"/>
          </p:cNvPicPr>
          <p:nvPr/>
        </p:nvPicPr>
        <p:blipFill>
          <a:blip r:embed="rId2"/>
          <a:stretch>
            <a:fillRect/>
          </a:stretch>
        </p:blipFill>
        <p:spPr>
          <a:xfrm>
            <a:off x="300038" y="2868211"/>
            <a:ext cx="6947556" cy="2511423"/>
          </a:xfrm>
          <a:prstGeom prst="rect">
            <a:avLst/>
          </a:prstGeom>
        </p:spPr>
      </p:pic>
      <mc:AlternateContent xmlns:mc="http://schemas.openxmlformats.org/markup-compatibility/2006" xmlns:a14="http://schemas.microsoft.com/office/drawing/2010/main">
        <mc:Choice Requires="a14">
          <p:sp>
            <p:nvSpPr>
              <p:cNvPr id="11" name="TextBox 10">
                <a:extLst>
                  <a:ext uri="{FF2B5EF4-FFF2-40B4-BE49-F238E27FC236}">
                    <a16:creationId xmlns:a16="http://schemas.microsoft.com/office/drawing/2014/main" id="{D1D50319-FA36-F729-1150-8F17E90CE641}"/>
                  </a:ext>
                </a:extLst>
              </p:cNvPr>
              <p:cNvSpPr txBox="1"/>
              <p:nvPr/>
            </p:nvSpPr>
            <p:spPr>
              <a:xfrm>
                <a:off x="311149" y="5425514"/>
                <a:ext cx="11569699" cy="923330"/>
              </a:xfrm>
              <a:prstGeom prst="rect">
                <a:avLst/>
              </a:prstGeom>
              <a:noFill/>
            </p:spPr>
            <p:txBody>
              <a:bodyPr wrap="square">
                <a:spAutoFit/>
              </a:bodyPr>
              <a:lstStyle/>
              <a:p>
                <a:pPr algn="l">
                  <a:buFont typeface="Arial" panose="020B0604020202020204" pitchFamily="34" charset="0"/>
                  <a:buChar char="•"/>
                </a:pPr>
                <a:r>
                  <a:rPr lang="en-US" b="0" i="0">
                    <a:solidFill>
                      <a:srgbClr val="242424"/>
                    </a:solidFill>
                    <a:effectLst/>
                    <a:latin typeface="Segoe UI" panose="020B0502040204020203" pitchFamily="34" charset="0"/>
                  </a:rPr>
                  <a:t> Fast-progression subgroup characteristics:</a:t>
                </a:r>
              </a:p>
              <a:p>
                <a:pPr marL="742950" lvl="1" indent="-285750" algn="l">
                  <a:buFont typeface="Arial" panose="020B0604020202020204" pitchFamily="34" charset="0"/>
                  <a:buChar char="•"/>
                </a:pPr>
                <a14:m>
                  <m:oMath xmlns:m="http://schemas.openxmlformats.org/officeDocument/2006/math">
                    <m:r>
                      <a:rPr lang="en-US" b="0" i="1" dirty="0" smtClean="0">
                        <a:solidFill>
                          <a:srgbClr val="242424"/>
                        </a:solidFill>
                        <a:effectLst/>
                        <a:latin typeface="Cambria Math" panose="02040503050406030204" pitchFamily="18" charset="0"/>
                      </a:rPr>
                      <m:t>𝑆𝑂</m:t>
                    </m:r>
                    <m:sSub>
                      <m:sSubPr>
                        <m:ctrlPr>
                          <a:rPr lang="en-US" b="0" i="1" dirty="0" smtClean="0">
                            <a:solidFill>
                              <a:srgbClr val="242424"/>
                            </a:solidFill>
                            <a:effectLst/>
                            <a:latin typeface="Cambria Math" panose="02040503050406030204" pitchFamily="18" charset="0"/>
                          </a:rPr>
                        </m:ctrlPr>
                      </m:sSubPr>
                      <m:e>
                        <m:r>
                          <a:rPr lang="en-US" b="0" i="1" dirty="0" smtClean="0">
                            <a:solidFill>
                              <a:srgbClr val="242424"/>
                            </a:solidFill>
                            <a:effectLst/>
                            <a:latin typeface="Cambria Math" panose="02040503050406030204" pitchFamily="18" charset="0"/>
                          </a:rPr>
                          <m:t>𝐷</m:t>
                        </m:r>
                      </m:e>
                      <m:sub>
                        <m:r>
                          <a:rPr lang="en-US" b="0" i="1" dirty="0" smtClean="0">
                            <a:solidFill>
                              <a:srgbClr val="242424"/>
                            </a:solidFill>
                            <a:effectLst/>
                            <a:latin typeface="Cambria Math" panose="02040503050406030204" pitchFamily="18" charset="0"/>
                          </a:rPr>
                          <m:t>1</m:t>
                        </m:r>
                      </m:sub>
                    </m:sSub>
                  </m:oMath>
                </a14:m>
                <a:r>
                  <a:rPr lang="en-US" b="0" i="0">
                    <a:solidFill>
                      <a:srgbClr val="242424"/>
                    </a:solidFill>
                    <a:effectLst/>
                    <a:latin typeface="Segoe UI" panose="020B0502040204020203" pitchFamily="34" charset="0"/>
                  </a:rPr>
                  <a:t> mutation linked to fast-progressing disease (mean duration ≤3 years)</a:t>
                </a:r>
              </a:p>
              <a:p>
                <a:pPr marL="742950" lvl="1" indent="-285750" algn="l">
                  <a:buFont typeface="Arial" panose="020B0604020202020204" pitchFamily="34" charset="0"/>
                  <a:buChar char="•"/>
                </a:pPr>
                <a:r>
                  <a:rPr lang="en-US" b="0" i="0">
                    <a:solidFill>
                      <a:srgbClr val="242424"/>
                    </a:solidFill>
                    <a:effectLst/>
                    <a:latin typeface="Segoe UI" panose="020B0502040204020203" pitchFamily="34" charset="0"/>
                  </a:rPr>
                  <a:t>Pre-randomization decrease in ALSFRS-R score of ≥0.2 points per month</a:t>
                </a:r>
              </a:p>
            </p:txBody>
          </p:sp>
        </mc:Choice>
        <mc:Fallback xmlns="">
          <p:sp>
            <p:nvSpPr>
              <p:cNvPr id="11" name="TextBox 10">
                <a:extLst>
                  <a:ext uri="{FF2B5EF4-FFF2-40B4-BE49-F238E27FC236}">
                    <a16:creationId xmlns:a16="http://schemas.microsoft.com/office/drawing/2014/main" id="{D1D50319-FA36-F729-1150-8F17E90CE641}"/>
                  </a:ext>
                </a:extLst>
              </p:cNvPr>
              <p:cNvSpPr txBox="1">
                <a:spLocks noRot="1" noChangeAspect="1" noMove="1" noResize="1" noEditPoints="1" noAdjustHandles="1" noChangeArrowheads="1" noChangeShapeType="1" noTextEdit="1"/>
              </p:cNvSpPr>
              <p:nvPr/>
            </p:nvSpPr>
            <p:spPr>
              <a:xfrm>
                <a:off x="311149" y="5425514"/>
                <a:ext cx="11569699" cy="923330"/>
              </a:xfrm>
              <a:prstGeom prst="rect">
                <a:avLst/>
              </a:prstGeom>
              <a:blipFill>
                <a:blip r:embed="rId3"/>
                <a:stretch>
                  <a:fillRect l="-316" t="-2649" b="-10596"/>
                </a:stretch>
              </a:blipFill>
            </p:spPr>
            <p:txBody>
              <a:bodyPr/>
              <a:lstStyle/>
              <a:p>
                <a:r>
                  <a:rPr lang="en-US">
                    <a:noFill/>
                  </a:rPr>
                  <a:t> </a:t>
                </a:r>
              </a:p>
            </p:txBody>
          </p:sp>
        </mc:Fallback>
      </mc:AlternateContent>
      <p:pic>
        <p:nvPicPr>
          <p:cNvPr id="13" name="Picture 12">
            <a:extLst>
              <a:ext uri="{FF2B5EF4-FFF2-40B4-BE49-F238E27FC236}">
                <a16:creationId xmlns:a16="http://schemas.microsoft.com/office/drawing/2014/main" id="{5D48667D-269A-9512-FAF9-7AE5DBF0D7A6}"/>
              </a:ext>
            </a:extLst>
          </p:cNvPr>
          <p:cNvPicPr>
            <a:picLocks noChangeAspect="1"/>
          </p:cNvPicPr>
          <p:nvPr/>
        </p:nvPicPr>
        <p:blipFill>
          <a:blip r:embed="rId4"/>
          <a:stretch>
            <a:fillRect/>
          </a:stretch>
        </p:blipFill>
        <p:spPr>
          <a:xfrm>
            <a:off x="7154945" y="3086943"/>
            <a:ext cx="4229278" cy="2083592"/>
          </a:xfrm>
          <a:prstGeom prst="rect">
            <a:avLst/>
          </a:prstGeom>
        </p:spPr>
      </p:pic>
    </p:spTree>
    <p:extLst>
      <p:ext uri="{BB962C8B-B14F-4D97-AF65-F5344CB8AC3E}">
        <p14:creationId xmlns:p14="http://schemas.microsoft.com/office/powerpoint/2010/main" val="1691793807"/>
      </p:ext>
    </p:extLst>
  </p:cSld>
  <p:clrMapOvr>
    <a:masterClrMapping/>
  </p:clrMapOvr>
  <p:transition spd="slow">
    <p:push dir="u"/>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A2AD7B9-1252-9292-279D-2F7ABD0B534E}"/>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DE629E8C-C791-139E-D4A0-D96D82B85244}"/>
              </a:ext>
            </a:extLst>
          </p:cNvPr>
          <p:cNvSpPr>
            <a:spLocks noGrp="1"/>
          </p:cNvSpPr>
          <p:nvPr>
            <p:ph type="body" sz="quarter" idx="15"/>
          </p:nvPr>
        </p:nvSpPr>
        <p:spPr/>
        <p:txBody>
          <a:bodyPr>
            <a:normAutofit/>
          </a:bodyPr>
          <a:lstStyle/>
          <a:p>
            <a:pPr marR="0" algn="l" rtl="0">
              <a:spcBef>
                <a:spcPts val="600"/>
              </a:spcBef>
            </a:pPr>
            <a:r>
              <a:rPr lang="en-US" sz="2000" b="1" i="0" u="none" strike="noStrike" kern="100" baseline="0">
                <a:latin typeface="+mj-lt"/>
              </a:rPr>
              <a:t>Primary Endpoints</a:t>
            </a:r>
          </a:p>
          <a:p>
            <a:pPr marL="742818" lvl="1" indent="-285750">
              <a:lnSpc>
                <a:spcPct val="100000"/>
              </a:lnSpc>
              <a:buFont typeface="Arial" panose="020B0604020202020204" pitchFamily="34" charset="0"/>
              <a:buChar char="•"/>
            </a:pPr>
            <a:r>
              <a:rPr lang="en-US" sz="1800" b="0" i="0" u="none" strike="noStrike" kern="100" baseline="0">
                <a:latin typeface="+mj-lt"/>
              </a:rPr>
              <a:t>Incidence of Adverse Events (AE) and Serious Adverse Events (SAE)</a:t>
            </a:r>
          </a:p>
          <a:p>
            <a:pPr marL="742818" lvl="1" indent="-285750">
              <a:lnSpc>
                <a:spcPct val="100000"/>
              </a:lnSpc>
              <a:buFont typeface="Arial" panose="020B0604020202020204" pitchFamily="34" charset="0"/>
              <a:buChar char="•"/>
            </a:pPr>
            <a:r>
              <a:rPr lang="en-US" sz="1800" b="0" i="0" u="none" strike="noStrike" kern="100" baseline="0">
                <a:latin typeface="+mj-lt"/>
              </a:rPr>
              <a:t>Incidence of abnormalities in clinical labs, vital signs, physical and neurological assessments, ECGs, C-SSRS</a:t>
            </a:r>
          </a:p>
          <a:p>
            <a:pPr marR="0" algn="l" rtl="0">
              <a:spcBef>
                <a:spcPts val="600"/>
              </a:spcBef>
            </a:pPr>
            <a:r>
              <a:rPr lang="en-US" sz="2000" b="1" i="0" u="none" strike="noStrike" kern="100" baseline="0">
                <a:latin typeface="+mj-lt"/>
              </a:rPr>
              <a:t>Secondary Endpoints</a:t>
            </a:r>
          </a:p>
          <a:p>
            <a:pPr marL="742818" lvl="1" indent="-285750">
              <a:lnSpc>
                <a:spcPct val="100000"/>
              </a:lnSpc>
              <a:buFont typeface="Arial" panose="020B0604020202020204" pitchFamily="34" charset="0"/>
              <a:buChar char="•"/>
            </a:pPr>
            <a:r>
              <a:rPr lang="en-US" sz="1800" b="0" i="0" u="none" strike="noStrike" kern="100" baseline="0">
                <a:latin typeface="+mj-lt"/>
              </a:rPr>
              <a:t>PK measures, including CSF, plasma, and urine levels of UNC13A-SSO</a:t>
            </a:r>
          </a:p>
          <a:p>
            <a:pPr marL="742818" lvl="1" indent="-285750">
              <a:lnSpc>
                <a:spcPct val="100000"/>
              </a:lnSpc>
              <a:buFont typeface="Arial" panose="020B0604020202020204" pitchFamily="34" charset="0"/>
              <a:buChar char="•"/>
            </a:pPr>
            <a:r>
              <a:rPr lang="en-US" sz="1800" b="0" i="0" u="none" strike="noStrike" kern="100" baseline="0">
                <a:latin typeface="+mj-lt"/>
              </a:rPr>
              <a:t>Antidrug Antibody (ADA) incidence in serum and its impact on PK, Pharmacodynamics (PD), and safety</a:t>
            </a:r>
          </a:p>
          <a:p>
            <a:pPr marR="0" algn="l" rtl="0">
              <a:spcBef>
                <a:spcPts val="600"/>
              </a:spcBef>
            </a:pPr>
            <a:r>
              <a:rPr lang="en-US" sz="2000" b="1" i="0" u="none" strike="noStrike" kern="100" baseline="0">
                <a:latin typeface="+mj-lt"/>
              </a:rPr>
              <a:t>Exploratory Endpoints</a:t>
            </a:r>
          </a:p>
          <a:p>
            <a:pPr marR="0" algn="l" rtl="0">
              <a:spcAft>
                <a:spcPts val="0"/>
              </a:spcAft>
            </a:pPr>
            <a:r>
              <a:rPr lang="en-US" sz="2000" kern="100">
                <a:latin typeface="+mj-lt"/>
              </a:rPr>
              <a:t>Change from baseline in </a:t>
            </a:r>
            <a:endParaRPr lang="en-US" sz="2000" i="0" u="none" strike="noStrike" kern="100" baseline="0">
              <a:latin typeface="+mj-lt"/>
            </a:endParaRPr>
          </a:p>
          <a:p>
            <a:pPr marL="742818" lvl="1" indent="-285750">
              <a:lnSpc>
                <a:spcPct val="100000"/>
              </a:lnSpc>
              <a:buFont typeface="Arial" panose="020B0604020202020204" pitchFamily="34" charset="0"/>
              <a:buChar char="•"/>
            </a:pPr>
            <a:r>
              <a:rPr lang="en-US" sz="1800" b="0" i="0" u="none" strike="noStrike" kern="100" baseline="0">
                <a:latin typeface="+mj-lt"/>
              </a:rPr>
              <a:t>CSF normal UNC13A mRNA/protein or UNC13A downstream molecule</a:t>
            </a:r>
          </a:p>
          <a:p>
            <a:pPr marL="742818" lvl="1" indent="-285750">
              <a:lnSpc>
                <a:spcPct val="100000"/>
              </a:lnSpc>
              <a:buFont typeface="Arial" panose="020B0604020202020204" pitchFamily="34" charset="0"/>
              <a:buChar char="•"/>
            </a:pPr>
            <a:r>
              <a:rPr lang="en-US" sz="1800" b="1" i="0" u="none" strike="noStrike" kern="100" baseline="0">
                <a:latin typeface="+mj-lt"/>
              </a:rPr>
              <a:t>CSF and plasma neurofilament light chain (</a:t>
            </a:r>
            <a:r>
              <a:rPr lang="en-US" sz="1800" b="1" i="0" u="none" strike="noStrike" kern="100" baseline="0" err="1">
                <a:latin typeface="+mj-lt"/>
              </a:rPr>
              <a:t>NfL</a:t>
            </a:r>
            <a:r>
              <a:rPr lang="en-US" sz="1800" b="1" i="0" u="none" strike="noStrike" kern="100" baseline="0">
                <a:latin typeface="+mj-lt"/>
              </a:rPr>
              <a:t>) levels</a:t>
            </a:r>
          </a:p>
          <a:p>
            <a:pPr marL="742818" lvl="1" indent="-285750">
              <a:lnSpc>
                <a:spcPct val="100000"/>
              </a:lnSpc>
              <a:buFont typeface="Arial" panose="020B0604020202020204" pitchFamily="34" charset="0"/>
              <a:buChar char="•"/>
            </a:pPr>
            <a:r>
              <a:rPr lang="en-US" sz="1800" b="1" i="0" u="none" strike="noStrike" kern="100" baseline="0">
                <a:latin typeface="+mj-lt"/>
              </a:rPr>
              <a:t>ALSFRS-R</a:t>
            </a:r>
          </a:p>
          <a:p>
            <a:pPr marL="742818" lvl="1" indent="-285750">
              <a:lnSpc>
                <a:spcPct val="100000"/>
              </a:lnSpc>
              <a:buFont typeface="Arial" panose="020B0604020202020204" pitchFamily="34" charset="0"/>
              <a:buChar char="•"/>
            </a:pPr>
            <a:r>
              <a:rPr lang="en-US" sz="1800" b="0" i="0" u="none" strike="noStrike" kern="100" baseline="0">
                <a:latin typeface="+mj-lt"/>
              </a:rPr>
              <a:t>ALSAQ40, EQ5D5L, Clinical Global Impression (CGI), Patient Global Impression (PGI)</a:t>
            </a:r>
          </a:p>
          <a:p>
            <a:endParaRPr lang="en-US" sz="2000">
              <a:solidFill>
                <a:srgbClr val="000000"/>
              </a:solidFill>
            </a:endParaRPr>
          </a:p>
          <a:p>
            <a:r>
              <a:rPr lang="en-US" sz="2000">
                <a:solidFill>
                  <a:srgbClr val="000000"/>
                </a:solidFill>
              </a:rPr>
              <a:t>Exploratory Plasma </a:t>
            </a:r>
            <a:r>
              <a:rPr lang="en-US" sz="2000" err="1">
                <a:solidFill>
                  <a:srgbClr val="000000"/>
                </a:solidFill>
              </a:rPr>
              <a:t>NfL</a:t>
            </a:r>
            <a:r>
              <a:rPr lang="en-US" sz="2000">
                <a:solidFill>
                  <a:srgbClr val="000000"/>
                </a:solidFill>
              </a:rPr>
              <a:t> will be used for Go/No-Go evaluation and ALSFRS-R is the FDA/EMA recommended endpoint for ALS pivotal studies</a:t>
            </a:r>
          </a:p>
          <a:p>
            <a:endParaRPr lang="en-US" sz="2000" b="1">
              <a:solidFill>
                <a:srgbClr val="000000"/>
              </a:solidFill>
            </a:endParaRPr>
          </a:p>
          <a:p>
            <a:endParaRPr lang="en-US" sz="2000">
              <a:solidFill>
                <a:srgbClr val="000000"/>
              </a:solidFill>
            </a:endParaRPr>
          </a:p>
          <a:p>
            <a:endParaRPr lang="en-US" sz="2000">
              <a:solidFill>
                <a:srgbClr val="000000"/>
              </a:solidFill>
            </a:endParaRPr>
          </a:p>
          <a:p>
            <a:endParaRPr lang="en-US" sz="2000"/>
          </a:p>
        </p:txBody>
      </p:sp>
      <p:sp>
        <p:nvSpPr>
          <p:cNvPr id="3" name="Footer Placeholder 2">
            <a:extLst>
              <a:ext uri="{FF2B5EF4-FFF2-40B4-BE49-F238E27FC236}">
                <a16:creationId xmlns:a16="http://schemas.microsoft.com/office/drawing/2014/main" id="{535501F9-C688-64CD-45CD-93A120D6CA39}"/>
              </a:ext>
            </a:extLst>
          </p:cNvPr>
          <p:cNvSpPr>
            <a:spLocks noGrp="1"/>
          </p:cNvSpPr>
          <p:nvPr>
            <p:ph type="ftr" sz="quarter" idx="3"/>
          </p:nvPr>
        </p:nvSpPr>
        <p:spPr/>
        <p:txBody>
          <a:bodyPr/>
          <a:lstStyle/>
          <a:p>
            <a:r>
              <a:rPr lang="en-JP"/>
              <a:t> </a:t>
            </a:r>
          </a:p>
        </p:txBody>
      </p:sp>
      <p:sp>
        <p:nvSpPr>
          <p:cNvPr id="4" name="Title 3">
            <a:extLst>
              <a:ext uri="{FF2B5EF4-FFF2-40B4-BE49-F238E27FC236}">
                <a16:creationId xmlns:a16="http://schemas.microsoft.com/office/drawing/2014/main" id="{E36D604C-F15C-D547-74FB-A5B9A91B4797}"/>
              </a:ext>
            </a:extLst>
          </p:cNvPr>
          <p:cNvSpPr>
            <a:spLocks noGrp="1"/>
          </p:cNvSpPr>
          <p:nvPr>
            <p:ph type="title"/>
          </p:nvPr>
        </p:nvSpPr>
        <p:spPr/>
        <p:txBody>
          <a:bodyPr/>
          <a:lstStyle/>
          <a:p>
            <a:r>
              <a:rPr lang="en-US"/>
              <a:t>Endpoints UNC13A Phase 1/2</a:t>
            </a:r>
          </a:p>
        </p:txBody>
      </p:sp>
      <p:sp>
        <p:nvSpPr>
          <p:cNvPr id="5" name="Slide Number Placeholder 4">
            <a:extLst>
              <a:ext uri="{FF2B5EF4-FFF2-40B4-BE49-F238E27FC236}">
                <a16:creationId xmlns:a16="http://schemas.microsoft.com/office/drawing/2014/main" id="{1AE381AA-8FE6-171C-D983-AAB1E58031C7}"/>
              </a:ext>
            </a:extLst>
          </p:cNvPr>
          <p:cNvSpPr>
            <a:spLocks noGrp="1"/>
          </p:cNvSpPr>
          <p:nvPr>
            <p:ph type="sldNum" sz="quarter" idx="4"/>
          </p:nvPr>
        </p:nvSpPr>
        <p:spPr/>
        <p:txBody>
          <a:bodyPr/>
          <a:lstStyle/>
          <a:p>
            <a:pPr defTabSz="1218810"/>
            <a:fld id="{E9B57936-92EF-4126-AE48-1D9D36D15E98}" type="slidenum">
              <a:rPr lang="ja-JP" altLang="en-US" smtClean="0"/>
              <a:pPr defTabSz="1218810"/>
              <a:t>2</a:t>
            </a:fld>
            <a:endParaRPr lang="ja-JP" altLang="en-US"/>
          </a:p>
        </p:txBody>
      </p:sp>
      <p:sp>
        <p:nvSpPr>
          <p:cNvPr id="6" name="Text Placeholder 5">
            <a:extLst>
              <a:ext uri="{FF2B5EF4-FFF2-40B4-BE49-F238E27FC236}">
                <a16:creationId xmlns:a16="http://schemas.microsoft.com/office/drawing/2014/main" id="{045D8747-107B-D189-4B64-950A92863518}"/>
              </a:ext>
            </a:extLst>
          </p:cNvPr>
          <p:cNvSpPr>
            <a:spLocks noGrp="1"/>
          </p:cNvSpPr>
          <p:nvPr>
            <p:ph type="body" sz="quarter" idx="16"/>
          </p:nvPr>
        </p:nvSpPr>
        <p:spPr/>
        <p:txBody>
          <a:bodyPr/>
          <a:lstStyle/>
          <a:p>
            <a:endParaRPr lang="en-US"/>
          </a:p>
        </p:txBody>
      </p:sp>
    </p:spTree>
    <p:extLst>
      <p:ext uri="{BB962C8B-B14F-4D97-AF65-F5344CB8AC3E}">
        <p14:creationId xmlns:p14="http://schemas.microsoft.com/office/powerpoint/2010/main" val="2942217193"/>
      </p:ext>
    </p:extLst>
  </p:cSld>
  <p:clrMapOvr>
    <a:masterClrMapping/>
  </p:clrMapOvr>
  <p:transition spd="slow">
    <p:push dir="u"/>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2030D25-09CB-92A9-F1B1-C48A3C0E8767}"/>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995271F3-5D87-D8FE-DA0F-7FD1606F2AC6}"/>
              </a:ext>
            </a:extLst>
          </p:cNvPr>
          <p:cNvSpPr>
            <a:spLocks noGrp="1"/>
          </p:cNvSpPr>
          <p:nvPr>
            <p:ph type="body" sz="quarter" idx="15"/>
          </p:nvPr>
        </p:nvSpPr>
        <p:spPr/>
        <p:txBody>
          <a:bodyPr/>
          <a:lstStyle/>
          <a:p>
            <a:endParaRPr lang="en-US" dirty="0">
              <a:solidFill>
                <a:srgbClr val="000000"/>
              </a:solidFill>
            </a:endParaRPr>
          </a:p>
          <a:p>
            <a:endParaRPr lang="en-US" dirty="0">
              <a:solidFill>
                <a:srgbClr val="000000"/>
              </a:solidFill>
            </a:endParaRPr>
          </a:p>
          <a:p>
            <a:endParaRPr lang="en-US" dirty="0">
              <a:solidFill>
                <a:srgbClr val="000000"/>
              </a:solidFill>
            </a:endParaRPr>
          </a:p>
          <a:p>
            <a:endParaRPr lang="en-US" dirty="0"/>
          </a:p>
        </p:txBody>
      </p:sp>
      <p:sp>
        <p:nvSpPr>
          <p:cNvPr id="3" name="Footer Placeholder 2">
            <a:extLst>
              <a:ext uri="{FF2B5EF4-FFF2-40B4-BE49-F238E27FC236}">
                <a16:creationId xmlns:a16="http://schemas.microsoft.com/office/drawing/2014/main" id="{809D7F54-CA16-DC9D-2A96-7A3A4A80115F}"/>
              </a:ext>
            </a:extLst>
          </p:cNvPr>
          <p:cNvSpPr>
            <a:spLocks noGrp="1"/>
          </p:cNvSpPr>
          <p:nvPr>
            <p:ph type="ftr" sz="quarter" idx="3"/>
          </p:nvPr>
        </p:nvSpPr>
        <p:spPr/>
        <p:txBody>
          <a:bodyPr/>
          <a:lstStyle/>
          <a:p>
            <a:r>
              <a:rPr lang="en-JP"/>
              <a:t> </a:t>
            </a:r>
          </a:p>
        </p:txBody>
      </p:sp>
      <p:sp>
        <p:nvSpPr>
          <p:cNvPr id="4" name="Title 3">
            <a:extLst>
              <a:ext uri="{FF2B5EF4-FFF2-40B4-BE49-F238E27FC236}">
                <a16:creationId xmlns:a16="http://schemas.microsoft.com/office/drawing/2014/main" id="{2622647A-C779-4291-0EA1-B5E680D137E9}"/>
              </a:ext>
            </a:extLst>
          </p:cNvPr>
          <p:cNvSpPr>
            <a:spLocks noGrp="1"/>
          </p:cNvSpPr>
          <p:nvPr>
            <p:ph type="title"/>
          </p:nvPr>
        </p:nvSpPr>
        <p:spPr/>
        <p:txBody>
          <a:bodyPr>
            <a:normAutofit/>
          </a:bodyPr>
          <a:lstStyle/>
          <a:p>
            <a:r>
              <a:rPr lang="en-US"/>
              <a:t>Change </a:t>
            </a:r>
            <a:r>
              <a:rPr lang="en-US" err="1"/>
              <a:t>NfL</a:t>
            </a:r>
            <a:r>
              <a:rPr lang="en-US"/>
              <a:t> observed in </a:t>
            </a:r>
            <a:r>
              <a:rPr lang="en-US" err="1"/>
              <a:t>Tofersen</a:t>
            </a:r>
            <a:r>
              <a:rPr lang="en-US"/>
              <a:t> Studies</a:t>
            </a:r>
          </a:p>
        </p:txBody>
      </p:sp>
      <p:sp>
        <p:nvSpPr>
          <p:cNvPr id="5" name="Slide Number Placeholder 4">
            <a:extLst>
              <a:ext uri="{FF2B5EF4-FFF2-40B4-BE49-F238E27FC236}">
                <a16:creationId xmlns:a16="http://schemas.microsoft.com/office/drawing/2014/main" id="{73A7E5C8-683B-13E1-11A5-B3656AE193C6}"/>
              </a:ext>
            </a:extLst>
          </p:cNvPr>
          <p:cNvSpPr>
            <a:spLocks noGrp="1"/>
          </p:cNvSpPr>
          <p:nvPr>
            <p:ph type="sldNum" sz="quarter" idx="4"/>
          </p:nvPr>
        </p:nvSpPr>
        <p:spPr/>
        <p:txBody>
          <a:bodyPr/>
          <a:lstStyle/>
          <a:p>
            <a:pPr defTabSz="1218810"/>
            <a:fld id="{E9B57936-92EF-4126-AE48-1D9D36D15E98}" type="slidenum">
              <a:rPr lang="ja-JP" altLang="en-US" smtClean="0"/>
              <a:pPr defTabSz="1218810"/>
              <a:t>3</a:t>
            </a:fld>
            <a:endParaRPr lang="ja-JP" altLang="en-US"/>
          </a:p>
        </p:txBody>
      </p:sp>
      <p:sp>
        <p:nvSpPr>
          <p:cNvPr id="6" name="Text Placeholder 5">
            <a:extLst>
              <a:ext uri="{FF2B5EF4-FFF2-40B4-BE49-F238E27FC236}">
                <a16:creationId xmlns:a16="http://schemas.microsoft.com/office/drawing/2014/main" id="{526B71C7-9129-E6B5-499B-31B8B55F529B}"/>
              </a:ext>
            </a:extLst>
          </p:cNvPr>
          <p:cNvSpPr>
            <a:spLocks noGrp="1"/>
          </p:cNvSpPr>
          <p:nvPr>
            <p:ph type="body" sz="quarter" idx="16"/>
          </p:nvPr>
        </p:nvSpPr>
        <p:spPr/>
        <p:txBody>
          <a:bodyPr/>
          <a:lstStyle/>
          <a:p>
            <a:endParaRPr lang="en-US"/>
          </a:p>
        </p:txBody>
      </p:sp>
      <p:sp>
        <p:nvSpPr>
          <p:cNvPr id="7" name="TextBox 6">
            <a:extLst>
              <a:ext uri="{FF2B5EF4-FFF2-40B4-BE49-F238E27FC236}">
                <a16:creationId xmlns:a16="http://schemas.microsoft.com/office/drawing/2014/main" id="{3A78CF70-2D86-32A1-1DF7-276DD516345E}"/>
              </a:ext>
            </a:extLst>
          </p:cNvPr>
          <p:cNvSpPr txBox="1"/>
          <p:nvPr/>
        </p:nvSpPr>
        <p:spPr>
          <a:xfrm>
            <a:off x="692607" y="1441753"/>
            <a:ext cx="4906916" cy="4062651"/>
          </a:xfrm>
          <a:prstGeom prst="rect">
            <a:avLst/>
          </a:prstGeom>
          <a:noFill/>
        </p:spPr>
        <p:txBody>
          <a:bodyPr wrap="square" rtlCol="0">
            <a:spAutoFit/>
          </a:bodyPr>
          <a:lstStyle/>
          <a:p>
            <a:r>
              <a:rPr lang="en-US" b="1" dirty="0"/>
              <a:t>Phase 2/3 Study</a:t>
            </a:r>
            <a:endParaRPr lang="en-US" sz="1600" b="1" dirty="0"/>
          </a:p>
          <a:p>
            <a:pPr marL="342900" marR="0" indent="-342900" algn="l" rtl="0">
              <a:buFont typeface="Arial" panose="020B0604020202020204" pitchFamily="34" charset="0"/>
              <a:buChar char="•"/>
            </a:pPr>
            <a:r>
              <a:rPr lang="en-US" sz="1600" b="1" i="0" u="none" strike="noStrike" baseline="0" dirty="0"/>
              <a:t>Faster-progression subgroup:</a:t>
            </a:r>
            <a:endParaRPr lang="en-US" sz="1600" b="0" i="0" u="none" strike="noStrike" baseline="0" dirty="0"/>
          </a:p>
          <a:p>
            <a:pPr marL="800100" marR="0" lvl="1" indent="-342900" algn="l" rtl="0">
              <a:buFont typeface="Arial" panose="020B0604020202020204" pitchFamily="34" charset="0"/>
              <a:buChar char="•"/>
            </a:pPr>
            <a:r>
              <a:rPr lang="en-US" sz="1600" b="1" i="0" u="none" strike="noStrike" baseline="0" dirty="0"/>
              <a:t>Treated group:</a:t>
            </a:r>
            <a:r>
              <a:rPr lang="en-US" sz="1600" b="0" i="0" u="none" strike="noStrike" baseline="0" dirty="0"/>
              <a:t> Reduced by 60%</a:t>
            </a:r>
          </a:p>
          <a:p>
            <a:pPr marL="800100" lvl="1" indent="-342900">
              <a:buFont typeface="Arial" panose="020B0604020202020204" pitchFamily="34" charset="0"/>
              <a:buChar char="•"/>
            </a:pPr>
            <a:r>
              <a:rPr lang="en-US" sz="1600" b="1" i="0" u="none" strike="noStrike" baseline="0" dirty="0"/>
              <a:t>Placebo group:</a:t>
            </a:r>
            <a:r>
              <a:rPr lang="en-US" sz="1600" b="0" i="0" u="none" strike="noStrike" baseline="0" dirty="0"/>
              <a:t> Increased by 20%</a:t>
            </a:r>
          </a:p>
          <a:p>
            <a:pPr marL="800100" lvl="1" indent="-342900">
              <a:buFont typeface="Arial" panose="020B0604020202020204" pitchFamily="34" charset="0"/>
              <a:buChar char="•"/>
            </a:pPr>
            <a:r>
              <a:rPr lang="en-US" sz="1600" b="1" i="0" u="none" strike="noStrike" baseline="0" dirty="0"/>
              <a:t>Difference:</a:t>
            </a:r>
            <a:r>
              <a:rPr lang="en-US" sz="1600" b="0" i="0" u="none" strike="noStrike" baseline="0" dirty="0"/>
              <a:t> 80% reduction in the treated group compared to the placebo group</a:t>
            </a:r>
          </a:p>
          <a:p>
            <a:pPr marL="800100" lvl="1" indent="-342900">
              <a:buFont typeface="Arial" panose="020B0604020202020204" pitchFamily="34" charset="0"/>
              <a:buChar char="•"/>
            </a:pPr>
            <a:r>
              <a:rPr lang="en-US" sz="1600" b="1" i="0" u="none" strike="noStrike" baseline="0" dirty="0"/>
              <a:t>Adjusted geometric mean ratio to placebo:</a:t>
            </a:r>
            <a:r>
              <a:rPr lang="en-US" sz="1600" b="0" i="0" u="none" strike="noStrike" baseline="0" dirty="0"/>
              <a:t> (1-.8/1.2) = 0.33 (95% CI: 0.25, 0.45) </a:t>
            </a:r>
          </a:p>
          <a:p>
            <a:pPr lvl="1"/>
            <a:endParaRPr lang="en-US" sz="1600" b="0" i="0" u="none" strike="noStrike" baseline="0" dirty="0"/>
          </a:p>
          <a:p>
            <a:pPr marL="342900" marR="0" indent="-342900" algn="l" rtl="0">
              <a:buFont typeface="Arial" panose="020B0604020202020204" pitchFamily="34" charset="0"/>
              <a:buChar char="•"/>
            </a:pPr>
            <a:r>
              <a:rPr lang="en-US" sz="1600" b="1" i="0" u="none" strike="noStrike" baseline="0" dirty="0"/>
              <a:t>Slower-progression subgroup:</a:t>
            </a:r>
            <a:endParaRPr lang="en-US" sz="1600" b="0" i="0" u="none" strike="noStrike" baseline="0" dirty="0"/>
          </a:p>
          <a:p>
            <a:pPr marL="800100" marR="0" lvl="1" indent="-342900" algn="l" rtl="0">
              <a:buFont typeface="Arial" panose="020B0604020202020204" pitchFamily="34" charset="0"/>
              <a:buChar char="•"/>
            </a:pPr>
            <a:r>
              <a:rPr lang="en-US" sz="1600" b="1" i="0" u="none" strike="noStrike" baseline="0" dirty="0"/>
              <a:t>Treated group:</a:t>
            </a:r>
            <a:r>
              <a:rPr lang="en-US" sz="1600" b="0" i="0" u="none" strike="noStrike" baseline="0" dirty="0"/>
              <a:t> Reduced by 40%</a:t>
            </a:r>
          </a:p>
          <a:p>
            <a:pPr marL="800100" lvl="1" indent="-342900">
              <a:buFont typeface="Arial" panose="020B0604020202020204" pitchFamily="34" charset="0"/>
              <a:buChar char="•"/>
            </a:pPr>
            <a:r>
              <a:rPr lang="en-US" sz="1600" b="1" i="0" u="none" strike="noStrike" baseline="0" dirty="0"/>
              <a:t>Placebo group:</a:t>
            </a:r>
            <a:r>
              <a:rPr lang="en-US" sz="1600" b="0" i="0" u="none" strike="noStrike" baseline="0" dirty="0"/>
              <a:t> Increased by 19%</a:t>
            </a:r>
          </a:p>
          <a:p>
            <a:pPr marL="800100" lvl="1" indent="-342900">
              <a:buFont typeface="Arial" panose="020B0604020202020204" pitchFamily="34" charset="0"/>
              <a:buChar char="•"/>
            </a:pPr>
            <a:r>
              <a:rPr lang="en-US" sz="1600" b="1" i="0" u="none" strike="noStrike" baseline="0" dirty="0"/>
              <a:t>Difference:</a:t>
            </a:r>
            <a:r>
              <a:rPr lang="en-US" sz="1600" b="0" i="0" u="none" strike="noStrike" baseline="0" dirty="0"/>
              <a:t> 59% reduction in the treated group compared to the placebo group</a:t>
            </a:r>
          </a:p>
          <a:p>
            <a:pPr marL="800100" lvl="1" indent="-342900">
              <a:buFont typeface="Arial" panose="020B0604020202020204" pitchFamily="34" charset="0"/>
              <a:buChar char="•"/>
            </a:pPr>
            <a:r>
              <a:rPr lang="en-US" sz="1600" b="1" i="0" u="none" strike="noStrike" baseline="0" dirty="0"/>
              <a:t>Adjusted geometric mean ratio to placebo:</a:t>
            </a:r>
            <a:r>
              <a:rPr lang="en-US" sz="1600" b="0" i="0" u="none" strike="noStrike" baseline="0" dirty="0"/>
              <a:t> (1-.0.59/1.19) = 0.52 (95% CI: 0.43, 0.63)</a:t>
            </a:r>
            <a:endParaRPr lang="en-US" sz="1600" dirty="0"/>
          </a:p>
        </p:txBody>
      </p:sp>
      <p:graphicFrame>
        <p:nvGraphicFramePr>
          <p:cNvPr id="8" name="Table 7">
            <a:extLst>
              <a:ext uri="{FF2B5EF4-FFF2-40B4-BE49-F238E27FC236}">
                <a16:creationId xmlns:a16="http://schemas.microsoft.com/office/drawing/2014/main" id="{B1768FA6-77C8-E801-3C46-328635E2D800}"/>
              </a:ext>
            </a:extLst>
          </p:cNvPr>
          <p:cNvGraphicFramePr>
            <a:graphicFrameLocks noGrp="1"/>
          </p:cNvGraphicFramePr>
          <p:nvPr>
            <p:extLst>
              <p:ext uri="{D42A27DB-BD31-4B8C-83A1-F6EECF244321}">
                <p14:modId xmlns:p14="http://schemas.microsoft.com/office/powerpoint/2010/main" val="2067357870"/>
              </p:ext>
            </p:extLst>
          </p:nvPr>
        </p:nvGraphicFramePr>
        <p:xfrm>
          <a:off x="6341162" y="1055134"/>
          <a:ext cx="4946805" cy="1905000"/>
        </p:xfrm>
        <a:graphic>
          <a:graphicData uri="http://schemas.openxmlformats.org/drawingml/2006/table">
            <a:tbl>
              <a:tblPr>
                <a:tableStyleId>{93296810-A885-4BE3-A3E7-6D5BEEA58F35}</a:tableStyleId>
              </a:tblPr>
              <a:tblGrid>
                <a:gridCol w="1302195">
                  <a:extLst>
                    <a:ext uri="{9D8B030D-6E8A-4147-A177-3AD203B41FA5}">
                      <a16:colId xmlns:a16="http://schemas.microsoft.com/office/drawing/2014/main" val="66026829"/>
                    </a:ext>
                  </a:extLst>
                </a:gridCol>
                <a:gridCol w="607435">
                  <a:extLst>
                    <a:ext uri="{9D8B030D-6E8A-4147-A177-3AD203B41FA5}">
                      <a16:colId xmlns:a16="http://schemas.microsoft.com/office/drawing/2014/main" val="3469469071"/>
                    </a:ext>
                  </a:extLst>
                </a:gridCol>
                <a:gridCol w="607435">
                  <a:extLst>
                    <a:ext uri="{9D8B030D-6E8A-4147-A177-3AD203B41FA5}">
                      <a16:colId xmlns:a16="http://schemas.microsoft.com/office/drawing/2014/main" val="2553836273"/>
                    </a:ext>
                  </a:extLst>
                </a:gridCol>
                <a:gridCol w="607435">
                  <a:extLst>
                    <a:ext uri="{9D8B030D-6E8A-4147-A177-3AD203B41FA5}">
                      <a16:colId xmlns:a16="http://schemas.microsoft.com/office/drawing/2014/main" val="3281281215"/>
                    </a:ext>
                  </a:extLst>
                </a:gridCol>
                <a:gridCol w="607435">
                  <a:extLst>
                    <a:ext uri="{9D8B030D-6E8A-4147-A177-3AD203B41FA5}">
                      <a16:colId xmlns:a16="http://schemas.microsoft.com/office/drawing/2014/main" val="3840163862"/>
                    </a:ext>
                  </a:extLst>
                </a:gridCol>
                <a:gridCol w="607435">
                  <a:extLst>
                    <a:ext uri="{9D8B030D-6E8A-4147-A177-3AD203B41FA5}">
                      <a16:colId xmlns:a16="http://schemas.microsoft.com/office/drawing/2014/main" val="1390045236"/>
                    </a:ext>
                  </a:extLst>
                </a:gridCol>
                <a:gridCol w="607435">
                  <a:extLst>
                    <a:ext uri="{9D8B030D-6E8A-4147-A177-3AD203B41FA5}">
                      <a16:colId xmlns:a16="http://schemas.microsoft.com/office/drawing/2014/main" val="3618762323"/>
                    </a:ext>
                  </a:extLst>
                </a:gridCol>
              </a:tblGrid>
              <a:tr h="149036">
                <a:tc>
                  <a:txBody>
                    <a:bodyPr/>
                    <a:lstStyle/>
                    <a:p>
                      <a:pPr algn="l" fontAlgn="b"/>
                      <a:r>
                        <a:rPr lang="en-US" sz="1500" b="1" u="none" strike="noStrike">
                          <a:effectLst/>
                        </a:rPr>
                        <a:t>Study</a:t>
                      </a:r>
                      <a:endParaRPr lang="en-US" sz="1500" b="1" i="0" u="none" strike="noStrike">
                        <a:solidFill>
                          <a:srgbClr val="000000"/>
                        </a:solidFill>
                        <a:effectLst/>
                        <a:latin typeface="Aptos Narrow" panose="020B0004020202020204" pitchFamily="34" charset="0"/>
                      </a:endParaRPr>
                    </a:p>
                  </a:txBody>
                  <a:tcPr marL="9525" marR="9525" marT="9525" marB="0" anchor="b">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500" b="1" u="none" strike="noStrike">
                          <a:effectLst/>
                        </a:rPr>
                        <a:t>Mean</a:t>
                      </a:r>
                      <a:endParaRPr lang="en-US" sz="1500" b="1" i="0" u="none" strike="noStrike">
                        <a:solidFill>
                          <a:srgbClr val="000000"/>
                        </a:solidFill>
                        <a:effectLst/>
                        <a:latin typeface="Aptos Narrow" panose="020B0004020202020204" pitchFamily="34" charset="0"/>
                      </a:endParaRPr>
                    </a:p>
                  </a:txBody>
                  <a:tcPr marL="9525" marR="9525" marT="9525" marB="0" anchor="b">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500" b="1" u="none" strike="noStrike">
                          <a:effectLst/>
                        </a:rPr>
                        <a:t>SD</a:t>
                      </a:r>
                      <a:endParaRPr lang="en-US" sz="1500" b="1" i="0" u="none" strike="noStrike">
                        <a:solidFill>
                          <a:srgbClr val="000000"/>
                        </a:solidFill>
                        <a:effectLst/>
                        <a:latin typeface="Aptos Narrow" panose="020B0004020202020204" pitchFamily="34" charset="0"/>
                      </a:endParaRPr>
                    </a:p>
                  </a:txBody>
                  <a:tcPr marL="9525" marR="9525" marT="9525" marB="0" anchor="b">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500" b="1" u="none" strike="noStrike">
                          <a:effectLst/>
                        </a:rPr>
                        <a:t>Scale</a:t>
                      </a:r>
                      <a:endParaRPr lang="en-US" sz="1500" b="1" i="0" u="none" strike="noStrike">
                        <a:solidFill>
                          <a:srgbClr val="000000"/>
                        </a:solidFill>
                        <a:effectLst/>
                        <a:latin typeface="Aptos Narrow" panose="020B0004020202020204" pitchFamily="34" charset="0"/>
                      </a:endParaRPr>
                    </a:p>
                  </a:txBody>
                  <a:tcPr marL="9525" marR="9525" marT="9525" marB="0" anchor="b">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500" b="1" u="none" strike="noStrike">
                          <a:effectLst/>
                        </a:rPr>
                        <a:t>n</a:t>
                      </a:r>
                      <a:endParaRPr lang="en-US" sz="1500" b="1" i="0" u="none" strike="noStrike">
                        <a:solidFill>
                          <a:srgbClr val="000000"/>
                        </a:solidFill>
                        <a:effectLst/>
                        <a:latin typeface="Aptos Narrow" panose="020B0004020202020204" pitchFamily="34" charset="0"/>
                      </a:endParaRPr>
                    </a:p>
                  </a:txBody>
                  <a:tcPr marL="9525" marR="9525" marT="9525" marB="0" anchor="b">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500" b="1" u="none" strike="noStrike">
                          <a:effectLst/>
                        </a:rPr>
                        <a:t>Sample</a:t>
                      </a:r>
                      <a:endParaRPr lang="en-US" sz="1500" b="1" i="0" u="none" strike="noStrike">
                        <a:solidFill>
                          <a:srgbClr val="000000"/>
                        </a:solidFill>
                        <a:effectLst/>
                        <a:latin typeface="Aptos Narrow" panose="020B0004020202020204" pitchFamily="34" charset="0"/>
                      </a:endParaRPr>
                    </a:p>
                  </a:txBody>
                  <a:tcPr marL="9525" marR="9525" marT="9525" marB="0" anchor="b">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500" b="1" u="none" strike="noStrike">
                          <a:effectLst/>
                        </a:rPr>
                        <a:t>Time</a:t>
                      </a:r>
                      <a:endParaRPr lang="en-US" sz="1500" b="1" i="0" u="none" strike="noStrike">
                        <a:solidFill>
                          <a:srgbClr val="000000"/>
                        </a:solidFill>
                        <a:effectLst/>
                        <a:latin typeface="Aptos Narrow" panose="020B0004020202020204" pitchFamily="34" charset="0"/>
                      </a:endParaRPr>
                    </a:p>
                  </a:txBody>
                  <a:tcPr marL="9525" marR="9525" marT="9525" marB="0" anchor="b">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351299767"/>
                  </a:ext>
                </a:extLst>
              </a:tr>
              <a:tr h="149036">
                <a:tc>
                  <a:txBody>
                    <a:bodyPr/>
                    <a:lstStyle/>
                    <a:p>
                      <a:pPr algn="l" fontAlgn="b"/>
                      <a:r>
                        <a:rPr lang="en-US" sz="1500" u="none" strike="noStrike">
                          <a:effectLst/>
                        </a:rPr>
                        <a:t>Tofersen P2/3*</a:t>
                      </a:r>
                      <a:endParaRPr lang="en-US" sz="1500" b="0" i="0" u="none" strike="noStrike">
                        <a:solidFill>
                          <a:srgbClr val="000000"/>
                        </a:solidFill>
                        <a:effectLst/>
                        <a:latin typeface="Aptos Narrow" panose="020B0004020202020204" pitchFamily="34" charset="0"/>
                      </a:endParaRPr>
                    </a:p>
                  </a:txBody>
                  <a:tcPr marL="9525" marR="9525" marT="9525" marB="0" anchor="b">
                    <a:lnT w="12700" cap="flat" cmpd="sng" algn="ctr">
                      <a:solidFill>
                        <a:schemeClr val="tx1"/>
                      </a:solidFill>
                      <a:prstDash val="solid"/>
                      <a:round/>
                      <a:headEnd type="none" w="med" len="med"/>
                      <a:tailEnd type="none" w="med" len="med"/>
                    </a:lnT>
                  </a:tcPr>
                </a:tc>
                <a:tc>
                  <a:txBody>
                    <a:bodyPr/>
                    <a:lstStyle/>
                    <a:p>
                      <a:pPr algn="ctr" fontAlgn="b"/>
                      <a:r>
                        <a:rPr lang="en-US" sz="1500" u="none" strike="noStrike">
                          <a:effectLst/>
                        </a:rPr>
                        <a:t>127.3</a:t>
                      </a:r>
                      <a:endParaRPr lang="en-US" sz="1500" b="0" i="0" u="none" strike="noStrike">
                        <a:solidFill>
                          <a:srgbClr val="000000"/>
                        </a:solidFill>
                        <a:effectLst/>
                        <a:latin typeface="Aptos Narrow" panose="020B0004020202020204" pitchFamily="34" charset="0"/>
                      </a:endParaRPr>
                    </a:p>
                  </a:txBody>
                  <a:tcPr marL="9525" marR="9525" marT="9525" marB="0" anchor="b">
                    <a:lnT w="12700" cap="flat" cmpd="sng" algn="ctr">
                      <a:solidFill>
                        <a:schemeClr val="tx1"/>
                      </a:solidFill>
                      <a:prstDash val="solid"/>
                      <a:round/>
                      <a:headEnd type="none" w="med" len="med"/>
                      <a:tailEnd type="none" w="med" len="med"/>
                    </a:lnT>
                  </a:tcPr>
                </a:tc>
                <a:tc>
                  <a:txBody>
                    <a:bodyPr/>
                    <a:lstStyle/>
                    <a:p>
                      <a:pPr algn="ctr" fontAlgn="b"/>
                      <a:r>
                        <a:rPr lang="en-US" sz="1500" u="none" strike="noStrike">
                          <a:effectLst/>
                        </a:rPr>
                        <a:t>94.4</a:t>
                      </a:r>
                      <a:endParaRPr lang="en-US" sz="1500" b="0" i="0" u="none" strike="noStrike">
                        <a:solidFill>
                          <a:srgbClr val="000000"/>
                        </a:solidFill>
                        <a:effectLst/>
                        <a:latin typeface="Aptos Narrow" panose="020B0004020202020204" pitchFamily="34" charset="0"/>
                      </a:endParaRPr>
                    </a:p>
                  </a:txBody>
                  <a:tcPr marL="9525" marR="9525" marT="9525" marB="0" anchor="b">
                    <a:lnT w="12700" cap="flat" cmpd="sng" algn="ctr">
                      <a:solidFill>
                        <a:schemeClr val="tx1"/>
                      </a:solidFill>
                      <a:prstDash val="solid"/>
                      <a:round/>
                      <a:headEnd type="none" w="med" len="med"/>
                      <a:tailEnd type="none" w="med" len="med"/>
                    </a:lnT>
                  </a:tcPr>
                </a:tc>
                <a:tc>
                  <a:txBody>
                    <a:bodyPr/>
                    <a:lstStyle/>
                    <a:p>
                      <a:pPr algn="ctr" fontAlgn="b"/>
                      <a:r>
                        <a:rPr lang="en-US" sz="1500" u="none" strike="noStrike">
                          <a:effectLst/>
                        </a:rPr>
                        <a:t>Pg/ml</a:t>
                      </a:r>
                      <a:endParaRPr lang="en-US" sz="1500" b="0" i="0" u="none" strike="noStrike">
                        <a:solidFill>
                          <a:srgbClr val="000000"/>
                        </a:solidFill>
                        <a:effectLst/>
                        <a:latin typeface="Aptos Narrow" panose="020B0004020202020204" pitchFamily="34" charset="0"/>
                      </a:endParaRPr>
                    </a:p>
                  </a:txBody>
                  <a:tcPr marL="9525" marR="9525" marT="9525" marB="0" anchor="b">
                    <a:lnT w="12700" cap="flat" cmpd="sng" algn="ctr">
                      <a:solidFill>
                        <a:schemeClr val="tx1"/>
                      </a:solidFill>
                      <a:prstDash val="solid"/>
                      <a:round/>
                      <a:headEnd type="none" w="med" len="med"/>
                      <a:tailEnd type="none" w="med" len="med"/>
                    </a:lnT>
                  </a:tcPr>
                </a:tc>
                <a:tc>
                  <a:txBody>
                    <a:bodyPr/>
                    <a:lstStyle/>
                    <a:p>
                      <a:pPr algn="ctr" fontAlgn="b"/>
                      <a:r>
                        <a:rPr lang="en-US" sz="1500" u="none" strike="noStrike">
                          <a:effectLst/>
                        </a:rPr>
                        <a:t>21</a:t>
                      </a:r>
                      <a:endParaRPr lang="en-US" sz="1500" b="0" i="0" u="none" strike="noStrike">
                        <a:solidFill>
                          <a:srgbClr val="000000"/>
                        </a:solidFill>
                        <a:effectLst/>
                        <a:latin typeface="Aptos Narrow" panose="020B0004020202020204" pitchFamily="34" charset="0"/>
                      </a:endParaRPr>
                    </a:p>
                  </a:txBody>
                  <a:tcPr marL="9525" marR="9525" marT="9525" marB="0" anchor="b">
                    <a:lnT w="12700" cap="flat" cmpd="sng" algn="ctr">
                      <a:solidFill>
                        <a:schemeClr val="tx1"/>
                      </a:solidFill>
                      <a:prstDash val="solid"/>
                      <a:round/>
                      <a:headEnd type="none" w="med" len="med"/>
                      <a:tailEnd type="none" w="med" len="med"/>
                    </a:lnT>
                  </a:tcPr>
                </a:tc>
                <a:tc>
                  <a:txBody>
                    <a:bodyPr/>
                    <a:lstStyle/>
                    <a:p>
                      <a:pPr algn="ctr" fontAlgn="b"/>
                      <a:r>
                        <a:rPr lang="en-US" sz="1500" u="none" strike="noStrike">
                          <a:effectLst/>
                        </a:rPr>
                        <a:t>P</a:t>
                      </a:r>
                      <a:endParaRPr lang="en-US" sz="1500" b="0" i="0" u="none" strike="noStrike">
                        <a:solidFill>
                          <a:srgbClr val="000000"/>
                        </a:solidFill>
                        <a:effectLst/>
                        <a:latin typeface="Aptos Narrow" panose="020B0004020202020204" pitchFamily="34" charset="0"/>
                      </a:endParaRPr>
                    </a:p>
                  </a:txBody>
                  <a:tcPr marL="9525" marR="9525" marT="9525" marB="0" anchor="b">
                    <a:lnT w="12700" cap="flat" cmpd="sng" algn="ctr">
                      <a:solidFill>
                        <a:schemeClr val="tx1"/>
                      </a:solidFill>
                      <a:prstDash val="solid"/>
                      <a:round/>
                      <a:headEnd type="none" w="med" len="med"/>
                      <a:tailEnd type="none" w="med" len="med"/>
                    </a:lnT>
                  </a:tcPr>
                </a:tc>
                <a:tc>
                  <a:txBody>
                    <a:bodyPr/>
                    <a:lstStyle/>
                    <a:p>
                      <a:pPr algn="ctr" fontAlgn="b"/>
                      <a:r>
                        <a:rPr lang="en-US" sz="1500" u="none" strike="noStrike">
                          <a:effectLst/>
                        </a:rPr>
                        <a:t>B</a:t>
                      </a:r>
                      <a:endParaRPr lang="en-US" sz="1500" b="0" i="0" u="none" strike="noStrike">
                        <a:solidFill>
                          <a:srgbClr val="000000"/>
                        </a:solidFill>
                        <a:effectLst/>
                        <a:latin typeface="Aptos Narrow" panose="020B0004020202020204" pitchFamily="34" charset="0"/>
                      </a:endParaRPr>
                    </a:p>
                  </a:txBody>
                  <a:tcPr marL="9525" marR="9525" marT="9525" marB="0" anchor="b">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2563722014"/>
                  </a:ext>
                </a:extLst>
              </a:tr>
              <a:tr h="149036">
                <a:tc>
                  <a:txBody>
                    <a:bodyPr/>
                    <a:lstStyle/>
                    <a:p>
                      <a:pPr algn="l" fontAlgn="b"/>
                      <a:r>
                        <a:rPr lang="en-US" sz="1500" u="none" strike="noStrike" dirty="0" err="1">
                          <a:effectLst/>
                        </a:rPr>
                        <a:t>Tofersen</a:t>
                      </a:r>
                      <a:r>
                        <a:rPr lang="en-US" sz="1500" u="none" strike="noStrike" dirty="0">
                          <a:effectLst/>
                        </a:rPr>
                        <a:t> P2/3*</a:t>
                      </a:r>
                      <a:endParaRPr lang="en-US" sz="1500" b="0" i="0" u="none" strike="noStrike" dirty="0">
                        <a:solidFill>
                          <a:srgbClr val="000000"/>
                        </a:solidFill>
                        <a:effectLst/>
                        <a:latin typeface="Aptos Narrow" panose="020B0004020202020204" pitchFamily="34" charset="0"/>
                      </a:endParaRPr>
                    </a:p>
                  </a:txBody>
                  <a:tcPr marL="9525" marR="9525" marT="9525" marB="0" anchor="b">
                    <a:solidFill>
                      <a:schemeClr val="bg1">
                        <a:lumMod val="85000"/>
                      </a:schemeClr>
                    </a:solidFill>
                  </a:tcPr>
                </a:tc>
                <a:tc>
                  <a:txBody>
                    <a:bodyPr/>
                    <a:lstStyle/>
                    <a:p>
                      <a:pPr algn="ctr" fontAlgn="b"/>
                      <a:r>
                        <a:rPr lang="en-US" sz="1500" b="1" u="none" strike="noStrike" dirty="0">
                          <a:effectLst/>
                        </a:rPr>
                        <a:t>4.6</a:t>
                      </a:r>
                      <a:endParaRPr lang="en-US" sz="1500" b="1" i="0" u="none" strike="noStrike" dirty="0">
                        <a:solidFill>
                          <a:srgbClr val="000000"/>
                        </a:solidFill>
                        <a:effectLst/>
                        <a:latin typeface="Aptos Narrow" panose="020B0004020202020204" pitchFamily="34" charset="0"/>
                      </a:endParaRPr>
                    </a:p>
                  </a:txBody>
                  <a:tcPr marL="9525" marR="9525" marT="9525" marB="0" anchor="b">
                    <a:solidFill>
                      <a:schemeClr val="bg1">
                        <a:lumMod val="85000"/>
                      </a:schemeClr>
                    </a:solidFill>
                  </a:tcPr>
                </a:tc>
                <a:tc>
                  <a:txBody>
                    <a:bodyPr/>
                    <a:lstStyle/>
                    <a:p>
                      <a:pPr algn="ctr" fontAlgn="b"/>
                      <a:r>
                        <a:rPr lang="en-US" sz="1500" b="1" u="none" strike="noStrike" dirty="0">
                          <a:effectLst/>
                        </a:rPr>
                        <a:t>0.66</a:t>
                      </a:r>
                      <a:endParaRPr lang="en-US" sz="1500" b="1" i="0" u="none" strike="noStrike" dirty="0">
                        <a:solidFill>
                          <a:srgbClr val="000000"/>
                        </a:solidFill>
                        <a:effectLst/>
                        <a:latin typeface="Aptos Narrow" panose="020B0004020202020204" pitchFamily="34" charset="0"/>
                      </a:endParaRPr>
                    </a:p>
                  </a:txBody>
                  <a:tcPr marL="9525" marR="9525" marT="9525" marB="0" anchor="b">
                    <a:solidFill>
                      <a:schemeClr val="bg1">
                        <a:lumMod val="85000"/>
                      </a:schemeClr>
                    </a:solidFill>
                  </a:tcPr>
                </a:tc>
                <a:tc>
                  <a:txBody>
                    <a:bodyPr/>
                    <a:lstStyle/>
                    <a:p>
                      <a:pPr algn="ctr" fontAlgn="b"/>
                      <a:r>
                        <a:rPr lang="en-US" sz="1500" u="none" strike="noStrike" dirty="0">
                          <a:effectLst/>
                        </a:rPr>
                        <a:t>Log </a:t>
                      </a:r>
                      <a:endParaRPr lang="en-US" sz="1500" b="0" i="0" u="none" strike="noStrike" dirty="0">
                        <a:solidFill>
                          <a:srgbClr val="000000"/>
                        </a:solidFill>
                        <a:effectLst/>
                        <a:latin typeface="Aptos Narrow" panose="020B0004020202020204" pitchFamily="34" charset="0"/>
                      </a:endParaRPr>
                    </a:p>
                  </a:txBody>
                  <a:tcPr marL="9525" marR="9525" marT="9525" marB="0" anchor="b">
                    <a:solidFill>
                      <a:schemeClr val="bg1">
                        <a:lumMod val="85000"/>
                      </a:schemeClr>
                    </a:solidFill>
                  </a:tcPr>
                </a:tc>
                <a:tc>
                  <a:txBody>
                    <a:bodyPr/>
                    <a:lstStyle/>
                    <a:p>
                      <a:pPr algn="ctr" fontAlgn="b"/>
                      <a:r>
                        <a:rPr lang="en-US" sz="1500" u="none" strike="noStrike" dirty="0">
                          <a:effectLst/>
                        </a:rPr>
                        <a:t>21</a:t>
                      </a:r>
                      <a:endParaRPr lang="en-US" sz="1500" b="0" i="0" u="none" strike="noStrike" dirty="0">
                        <a:solidFill>
                          <a:srgbClr val="000000"/>
                        </a:solidFill>
                        <a:effectLst/>
                        <a:latin typeface="Aptos Narrow" panose="020B0004020202020204" pitchFamily="34" charset="0"/>
                      </a:endParaRPr>
                    </a:p>
                  </a:txBody>
                  <a:tcPr marL="9525" marR="9525" marT="9525" marB="0" anchor="b">
                    <a:solidFill>
                      <a:schemeClr val="bg1">
                        <a:lumMod val="85000"/>
                      </a:schemeClr>
                    </a:solidFill>
                  </a:tcPr>
                </a:tc>
                <a:tc>
                  <a:txBody>
                    <a:bodyPr/>
                    <a:lstStyle/>
                    <a:p>
                      <a:pPr algn="ctr" fontAlgn="b"/>
                      <a:r>
                        <a:rPr lang="en-US" sz="1500" u="none" strike="noStrike" dirty="0">
                          <a:effectLst/>
                        </a:rPr>
                        <a:t>P</a:t>
                      </a:r>
                      <a:endParaRPr lang="en-US" sz="1500" b="0" i="0" u="none" strike="noStrike" dirty="0">
                        <a:solidFill>
                          <a:srgbClr val="000000"/>
                        </a:solidFill>
                        <a:effectLst/>
                        <a:latin typeface="Aptos Narrow" panose="020B0004020202020204" pitchFamily="34" charset="0"/>
                      </a:endParaRPr>
                    </a:p>
                  </a:txBody>
                  <a:tcPr marL="9525" marR="9525" marT="9525" marB="0" anchor="b">
                    <a:solidFill>
                      <a:schemeClr val="bg1">
                        <a:lumMod val="85000"/>
                      </a:schemeClr>
                    </a:solidFill>
                  </a:tcPr>
                </a:tc>
                <a:tc>
                  <a:txBody>
                    <a:bodyPr/>
                    <a:lstStyle/>
                    <a:p>
                      <a:pPr algn="ctr" fontAlgn="b"/>
                      <a:r>
                        <a:rPr lang="en-US" sz="1500" u="none" strike="noStrike" dirty="0">
                          <a:effectLst/>
                        </a:rPr>
                        <a:t>B</a:t>
                      </a:r>
                      <a:endParaRPr lang="en-US" sz="1500" b="0" i="0" u="none" strike="noStrike" dirty="0">
                        <a:solidFill>
                          <a:srgbClr val="000000"/>
                        </a:solidFill>
                        <a:effectLst/>
                        <a:latin typeface="Aptos Narrow" panose="020B0004020202020204" pitchFamily="34" charset="0"/>
                      </a:endParaRPr>
                    </a:p>
                  </a:txBody>
                  <a:tcPr marL="9525" marR="9525" marT="9525" marB="0" anchor="b">
                    <a:solidFill>
                      <a:schemeClr val="bg1">
                        <a:lumMod val="85000"/>
                      </a:schemeClr>
                    </a:solidFill>
                  </a:tcPr>
                </a:tc>
                <a:extLst>
                  <a:ext uri="{0D108BD9-81ED-4DB2-BD59-A6C34878D82A}">
                    <a16:rowId xmlns:a16="http://schemas.microsoft.com/office/drawing/2014/main" val="3582161464"/>
                  </a:ext>
                </a:extLst>
              </a:tr>
              <a:tr h="149036">
                <a:tc>
                  <a:txBody>
                    <a:bodyPr/>
                    <a:lstStyle/>
                    <a:p>
                      <a:pPr algn="l" fontAlgn="b"/>
                      <a:r>
                        <a:rPr lang="en-US" sz="1500" u="none" strike="noStrike">
                          <a:effectLst/>
                        </a:rPr>
                        <a:t>Tofersen P2/3</a:t>
                      </a:r>
                      <a:endParaRPr lang="en-US" sz="1500" b="0" i="0" u="none" strike="noStrike">
                        <a:solidFill>
                          <a:srgbClr val="000000"/>
                        </a:solidFill>
                        <a:effectLst/>
                        <a:latin typeface="Aptos Narrow" panose="020B0004020202020204" pitchFamily="34" charset="0"/>
                      </a:endParaRPr>
                    </a:p>
                  </a:txBody>
                  <a:tcPr marL="9525" marR="9525" marT="9525" marB="0" anchor="b"/>
                </a:tc>
                <a:tc>
                  <a:txBody>
                    <a:bodyPr/>
                    <a:lstStyle/>
                    <a:p>
                      <a:pPr algn="ctr" fontAlgn="b"/>
                      <a:r>
                        <a:rPr lang="en-US" sz="1500" u="none" strike="noStrike">
                          <a:effectLst/>
                        </a:rPr>
                        <a:t>37</a:t>
                      </a:r>
                      <a:endParaRPr lang="en-US" sz="1500" b="0" i="0" u="none" strike="noStrike">
                        <a:solidFill>
                          <a:srgbClr val="000000"/>
                        </a:solidFill>
                        <a:effectLst/>
                        <a:latin typeface="Aptos Narrow" panose="020B0004020202020204" pitchFamily="34" charset="0"/>
                      </a:endParaRPr>
                    </a:p>
                  </a:txBody>
                  <a:tcPr marL="9525" marR="9525" marT="9525" marB="0" anchor="b"/>
                </a:tc>
                <a:tc>
                  <a:txBody>
                    <a:bodyPr/>
                    <a:lstStyle/>
                    <a:p>
                      <a:pPr algn="ctr" fontAlgn="b"/>
                      <a:r>
                        <a:rPr lang="en-US" sz="1500" u="none" strike="noStrike">
                          <a:effectLst/>
                        </a:rPr>
                        <a:t>29.5</a:t>
                      </a:r>
                      <a:endParaRPr lang="en-US" sz="1500" b="0" i="0" u="none" strike="noStrike">
                        <a:solidFill>
                          <a:srgbClr val="000000"/>
                        </a:solidFill>
                        <a:effectLst/>
                        <a:latin typeface="Aptos Narrow" panose="020B0004020202020204" pitchFamily="34" charset="0"/>
                      </a:endParaRPr>
                    </a:p>
                  </a:txBody>
                  <a:tcPr marL="9525" marR="9525" marT="9525" marB="0" anchor="b"/>
                </a:tc>
                <a:tc>
                  <a:txBody>
                    <a:bodyPr/>
                    <a:lstStyle/>
                    <a:p>
                      <a:pPr algn="ctr" fontAlgn="b"/>
                      <a:r>
                        <a:rPr lang="en-US" sz="1500" u="none" strike="noStrike">
                          <a:effectLst/>
                        </a:rPr>
                        <a:t>Pg/ml</a:t>
                      </a:r>
                      <a:endParaRPr lang="en-US" sz="1500" b="0" i="0" u="none" strike="noStrike">
                        <a:solidFill>
                          <a:srgbClr val="000000"/>
                        </a:solidFill>
                        <a:effectLst/>
                        <a:latin typeface="Aptos Narrow" panose="020B0004020202020204" pitchFamily="34" charset="0"/>
                      </a:endParaRPr>
                    </a:p>
                  </a:txBody>
                  <a:tcPr marL="9525" marR="9525" marT="9525" marB="0" anchor="b"/>
                </a:tc>
                <a:tc>
                  <a:txBody>
                    <a:bodyPr/>
                    <a:lstStyle/>
                    <a:p>
                      <a:pPr algn="ctr" fontAlgn="b"/>
                      <a:r>
                        <a:rPr lang="en-US" sz="1500" u="none" strike="noStrike">
                          <a:effectLst/>
                        </a:rPr>
                        <a:t>15</a:t>
                      </a:r>
                      <a:endParaRPr lang="en-US" sz="1500" b="0" i="0" u="none" strike="noStrike">
                        <a:solidFill>
                          <a:srgbClr val="000000"/>
                        </a:solidFill>
                        <a:effectLst/>
                        <a:latin typeface="Aptos Narrow" panose="020B0004020202020204" pitchFamily="34" charset="0"/>
                      </a:endParaRPr>
                    </a:p>
                  </a:txBody>
                  <a:tcPr marL="9525" marR="9525" marT="9525" marB="0" anchor="b"/>
                </a:tc>
                <a:tc>
                  <a:txBody>
                    <a:bodyPr/>
                    <a:lstStyle/>
                    <a:p>
                      <a:pPr algn="ctr" fontAlgn="b"/>
                      <a:r>
                        <a:rPr lang="en-US" sz="1500" u="none" strike="noStrike">
                          <a:effectLst/>
                        </a:rPr>
                        <a:t>P</a:t>
                      </a:r>
                      <a:endParaRPr lang="en-US" sz="1500" b="0" i="0" u="none" strike="noStrike">
                        <a:solidFill>
                          <a:srgbClr val="000000"/>
                        </a:solidFill>
                        <a:effectLst/>
                        <a:latin typeface="Aptos Narrow" panose="020B0004020202020204" pitchFamily="34" charset="0"/>
                      </a:endParaRPr>
                    </a:p>
                  </a:txBody>
                  <a:tcPr marL="9525" marR="9525" marT="9525" marB="0" anchor="b"/>
                </a:tc>
                <a:tc>
                  <a:txBody>
                    <a:bodyPr/>
                    <a:lstStyle/>
                    <a:p>
                      <a:pPr algn="ctr" fontAlgn="b"/>
                      <a:r>
                        <a:rPr lang="en-US" sz="1500" u="none" strike="noStrike">
                          <a:effectLst/>
                        </a:rPr>
                        <a:t>B</a:t>
                      </a:r>
                      <a:endParaRPr lang="en-US" sz="1500" b="0" i="0" u="none" strike="noStrike">
                        <a:solidFill>
                          <a:srgbClr val="000000"/>
                        </a:solidFill>
                        <a:effectLst/>
                        <a:latin typeface="Aptos Narrow" panose="020B0004020202020204" pitchFamily="34" charset="0"/>
                      </a:endParaRPr>
                    </a:p>
                  </a:txBody>
                  <a:tcPr marL="9525" marR="9525" marT="9525" marB="0" anchor="b"/>
                </a:tc>
                <a:extLst>
                  <a:ext uri="{0D108BD9-81ED-4DB2-BD59-A6C34878D82A}">
                    <a16:rowId xmlns:a16="http://schemas.microsoft.com/office/drawing/2014/main" val="478017281"/>
                  </a:ext>
                </a:extLst>
              </a:tr>
              <a:tr h="149036">
                <a:tc>
                  <a:txBody>
                    <a:bodyPr/>
                    <a:lstStyle/>
                    <a:p>
                      <a:pPr algn="l" fontAlgn="b"/>
                      <a:r>
                        <a:rPr lang="en-US" sz="1500" u="none" strike="noStrike" dirty="0" err="1">
                          <a:effectLst/>
                        </a:rPr>
                        <a:t>Tofersen</a:t>
                      </a:r>
                      <a:r>
                        <a:rPr lang="en-US" sz="1500" u="none" strike="noStrike" dirty="0">
                          <a:effectLst/>
                        </a:rPr>
                        <a:t> P2/3</a:t>
                      </a:r>
                      <a:endParaRPr lang="en-US" sz="1500" b="0" i="0" u="none" strike="noStrike" dirty="0">
                        <a:solidFill>
                          <a:srgbClr val="000000"/>
                        </a:solidFill>
                        <a:effectLst/>
                        <a:latin typeface="Aptos Narrow" panose="020B0004020202020204" pitchFamily="34" charset="0"/>
                      </a:endParaRPr>
                    </a:p>
                  </a:txBody>
                  <a:tcPr marL="9525" marR="9525" marT="9525" marB="0" anchor="b">
                    <a:solidFill>
                      <a:schemeClr val="bg1">
                        <a:lumMod val="85000"/>
                      </a:schemeClr>
                    </a:solidFill>
                  </a:tcPr>
                </a:tc>
                <a:tc>
                  <a:txBody>
                    <a:bodyPr/>
                    <a:lstStyle/>
                    <a:p>
                      <a:pPr algn="ctr" fontAlgn="b"/>
                      <a:r>
                        <a:rPr lang="en-US" sz="1500" b="1" u="none" strike="noStrike" dirty="0">
                          <a:effectLst/>
                        </a:rPr>
                        <a:t>3.4</a:t>
                      </a:r>
                      <a:endParaRPr lang="en-US" sz="1500" b="1" i="0" u="none" strike="noStrike" dirty="0">
                        <a:solidFill>
                          <a:srgbClr val="000000"/>
                        </a:solidFill>
                        <a:effectLst/>
                        <a:latin typeface="Aptos Narrow" panose="020B0004020202020204" pitchFamily="34" charset="0"/>
                      </a:endParaRPr>
                    </a:p>
                  </a:txBody>
                  <a:tcPr marL="9525" marR="9525" marT="9525" marB="0" anchor="b">
                    <a:solidFill>
                      <a:schemeClr val="bg1">
                        <a:lumMod val="85000"/>
                      </a:schemeClr>
                    </a:solidFill>
                  </a:tcPr>
                </a:tc>
                <a:tc>
                  <a:txBody>
                    <a:bodyPr/>
                    <a:lstStyle/>
                    <a:p>
                      <a:pPr algn="ctr" fontAlgn="b"/>
                      <a:r>
                        <a:rPr lang="en-US" sz="1500" b="1" u="none" strike="noStrike" dirty="0">
                          <a:effectLst/>
                        </a:rPr>
                        <a:t>0.7</a:t>
                      </a:r>
                      <a:endParaRPr lang="en-US" sz="1500" b="1" i="0" u="none" strike="noStrike" dirty="0">
                        <a:solidFill>
                          <a:srgbClr val="000000"/>
                        </a:solidFill>
                        <a:effectLst/>
                        <a:latin typeface="Aptos Narrow" panose="020B0004020202020204" pitchFamily="34" charset="0"/>
                      </a:endParaRPr>
                    </a:p>
                  </a:txBody>
                  <a:tcPr marL="9525" marR="9525" marT="9525" marB="0" anchor="b">
                    <a:solidFill>
                      <a:schemeClr val="bg1">
                        <a:lumMod val="85000"/>
                      </a:schemeClr>
                    </a:solidFill>
                  </a:tcPr>
                </a:tc>
                <a:tc>
                  <a:txBody>
                    <a:bodyPr/>
                    <a:lstStyle/>
                    <a:p>
                      <a:pPr algn="ctr" fontAlgn="b"/>
                      <a:r>
                        <a:rPr lang="en-US" sz="1500" u="none" strike="noStrike" dirty="0">
                          <a:effectLst/>
                        </a:rPr>
                        <a:t>Log</a:t>
                      </a:r>
                      <a:endParaRPr lang="en-US" sz="1500" b="0" i="0" u="none" strike="noStrike" dirty="0">
                        <a:solidFill>
                          <a:srgbClr val="000000"/>
                        </a:solidFill>
                        <a:effectLst/>
                        <a:latin typeface="Aptos Narrow" panose="020B0004020202020204" pitchFamily="34" charset="0"/>
                      </a:endParaRPr>
                    </a:p>
                  </a:txBody>
                  <a:tcPr marL="9525" marR="9525" marT="9525" marB="0" anchor="b">
                    <a:solidFill>
                      <a:schemeClr val="bg1">
                        <a:lumMod val="85000"/>
                      </a:schemeClr>
                    </a:solidFill>
                  </a:tcPr>
                </a:tc>
                <a:tc>
                  <a:txBody>
                    <a:bodyPr/>
                    <a:lstStyle/>
                    <a:p>
                      <a:pPr algn="ctr" fontAlgn="b"/>
                      <a:r>
                        <a:rPr lang="en-US" sz="1500" u="none" strike="noStrike" dirty="0">
                          <a:effectLst/>
                        </a:rPr>
                        <a:t>15</a:t>
                      </a:r>
                      <a:endParaRPr lang="en-US" sz="1500" b="0" i="0" u="none" strike="noStrike" dirty="0">
                        <a:solidFill>
                          <a:srgbClr val="000000"/>
                        </a:solidFill>
                        <a:effectLst/>
                        <a:latin typeface="Aptos Narrow" panose="020B0004020202020204" pitchFamily="34" charset="0"/>
                      </a:endParaRPr>
                    </a:p>
                  </a:txBody>
                  <a:tcPr marL="9525" marR="9525" marT="9525" marB="0" anchor="b">
                    <a:solidFill>
                      <a:schemeClr val="bg1">
                        <a:lumMod val="85000"/>
                      </a:schemeClr>
                    </a:solidFill>
                  </a:tcPr>
                </a:tc>
                <a:tc>
                  <a:txBody>
                    <a:bodyPr/>
                    <a:lstStyle/>
                    <a:p>
                      <a:pPr algn="ctr" fontAlgn="b"/>
                      <a:r>
                        <a:rPr lang="en-US" sz="1500" u="none" strike="noStrike" dirty="0">
                          <a:effectLst/>
                        </a:rPr>
                        <a:t>P</a:t>
                      </a:r>
                      <a:endParaRPr lang="en-US" sz="1500" b="0" i="0" u="none" strike="noStrike" dirty="0">
                        <a:solidFill>
                          <a:srgbClr val="000000"/>
                        </a:solidFill>
                        <a:effectLst/>
                        <a:latin typeface="Aptos Narrow" panose="020B0004020202020204" pitchFamily="34" charset="0"/>
                      </a:endParaRPr>
                    </a:p>
                  </a:txBody>
                  <a:tcPr marL="9525" marR="9525" marT="9525" marB="0" anchor="b">
                    <a:solidFill>
                      <a:schemeClr val="bg1">
                        <a:lumMod val="85000"/>
                      </a:schemeClr>
                    </a:solidFill>
                  </a:tcPr>
                </a:tc>
                <a:tc>
                  <a:txBody>
                    <a:bodyPr/>
                    <a:lstStyle/>
                    <a:p>
                      <a:pPr algn="ctr" fontAlgn="b"/>
                      <a:r>
                        <a:rPr lang="en-US" sz="1500" u="none" strike="noStrike" dirty="0">
                          <a:effectLst/>
                        </a:rPr>
                        <a:t>B</a:t>
                      </a:r>
                      <a:endParaRPr lang="en-US" sz="1500" b="0" i="0" u="none" strike="noStrike" dirty="0">
                        <a:solidFill>
                          <a:srgbClr val="000000"/>
                        </a:solidFill>
                        <a:effectLst/>
                        <a:latin typeface="Aptos Narrow" panose="020B0004020202020204" pitchFamily="34" charset="0"/>
                      </a:endParaRPr>
                    </a:p>
                  </a:txBody>
                  <a:tcPr marL="9525" marR="9525" marT="9525" marB="0" anchor="b">
                    <a:solidFill>
                      <a:schemeClr val="bg1">
                        <a:lumMod val="85000"/>
                      </a:schemeClr>
                    </a:solidFill>
                  </a:tcPr>
                </a:tc>
                <a:extLst>
                  <a:ext uri="{0D108BD9-81ED-4DB2-BD59-A6C34878D82A}">
                    <a16:rowId xmlns:a16="http://schemas.microsoft.com/office/drawing/2014/main" val="1115056379"/>
                  </a:ext>
                </a:extLst>
              </a:tr>
              <a:tr h="149036">
                <a:tc>
                  <a:txBody>
                    <a:bodyPr/>
                    <a:lstStyle/>
                    <a:p>
                      <a:pPr algn="l" fontAlgn="b"/>
                      <a:r>
                        <a:rPr lang="en-US" sz="1500" u="none" strike="noStrike" dirty="0" err="1">
                          <a:effectLst/>
                        </a:rPr>
                        <a:t>Tofersen</a:t>
                      </a:r>
                      <a:r>
                        <a:rPr lang="en-US" sz="1500" u="none" strike="noStrike" dirty="0">
                          <a:effectLst/>
                        </a:rPr>
                        <a:t> P1/2*</a:t>
                      </a:r>
                      <a:endParaRPr lang="en-US" sz="1500" b="0" i="0" u="none" strike="noStrike" dirty="0">
                        <a:solidFill>
                          <a:srgbClr val="000000"/>
                        </a:solidFill>
                        <a:effectLst/>
                        <a:latin typeface="Aptos Narrow" panose="020B0004020202020204" pitchFamily="34" charset="0"/>
                      </a:endParaRPr>
                    </a:p>
                  </a:txBody>
                  <a:tcPr marL="9525" marR="9525" marT="9525" marB="0" anchor="b"/>
                </a:tc>
                <a:tc>
                  <a:txBody>
                    <a:bodyPr/>
                    <a:lstStyle/>
                    <a:p>
                      <a:pPr algn="ctr" fontAlgn="b"/>
                      <a:r>
                        <a:rPr lang="en-US" sz="1500" b="1" u="none" strike="noStrike" dirty="0">
                          <a:effectLst/>
                        </a:rPr>
                        <a:t>4.3</a:t>
                      </a:r>
                      <a:endParaRPr lang="en-US" sz="1500" b="1" i="0" u="none" strike="noStrike" dirty="0">
                        <a:solidFill>
                          <a:srgbClr val="000000"/>
                        </a:solidFill>
                        <a:effectLst/>
                        <a:latin typeface="Aptos Narrow" panose="020B0004020202020204" pitchFamily="34" charset="0"/>
                      </a:endParaRPr>
                    </a:p>
                  </a:txBody>
                  <a:tcPr marL="9525" marR="9525" marT="9525" marB="0" anchor="b"/>
                </a:tc>
                <a:tc>
                  <a:txBody>
                    <a:bodyPr/>
                    <a:lstStyle/>
                    <a:p>
                      <a:pPr algn="ctr" fontAlgn="b"/>
                      <a:r>
                        <a:rPr lang="en-US" sz="1500" b="1" i="0" u="none" strike="noStrike" dirty="0">
                          <a:solidFill>
                            <a:srgbClr val="000000"/>
                          </a:solidFill>
                          <a:effectLst/>
                          <a:latin typeface="Aptos Narrow" panose="020B0004020202020204" pitchFamily="34" charset="0"/>
                        </a:rPr>
                        <a:t>NA</a:t>
                      </a:r>
                    </a:p>
                  </a:txBody>
                  <a:tcPr marL="9525" marR="9525" marT="9525" marB="0" anchor="b"/>
                </a:tc>
                <a:tc>
                  <a:txBody>
                    <a:bodyPr/>
                    <a:lstStyle/>
                    <a:p>
                      <a:pPr algn="ctr" fontAlgn="b"/>
                      <a:r>
                        <a:rPr lang="en-US" sz="1500" u="none" strike="noStrike">
                          <a:effectLst/>
                        </a:rPr>
                        <a:t>Log</a:t>
                      </a:r>
                      <a:endParaRPr lang="en-US" sz="1500" b="0" i="0" u="none" strike="noStrike">
                        <a:solidFill>
                          <a:srgbClr val="000000"/>
                        </a:solidFill>
                        <a:effectLst/>
                        <a:latin typeface="Aptos Narrow" panose="020B0004020202020204" pitchFamily="34" charset="0"/>
                      </a:endParaRPr>
                    </a:p>
                  </a:txBody>
                  <a:tcPr marL="9525" marR="9525" marT="9525" marB="0" anchor="b"/>
                </a:tc>
                <a:tc>
                  <a:txBody>
                    <a:bodyPr/>
                    <a:lstStyle/>
                    <a:p>
                      <a:pPr algn="ctr" fontAlgn="b"/>
                      <a:r>
                        <a:rPr lang="en-US" sz="1500" u="none" strike="noStrike">
                          <a:effectLst/>
                        </a:rPr>
                        <a:t>12</a:t>
                      </a:r>
                      <a:endParaRPr lang="en-US" sz="1500" b="0" i="0" u="none" strike="noStrike">
                        <a:solidFill>
                          <a:srgbClr val="000000"/>
                        </a:solidFill>
                        <a:effectLst/>
                        <a:latin typeface="Aptos Narrow" panose="020B0004020202020204" pitchFamily="34" charset="0"/>
                      </a:endParaRPr>
                    </a:p>
                  </a:txBody>
                  <a:tcPr marL="9525" marR="9525" marT="9525" marB="0" anchor="b"/>
                </a:tc>
                <a:tc>
                  <a:txBody>
                    <a:bodyPr/>
                    <a:lstStyle/>
                    <a:p>
                      <a:pPr algn="ctr" fontAlgn="b"/>
                      <a:r>
                        <a:rPr lang="en-US" sz="1500" u="none" strike="noStrike">
                          <a:effectLst/>
                        </a:rPr>
                        <a:t>P</a:t>
                      </a:r>
                      <a:endParaRPr lang="en-US" sz="1500" b="0" i="0" u="none" strike="noStrike">
                        <a:solidFill>
                          <a:srgbClr val="000000"/>
                        </a:solidFill>
                        <a:effectLst/>
                        <a:latin typeface="Aptos Narrow" panose="020B0004020202020204" pitchFamily="34" charset="0"/>
                      </a:endParaRPr>
                    </a:p>
                  </a:txBody>
                  <a:tcPr marL="9525" marR="9525" marT="9525" marB="0" anchor="b"/>
                </a:tc>
                <a:tc>
                  <a:txBody>
                    <a:bodyPr/>
                    <a:lstStyle/>
                    <a:p>
                      <a:pPr algn="ctr" fontAlgn="b"/>
                      <a:r>
                        <a:rPr lang="en-US" sz="1500" u="none" strike="noStrike" dirty="0">
                          <a:effectLst/>
                        </a:rPr>
                        <a:t>B</a:t>
                      </a:r>
                      <a:endParaRPr lang="en-US" sz="1500" b="0" i="0" u="none" strike="noStrike" dirty="0">
                        <a:solidFill>
                          <a:srgbClr val="000000"/>
                        </a:solidFill>
                        <a:effectLst/>
                        <a:latin typeface="Aptos Narrow" panose="020B0004020202020204" pitchFamily="34" charset="0"/>
                      </a:endParaRPr>
                    </a:p>
                  </a:txBody>
                  <a:tcPr marL="9525" marR="9525" marT="9525" marB="0" anchor="b"/>
                </a:tc>
                <a:extLst>
                  <a:ext uri="{0D108BD9-81ED-4DB2-BD59-A6C34878D82A}">
                    <a16:rowId xmlns:a16="http://schemas.microsoft.com/office/drawing/2014/main" val="2004916503"/>
                  </a:ext>
                </a:extLst>
              </a:tr>
              <a:tr h="149036">
                <a:tc>
                  <a:txBody>
                    <a:bodyPr/>
                    <a:lstStyle/>
                    <a:p>
                      <a:pPr algn="l" fontAlgn="b"/>
                      <a:r>
                        <a:rPr lang="en-US" sz="1500" b="0" i="0" u="none" strike="noStrike" dirty="0">
                          <a:solidFill>
                            <a:srgbClr val="000000"/>
                          </a:solidFill>
                          <a:effectLst/>
                          <a:latin typeface="Aptos Narrow" panose="020B0004020202020204" pitchFamily="34" charset="0"/>
                        </a:rPr>
                        <a:t>BIIB078</a:t>
                      </a:r>
                    </a:p>
                  </a:txBody>
                  <a:tcPr marL="9525" marR="9525" marT="9525" marB="0" anchor="b"/>
                </a:tc>
                <a:tc>
                  <a:txBody>
                    <a:bodyPr/>
                    <a:lstStyle/>
                    <a:p>
                      <a:pPr algn="ctr" fontAlgn="b"/>
                      <a:r>
                        <a:rPr lang="en-US" sz="1500" b="0" i="0" u="none" strike="noStrike" dirty="0">
                          <a:solidFill>
                            <a:srgbClr val="000000"/>
                          </a:solidFill>
                          <a:effectLst/>
                          <a:latin typeface="Aptos Narrow" panose="020B0004020202020204" pitchFamily="34" charset="0"/>
                        </a:rPr>
                        <a:t>107.7</a:t>
                      </a:r>
                    </a:p>
                  </a:txBody>
                  <a:tcPr marL="9525" marR="9525" marT="9525" marB="0" anchor="b"/>
                </a:tc>
                <a:tc>
                  <a:txBody>
                    <a:bodyPr/>
                    <a:lstStyle/>
                    <a:p>
                      <a:pPr algn="ctr" fontAlgn="b"/>
                      <a:r>
                        <a:rPr lang="en-US" sz="1500" b="0" i="0" u="none" strike="noStrike" dirty="0">
                          <a:solidFill>
                            <a:srgbClr val="000000"/>
                          </a:solidFill>
                          <a:effectLst/>
                          <a:latin typeface="Aptos Narrow" panose="020B0004020202020204" pitchFamily="34" charset="0"/>
                        </a:rPr>
                        <a:t>77.3</a:t>
                      </a:r>
                    </a:p>
                  </a:txBody>
                  <a:tcPr marL="9525" marR="9525" marT="9525" marB="0" anchor="b"/>
                </a:tc>
                <a:tc>
                  <a:txBody>
                    <a:bodyPr/>
                    <a:lstStyle/>
                    <a:p>
                      <a:pPr algn="ctr" fontAlgn="b"/>
                      <a:r>
                        <a:rPr lang="en-US" sz="1500" b="0" i="0" u="none" strike="noStrike" dirty="0">
                          <a:solidFill>
                            <a:srgbClr val="000000"/>
                          </a:solidFill>
                          <a:effectLst/>
                          <a:latin typeface="Aptos Narrow" panose="020B0004020202020204" pitchFamily="34" charset="0"/>
                        </a:rPr>
                        <a:t>Pg/ml</a:t>
                      </a:r>
                    </a:p>
                  </a:txBody>
                  <a:tcPr marL="9525" marR="9525" marT="9525" marB="0" anchor="b"/>
                </a:tc>
                <a:tc>
                  <a:txBody>
                    <a:bodyPr/>
                    <a:lstStyle/>
                    <a:p>
                      <a:pPr algn="ctr" fontAlgn="b"/>
                      <a:r>
                        <a:rPr lang="en-US" sz="1500" b="0" i="0" u="none" strike="noStrike" dirty="0">
                          <a:solidFill>
                            <a:srgbClr val="000000"/>
                          </a:solidFill>
                          <a:effectLst/>
                          <a:latin typeface="Aptos Narrow" panose="020B0004020202020204" pitchFamily="34" charset="0"/>
                        </a:rPr>
                        <a:t>27</a:t>
                      </a:r>
                    </a:p>
                  </a:txBody>
                  <a:tcPr marL="9525" marR="9525" marT="9525" marB="0" anchor="b"/>
                </a:tc>
                <a:tc>
                  <a:txBody>
                    <a:bodyPr/>
                    <a:lstStyle/>
                    <a:p>
                      <a:pPr algn="ctr" fontAlgn="b"/>
                      <a:r>
                        <a:rPr lang="en-US" sz="1500" b="0" i="0" u="none" strike="noStrike" dirty="0">
                          <a:solidFill>
                            <a:srgbClr val="000000"/>
                          </a:solidFill>
                          <a:effectLst/>
                          <a:latin typeface="Aptos Narrow" panose="020B0004020202020204" pitchFamily="34" charset="0"/>
                        </a:rPr>
                        <a:t>P</a:t>
                      </a:r>
                    </a:p>
                  </a:txBody>
                  <a:tcPr marL="9525" marR="9525" marT="9525" marB="0" anchor="b"/>
                </a:tc>
                <a:tc>
                  <a:txBody>
                    <a:bodyPr/>
                    <a:lstStyle/>
                    <a:p>
                      <a:pPr algn="ctr" fontAlgn="b"/>
                      <a:r>
                        <a:rPr lang="en-US" sz="1500" b="0" i="0" u="none" strike="noStrike" dirty="0">
                          <a:solidFill>
                            <a:srgbClr val="000000"/>
                          </a:solidFill>
                          <a:effectLst/>
                          <a:latin typeface="Aptos Narrow" panose="020B0004020202020204" pitchFamily="34" charset="0"/>
                        </a:rPr>
                        <a:t>B</a:t>
                      </a:r>
                    </a:p>
                  </a:txBody>
                  <a:tcPr marL="9525" marR="9525" marT="9525" marB="0" anchor="b"/>
                </a:tc>
                <a:extLst>
                  <a:ext uri="{0D108BD9-81ED-4DB2-BD59-A6C34878D82A}">
                    <a16:rowId xmlns:a16="http://schemas.microsoft.com/office/drawing/2014/main" val="2433696926"/>
                  </a:ext>
                </a:extLst>
              </a:tr>
              <a:tr h="149036">
                <a:tc>
                  <a:txBody>
                    <a:bodyPr/>
                    <a:lstStyle/>
                    <a:p>
                      <a:pPr marL="0" marR="0" lvl="0" indent="0" algn="l" defTabSz="914150" rtl="0" eaLnBrk="1" fontAlgn="b" latinLnBrk="0" hangingPunct="1">
                        <a:lnSpc>
                          <a:spcPct val="100000"/>
                        </a:lnSpc>
                        <a:spcBef>
                          <a:spcPts val="0"/>
                        </a:spcBef>
                        <a:spcAft>
                          <a:spcPts val="0"/>
                        </a:spcAft>
                        <a:buClrTx/>
                        <a:buSzTx/>
                        <a:buFontTx/>
                        <a:buNone/>
                        <a:tabLst/>
                        <a:defRPr/>
                      </a:pPr>
                      <a:r>
                        <a:rPr lang="en-US" sz="1500" b="0" i="0" u="none" strike="noStrike" dirty="0">
                          <a:solidFill>
                            <a:srgbClr val="000000"/>
                          </a:solidFill>
                          <a:effectLst/>
                          <a:latin typeface="Aptos Narrow" panose="020B0004020202020204" pitchFamily="34" charset="0"/>
                        </a:rPr>
                        <a:t>BIIB078</a:t>
                      </a:r>
                    </a:p>
                  </a:txBody>
                  <a:tcPr marL="9525" marR="9525" marT="9525" marB="0" anchor="b">
                    <a:lnB w="12700" cap="flat" cmpd="sng" algn="ctr">
                      <a:solidFill>
                        <a:schemeClr val="tx1"/>
                      </a:solidFill>
                      <a:prstDash val="solid"/>
                      <a:round/>
                      <a:headEnd type="none" w="med" len="med"/>
                      <a:tailEnd type="none" w="med" len="med"/>
                    </a:lnB>
                  </a:tcPr>
                </a:tc>
                <a:tc>
                  <a:txBody>
                    <a:bodyPr/>
                    <a:lstStyle/>
                    <a:p>
                      <a:pPr algn="ctr" fontAlgn="b"/>
                      <a:r>
                        <a:rPr lang="en-US" sz="1500" b="1" i="0" u="none" strike="noStrike" dirty="0">
                          <a:solidFill>
                            <a:srgbClr val="000000"/>
                          </a:solidFill>
                          <a:effectLst/>
                          <a:latin typeface="Aptos Narrow" panose="020B0004020202020204" pitchFamily="34" charset="0"/>
                        </a:rPr>
                        <a:t>5.94</a:t>
                      </a:r>
                    </a:p>
                  </a:txBody>
                  <a:tcPr marL="9525" marR="9525" marT="9525" marB="0" anchor="b">
                    <a:lnB w="12700" cap="flat" cmpd="sng" algn="ctr">
                      <a:solidFill>
                        <a:schemeClr val="tx1"/>
                      </a:solidFill>
                      <a:prstDash val="solid"/>
                      <a:round/>
                      <a:headEnd type="none" w="med" len="med"/>
                      <a:tailEnd type="none" w="med" len="med"/>
                    </a:lnB>
                  </a:tcPr>
                </a:tc>
                <a:tc>
                  <a:txBody>
                    <a:bodyPr/>
                    <a:lstStyle/>
                    <a:p>
                      <a:pPr algn="ctr" fontAlgn="b"/>
                      <a:r>
                        <a:rPr lang="en-US" sz="1500" b="1" i="0" u="none" strike="noStrike" dirty="0">
                          <a:solidFill>
                            <a:srgbClr val="000000"/>
                          </a:solidFill>
                          <a:effectLst/>
                          <a:latin typeface="Aptos Narrow" panose="020B0004020202020204" pitchFamily="34" charset="0"/>
                        </a:rPr>
                        <a:t>0.28</a:t>
                      </a:r>
                    </a:p>
                  </a:txBody>
                  <a:tcPr marL="9525" marR="9525" marT="9525" marB="0" anchor="b">
                    <a:lnB w="12700" cap="flat" cmpd="sng" algn="ctr">
                      <a:solidFill>
                        <a:schemeClr val="tx1"/>
                      </a:solidFill>
                      <a:prstDash val="solid"/>
                      <a:round/>
                      <a:headEnd type="none" w="med" len="med"/>
                      <a:tailEnd type="none" w="med" len="med"/>
                    </a:lnB>
                  </a:tcPr>
                </a:tc>
                <a:tc>
                  <a:txBody>
                    <a:bodyPr/>
                    <a:lstStyle/>
                    <a:p>
                      <a:pPr algn="ctr" fontAlgn="b"/>
                      <a:r>
                        <a:rPr lang="en-US" sz="1500" b="0" i="0" u="none" strike="noStrike" dirty="0">
                          <a:solidFill>
                            <a:srgbClr val="000000"/>
                          </a:solidFill>
                          <a:effectLst/>
                          <a:latin typeface="Aptos Narrow" panose="020B0004020202020204" pitchFamily="34" charset="0"/>
                        </a:rPr>
                        <a:t>Log</a:t>
                      </a:r>
                    </a:p>
                  </a:txBody>
                  <a:tcPr marL="9525" marR="9525" marT="9525" marB="0" anchor="b">
                    <a:lnB w="12700" cap="flat" cmpd="sng" algn="ctr">
                      <a:solidFill>
                        <a:schemeClr val="tx1"/>
                      </a:solidFill>
                      <a:prstDash val="solid"/>
                      <a:round/>
                      <a:headEnd type="none" w="med" len="med"/>
                      <a:tailEnd type="none" w="med" len="med"/>
                    </a:lnB>
                  </a:tcPr>
                </a:tc>
                <a:tc>
                  <a:txBody>
                    <a:bodyPr/>
                    <a:lstStyle/>
                    <a:p>
                      <a:pPr algn="ctr" fontAlgn="b"/>
                      <a:r>
                        <a:rPr lang="en-US" sz="1500" b="0" i="0" u="none" strike="noStrike" dirty="0">
                          <a:solidFill>
                            <a:srgbClr val="000000"/>
                          </a:solidFill>
                          <a:effectLst/>
                          <a:latin typeface="Aptos Narrow" panose="020B0004020202020204" pitchFamily="34" charset="0"/>
                        </a:rPr>
                        <a:t>27</a:t>
                      </a:r>
                    </a:p>
                  </a:txBody>
                  <a:tcPr marL="9525" marR="9525" marT="9525" marB="0" anchor="b">
                    <a:lnB w="12700" cap="flat" cmpd="sng" algn="ctr">
                      <a:solidFill>
                        <a:schemeClr val="tx1"/>
                      </a:solidFill>
                      <a:prstDash val="solid"/>
                      <a:round/>
                      <a:headEnd type="none" w="med" len="med"/>
                      <a:tailEnd type="none" w="med" len="med"/>
                    </a:lnB>
                  </a:tcPr>
                </a:tc>
                <a:tc>
                  <a:txBody>
                    <a:bodyPr/>
                    <a:lstStyle/>
                    <a:p>
                      <a:pPr algn="ctr" fontAlgn="b"/>
                      <a:r>
                        <a:rPr lang="en-US" sz="1500" b="0" i="0" u="none" strike="noStrike" dirty="0">
                          <a:solidFill>
                            <a:srgbClr val="000000"/>
                          </a:solidFill>
                          <a:effectLst/>
                          <a:latin typeface="Aptos Narrow" panose="020B0004020202020204" pitchFamily="34" charset="0"/>
                        </a:rPr>
                        <a:t>P</a:t>
                      </a:r>
                    </a:p>
                  </a:txBody>
                  <a:tcPr marL="9525" marR="9525" marT="9525" marB="0" anchor="b">
                    <a:lnB w="12700" cap="flat" cmpd="sng" algn="ctr">
                      <a:solidFill>
                        <a:schemeClr val="tx1"/>
                      </a:solidFill>
                      <a:prstDash val="solid"/>
                      <a:round/>
                      <a:headEnd type="none" w="med" len="med"/>
                      <a:tailEnd type="none" w="med" len="med"/>
                    </a:lnB>
                  </a:tcPr>
                </a:tc>
                <a:tc>
                  <a:txBody>
                    <a:bodyPr/>
                    <a:lstStyle/>
                    <a:p>
                      <a:pPr algn="ctr" fontAlgn="b"/>
                      <a:r>
                        <a:rPr lang="en-US" sz="1500" b="0" i="0" u="none" strike="noStrike" dirty="0">
                          <a:solidFill>
                            <a:srgbClr val="000000"/>
                          </a:solidFill>
                          <a:effectLst/>
                          <a:latin typeface="Aptos Narrow" panose="020B0004020202020204" pitchFamily="34" charset="0"/>
                        </a:rPr>
                        <a:t>B</a:t>
                      </a:r>
                    </a:p>
                  </a:txBody>
                  <a:tcPr marL="9525" marR="9525" marT="9525" marB="0" anchor="b">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548485241"/>
                  </a:ext>
                </a:extLst>
              </a:tr>
            </a:tbl>
          </a:graphicData>
        </a:graphic>
      </p:graphicFrame>
      <p:sp>
        <p:nvSpPr>
          <p:cNvPr id="9" name="TextBox 8">
            <a:extLst>
              <a:ext uri="{FF2B5EF4-FFF2-40B4-BE49-F238E27FC236}">
                <a16:creationId xmlns:a16="http://schemas.microsoft.com/office/drawing/2014/main" id="{408B236E-71AE-D21C-22B4-E308607B301A}"/>
              </a:ext>
            </a:extLst>
          </p:cNvPr>
          <p:cNvSpPr txBox="1"/>
          <p:nvPr/>
        </p:nvSpPr>
        <p:spPr>
          <a:xfrm>
            <a:off x="6381945" y="2950591"/>
            <a:ext cx="4858887" cy="430887"/>
          </a:xfrm>
          <a:prstGeom prst="rect">
            <a:avLst/>
          </a:prstGeom>
          <a:noFill/>
        </p:spPr>
        <p:txBody>
          <a:bodyPr wrap="square" rtlCol="0">
            <a:spAutoFit/>
          </a:bodyPr>
          <a:lstStyle/>
          <a:p>
            <a:r>
              <a:rPr lang="en-US" sz="1100" dirty="0" err="1"/>
              <a:t>Nfl</a:t>
            </a:r>
            <a:r>
              <a:rPr lang="en-US" sz="1100" dirty="0"/>
              <a:t> Mean and SD in original scale and log scale for placebo subjects at baseline. </a:t>
            </a:r>
          </a:p>
          <a:p>
            <a:r>
              <a:rPr lang="en-US" sz="1100" dirty="0"/>
              <a:t>* Faster progression group, P: Placebo, B: Baseline </a:t>
            </a:r>
          </a:p>
        </p:txBody>
      </p:sp>
      <p:pic>
        <p:nvPicPr>
          <p:cNvPr id="10" name="Picture 9">
            <a:extLst>
              <a:ext uri="{FF2B5EF4-FFF2-40B4-BE49-F238E27FC236}">
                <a16:creationId xmlns:a16="http://schemas.microsoft.com/office/drawing/2014/main" id="{2C92D3EB-C7A1-95F6-B2CE-ACAA76AC007D}"/>
              </a:ext>
            </a:extLst>
          </p:cNvPr>
          <p:cNvPicPr>
            <a:picLocks noChangeAspect="1"/>
          </p:cNvPicPr>
          <p:nvPr/>
        </p:nvPicPr>
        <p:blipFill>
          <a:blip r:embed="rId2"/>
          <a:stretch>
            <a:fillRect/>
          </a:stretch>
        </p:blipFill>
        <p:spPr>
          <a:xfrm>
            <a:off x="6583054" y="3405906"/>
            <a:ext cx="4411049" cy="2176882"/>
          </a:xfrm>
          <a:prstGeom prst="rect">
            <a:avLst/>
          </a:prstGeom>
        </p:spPr>
      </p:pic>
      <p:sp>
        <p:nvSpPr>
          <p:cNvPr id="11" name="TextBox 10">
            <a:extLst>
              <a:ext uri="{FF2B5EF4-FFF2-40B4-BE49-F238E27FC236}">
                <a16:creationId xmlns:a16="http://schemas.microsoft.com/office/drawing/2014/main" id="{79A9411A-13B9-3A59-F581-32989ACE2B5B}"/>
              </a:ext>
            </a:extLst>
          </p:cNvPr>
          <p:cNvSpPr txBox="1"/>
          <p:nvPr/>
        </p:nvSpPr>
        <p:spPr>
          <a:xfrm>
            <a:off x="6658781" y="5490951"/>
            <a:ext cx="4703280" cy="261610"/>
          </a:xfrm>
          <a:prstGeom prst="rect">
            <a:avLst/>
          </a:prstGeom>
          <a:noFill/>
        </p:spPr>
        <p:txBody>
          <a:bodyPr wrap="square" rtlCol="0">
            <a:spAutoFit/>
          </a:bodyPr>
          <a:lstStyle/>
          <a:p>
            <a:r>
              <a:rPr lang="en-US" sz="1100"/>
              <a:t>Change in </a:t>
            </a:r>
            <a:r>
              <a:rPr lang="en-US" sz="1100" err="1"/>
              <a:t>NfL</a:t>
            </a:r>
            <a:r>
              <a:rPr lang="en-US" sz="1100"/>
              <a:t> for different dose levels at day 169 in </a:t>
            </a:r>
            <a:r>
              <a:rPr lang="en-US" sz="1100" err="1"/>
              <a:t>tofersen</a:t>
            </a:r>
            <a:r>
              <a:rPr lang="en-US" sz="1100"/>
              <a:t> phase 1/2 study</a:t>
            </a:r>
          </a:p>
        </p:txBody>
      </p:sp>
      <p:sp>
        <p:nvSpPr>
          <p:cNvPr id="12" name="TextBox 11">
            <a:extLst>
              <a:ext uri="{FF2B5EF4-FFF2-40B4-BE49-F238E27FC236}">
                <a16:creationId xmlns:a16="http://schemas.microsoft.com/office/drawing/2014/main" id="{AEC4F652-5199-A819-4ECD-CCD713E322F4}"/>
              </a:ext>
            </a:extLst>
          </p:cNvPr>
          <p:cNvSpPr txBox="1"/>
          <p:nvPr/>
        </p:nvSpPr>
        <p:spPr>
          <a:xfrm>
            <a:off x="606078" y="5769074"/>
            <a:ext cx="11274772" cy="646331"/>
          </a:xfrm>
          <a:prstGeom prst="rect">
            <a:avLst/>
          </a:prstGeom>
          <a:noFill/>
        </p:spPr>
        <p:txBody>
          <a:bodyPr wrap="square" rtlCol="0">
            <a:spAutoFit/>
          </a:bodyPr>
          <a:lstStyle/>
          <a:p>
            <a:r>
              <a:rPr lang="en-US" dirty="0"/>
              <a:t>A reduction of 30% reduction with for most effective dose cohort is reasonable assumption for sample size evaluation. We used SD = 0.11 following </a:t>
            </a:r>
            <a:r>
              <a:rPr lang="en-US" dirty="0" err="1"/>
              <a:t>Tofersen</a:t>
            </a:r>
            <a:r>
              <a:rPr lang="en-US" dirty="0"/>
              <a:t> Phase 1/2.</a:t>
            </a:r>
          </a:p>
        </p:txBody>
      </p:sp>
    </p:spTree>
    <p:extLst>
      <p:ext uri="{BB962C8B-B14F-4D97-AF65-F5344CB8AC3E}">
        <p14:creationId xmlns:p14="http://schemas.microsoft.com/office/powerpoint/2010/main" val="2032632129"/>
      </p:ext>
    </p:extLst>
  </p:cSld>
  <p:clrMapOvr>
    <a:masterClrMapping/>
  </p:clrMapOvr>
  <p:transition spd="slow">
    <p:push dir="u"/>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D4998BF-ADD5-608D-BC08-731467443DF2}"/>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5F96BEC9-E90D-8932-2B27-B44F75F86987}"/>
              </a:ext>
            </a:extLst>
          </p:cNvPr>
          <p:cNvSpPr>
            <a:spLocks noGrp="1"/>
          </p:cNvSpPr>
          <p:nvPr>
            <p:ph type="title"/>
          </p:nvPr>
        </p:nvSpPr>
        <p:spPr>
          <a:xfrm>
            <a:off x="606078" y="161605"/>
            <a:ext cx="9940253" cy="685801"/>
          </a:xfrm>
        </p:spPr>
        <p:txBody>
          <a:bodyPr vert="horz" lIns="0" tIns="0" rIns="0" bIns="0" rtlCol="0" anchor="ctr">
            <a:normAutofit/>
          </a:bodyPr>
          <a:lstStyle/>
          <a:p>
            <a:r>
              <a:rPr lang="en-US"/>
              <a:t>Sample size and Justification UNC13A Phase 1/2</a:t>
            </a:r>
          </a:p>
        </p:txBody>
      </p:sp>
      <p:sp>
        <p:nvSpPr>
          <p:cNvPr id="3" name="Footer Placeholder 2">
            <a:extLst>
              <a:ext uri="{FF2B5EF4-FFF2-40B4-BE49-F238E27FC236}">
                <a16:creationId xmlns:a16="http://schemas.microsoft.com/office/drawing/2014/main" id="{F2DF3A3C-6549-D5F2-C724-794795575B8A}"/>
              </a:ext>
            </a:extLst>
          </p:cNvPr>
          <p:cNvSpPr>
            <a:spLocks noGrp="1"/>
          </p:cNvSpPr>
          <p:nvPr>
            <p:ph type="ftr" sz="quarter" idx="3"/>
          </p:nvPr>
        </p:nvSpPr>
        <p:spPr>
          <a:xfrm>
            <a:off x="7766050" y="6523001"/>
            <a:ext cx="4114800" cy="196131"/>
          </a:xfrm>
        </p:spPr>
        <p:txBody>
          <a:bodyPr vert="horz" lIns="91440" tIns="45720" rIns="0" bIns="45720" rtlCol="0" anchor="ctr">
            <a:normAutofit/>
          </a:bodyPr>
          <a:lstStyle/>
          <a:p>
            <a:pPr>
              <a:lnSpc>
                <a:spcPct val="90000"/>
              </a:lnSpc>
              <a:spcAft>
                <a:spcPts val="600"/>
              </a:spcAft>
            </a:pPr>
            <a:r>
              <a:rPr lang="en-JP" sz="700" b="1" kern="1200" spc="100" baseline="0">
                <a:latin typeface="+mn-lt"/>
                <a:ea typeface="+mn-ea"/>
                <a:cs typeface="+mn-cs"/>
              </a:rPr>
              <a:t> </a:t>
            </a:r>
          </a:p>
        </p:txBody>
      </p:sp>
      <p:sp>
        <p:nvSpPr>
          <p:cNvPr id="5" name="Slide Number Placeholder 4">
            <a:extLst>
              <a:ext uri="{FF2B5EF4-FFF2-40B4-BE49-F238E27FC236}">
                <a16:creationId xmlns:a16="http://schemas.microsoft.com/office/drawing/2014/main" id="{AB5682C7-0A1C-56A7-9E01-21D6D452E960}"/>
              </a:ext>
            </a:extLst>
          </p:cNvPr>
          <p:cNvSpPr>
            <a:spLocks noGrp="1"/>
          </p:cNvSpPr>
          <p:nvPr>
            <p:ph type="sldNum" sz="quarter" idx="4"/>
          </p:nvPr>
        </p:nvSpPr>
        <p:spPr>
          <a:xfrm>
            <a:off x="311150" y="6523001"/>
            <a:ext cx="294928" cy="196131"/>
          </a:xfrm>
        </p:spPr>
        <p:txBody>
          <a:bodyPr vert="horz" lIns="0" tIns="45710" rIns="0" bIns="45710" rtlCol="0" anchor="ctr">
            <a:normAutofit/>
          </a:bodyPr>
          <a:lstStyle/>
          <a:p>
            <a:pPr defTabSz="1218810">
              <a:lnSpc>
                <a:spcPct val="90000"/>
              </a:lnSpc>
              <a:spcAft>
                <a:spcPts val="600"/>
              </a:spcAft>
            </a:pPr>
            <a:fld id="{E9B57936-92EF-4126-AE48-1D9D36D15E98}" type="slidenum">
              <a:rPr lang="ja-JP" altLang="en-US" sz="700" smtClean="0"/>
              <a:pPr defTabSz="1218810">
                <a:lnSpc>
                  <a:spcPct val="90000"/>
                </a:lnSpc>
                <a:spcAft>
                  <a:spcPts val="600"/>
                </a:spcAft>
              </a:pPr>
              <a:t>4</a:t>
            </a:fld>
            <a:endParaRPr lang="ja-JP" altLang="en-US" sz="700"/>
          </a:p>
        </p:txBody>
      </p:sp>
      <p:sp>
        <p:nvSpPr>
          <p:cNvPr id="20" name="Text Placeholder 6">
            <a:extLst>
              <a:ext uri="{FF2B5EF4-FFF2-40B4-BE49-F238E27FC236}">
                <a16:creationId xmlns:a16="http://schemas.microsoft.com/office/drawing/2014/main" id="{74CB0D30-A1CB-E87A-4689-C68C7C9AC15F}"/>
              </a:ext>
            </a:extLst>
          </p:cNvPr>
          <p:cNvSpPr>
            <a:spLocks noGrp="1"/>
          </p:cNvSpPr>
          <p:nvPr>
            <p:ph type="body" sz="quarter" idx="16"/>
          </p:nvPr>
        </p:nvSpPr>
        <p:spPr>
          <a:xfrm>
            <a:off x="606078" y="6523001"/>
            <a:ext cx="6968348" cy="205613"/>
          </a:xfrm>
        </p:spPr>
        <p:txBody>
          <a:bodyPr/>
          <a:lstStyle/>
          <a:p>
            <a:endParaRPr lang="en-US"/>
          </a:p>
        </p:txBody>
      </p:sp>
      <p:sp>
        <p:nvSpPr>
          <p:cNvPr id="2" name="Text Placeholder 1">
            <a:extLst>
              <a:ext uri="{FF2B5EF4-FFF2-40B4-BE49-F238E27FC236}">
                <a16:creationId xmlns:a16="http://schemas.microsoft.com/office/drawing/2014/main" id="{A9BFF92B-9166-AB57-FAC7-EA35236D3D1F}"/>
              </a:ext>
            </a:extLst>
          </p:cNvPr>
          <p:cNvSpPr>
            <a:spLocks noGrp="1"/>
          </p:cNvSpPr>
          <p:nvPr>
            <p:ph type="body" sz="quarter" idx="23"/>
          </p:nvPr>
        </p:nvSpPr>
        <p:spPr>
          <a:xfrm>
            <a:off x="311149" y="1093767"/>
            <a:ext cx="11603669" cy="272786"/>
          </a:xfrm>
        </p:spPr>
        <p:txBody>
          <a:bodyPr vert="horz" lIns="0" tIns="0" rIns="0" bIns="0" numCol="1" rtlCol="0">
            <a:normAutofit/>
          </a:bodyPr>
          <a:lstStyle/>
          <a:p>
            <a:pPr>
              <a:lnSpc>
                <a:spcPct val="90000"/>
              </a:lnSpc>
            </a:pPr>
            <a:endParaRPr kumimoji="1" lang="en-US" sz="1400" b="1" i="0" kern="1200" baseline="0">
              <a:latin typeface="Calibri" panose="020F0502020204030204" pitchFamily="34" charset="0"/>
              <a:ea typeface="メイリオ" pitchFamily="50" charset="-128"/>
              <a:cs typeface="Calibri" pitchFamily="34" charset="0"/>
            </a:endParaRPr>
          </a:p>
          <a:p>
            <a:pPr>
              <a:lnSpc>
                <a:spcPct val="90000"/>
              </a:lnSpc>
            </a:pPr>
            <a:endParaRPr kumimoji="1" lang="en-US" sz="1400" b="1" i="0" kern="1200" baseline="0">
              <a:latin typeface="Calibri" panose="020F0502020204030204" pitchFamily="34" charset="0"/>
              <a:ea typeface="メイリオ" pitchFamily="50" charset="-128"/>
              <a:cs typeface="Calibri" pitchFamily="34" charset="0"/>
            </a:endParaRPr>
          </a:p>
          <a:p>
            <a:pPr>
              <a:lnSpc>
                <a:spcPct val="90000"/>
              </a:lnSpc>
            </a:pPr>
            <a:endParaRPr kumimoji="1" lang="en-US" sz="1400" b="1" i="0" kern="1200" baseline="0">
              <a:latin typeface="Calibri" panose="020F0502020204030204" pitchFamily="34" charset="0"/>
              <a:ea typeface="メイリオ" pitchFamily="50" charset="-128"/>
              <a:cs typeface="Calibri" pitchFamily="34" charset="0"/>
            </a:endParaRPr>
          </a:p>
          <a:p>
            <a:pPr>
              <a:lnSpc>
                <a:spcPct val="90000"/>
              </a:lnSpc>
            </a:pPr>
            <a:endParaRPr kumimoji="1" lang="en-US" sz="1400" b="1" i="0" kern="1200" baseline="0">
              <a:latin typeface="Calibri" panose="020F0502020204030204" pitchFamily="34" charset="0"/>
              <a:ea typeface="メイリオ" pitchFamily="50" charset="-128"/>
              <a:cs typeface="Calibri" pitchFamily="34" charset="0"/>
            </a:endParaRPr>
          </a:p>
        </p:txBody>
      </p:sp>
      <p:graphicFrame>
        <p:nvGraphicFramePr>
          <p:cNvPr id="13" name="Table 12">
            <a:extLst>
              <a:ext uri="{FF2B5EF4-FFF2-40B4-BE49-F238E27FC236}">
                <a16:creationId xmlns:a16="http://schemas.microsoft.com/office/drawing/2014/main" id="{56E8B90F-4ABD-7699-60C7-E2166D682ABC}"/>
              </a:ext>
            </a:extLst>
          </p:cNvPr>
          <p:cNvGraphicFramePr>
            <a:graphicFrameLocks noGrp="1"/>
          </p:cNvGraphicFramePr>
          <p:nvPr/>
        </p:nvGraphicFramePr>
        <p:xfrm>
          <a:off x="7419387" y="1230160"/>
          <a:ext cx="3798541" cy="1548270"/>
        </p:xfrm>
        <a:graphic>
          <a:graphicData uri="http://schemas.openxmlformats.org/drawingml/2006/table">
            <a:tbl>
              <a:tblPr firstRow="1" bandRow="1">
                <a:tableStyleId>{8EC20E35-A176-4012-BC5E-935CFFF8708E}</a:tableStyleId>
              </a:tblPr>
              <a:tblGrid>
                <a:gridCol w="983386">
                  <a:extLst>
                    <a:ext uri="{9D8B030D-6E8A-4147-A177-3AD203B41FA5}">
                      <a16:colId xmlns:a16="http://schemas.microsoft.com/office/drawing/2014/main" val="708067999"/>
                    </a:ext>
                  </a:extLst>
                </a:gridCol>
                <a:gridCol w="1033059">
                  <a:extLst>
                    <a:ext uri="{9D8B030D-6E8A-4147-A177-3AD203B41FA5}">
                      <a16:colId xmlns:a16="http://schemas.microsoft.com/office/drawing/2014/main" val="676783360"/>
                    </a:ext>
                  </a:extLst>
                </a:gridCol>
                <a:gridCol w="891048">
                  <a:extLst>
                    <a:ext uri="{9D8B030D-6E8A-4147-A177-3AD203B41FA5}">
                      <a16:colId xmlns:a16="http://schemas.microsoft.com/office/drawing/2014/main" val="4014483703"/>
                    </a:ext>
                  </a:extLst>
                </a:gridCol>
                <a:gridCol w="891048">
                  <a:extLst>
                    <a:ext uri="{9D8B030D-6E8A-4147-A177-3AD203B41FA5}">
                      <a16:colId xmlns:a16="http://schemas.microsoft.com/office/drawing/2014/main" val="746705787"/>
                    </a:ext>
                  </a:extLst>
                </a:gridCol>
              </a:tblGrid>
              <a:tr h="182880">
                <a:tc>
                  <a:txBody>
                    <a:bodyPr/>
                    <a:lstStyle/>
                    <a:p>
                      <a:pPr algn="ctr" fontAlgn="b"/>
                      <a:r>
                        <a:rPr lang="en-US" sz="1600" u="none" strike="noStrike">
                          <a:effectLst/>
                        </a:rPr>
                        <a:t>Cohort</a:t>
                      </a:r>
                      <a:endParaRPr lang="en-US" sz="1600" b="0" i="0" u="none" strike="noStrike">
                        <a:solidFill>
                          <a:srgbClr val="000000"/>
                        </a:solidFill>
                        <a:effectLst/>
                        <a:latin typeface="Aptos Narrow" panose="020B0004020202020204" pitchFamily="34" charset="0"/>
                      </a:endParaRPr>
                    </a:p>
                  </a:txBody>
                  <a:tcPr marL="14205" marR="14205" marT="14205" marB="0" anchor="b"/>
                </a:tc>
                <a:tc>
                  <a:txBody>
                    <a:bodyPr/>
                    <a:lstStyle/>
                    <a:p>
                      <a:pPr algn="ctr" fontAlgn="b"/>
                      <a:r>
                        <a:rPr lang="en-US" sz="1600" u="none" strike="noStrike" dirty="0">
                          <a:effectLst/>
                        </a:rPr>
                        <a:t>Treatment</a:t>
                      </a:r>
                      <a:endParaRPr lang="en-US" sz="1600" b="0" i="0" u="none" strike="noStrike" dirty="0">
                        <a:solidFill>
                          <a:srgbClr val="000000"/>
                        </a:solidFill>
                        <a:effectLst/>
                        <a:latin typeface="Aptos Narrow" panose="020B0004020202020204" pitchFamily="34" charset="0"/>
                      </a:endParaRPr>
                    </a:p>
                  </a:txBody>
                  <a:tcPr marL="14205" marR="14205" marT="14205" marB="0" anchor="b"/>
                </a:tc>
                <a:tc>
                  <a:txBody>
                    <a:bodyPr/>
                    <a:lstStyle/>
                    <a:p>
                      <a:pPr algn="ctr" fontAlgn="b"/>
                      <a:r>
                        <a:rPr lang="en-US" sz="1600" u="none" strike="noStrike">
                          <a:effectLst/>
                        </a:rPr>
                        <a:t>Placebo</a:t>
                      </a:r>
                      <a:endParaRPr lang="en-US" sz="1600" b="0" i="0" u="none" strike="noStrike">
                        <a:solidFill>
                          <a:srgbClr val="000000"/>
                        </a:solidFill>
                        <a:effectLst/>
                        <a:latin typeface="Aptos Narrow" panose="020B0004020202020204" pitchFamily="34" charset="0"/>
                      </a:endParaRPr>
                    </a:p>
                  </a:txBody>
                  <a:tcPr marL="14205" marR="14205" marT="14205" marB="0" anchor="b"/>
                </a:tc>
                <a:tc>
                  <a:txBody>
                    <a:bodyPr/>
                    <a:lstStyle/>
                    <a:p>
                      <a:pPr algn="ctr" fontAlgn="b"/>
                      <a:r>
                        <a:rPr lang="en-US" sz="1600" u="none" strike="noStrike">
                          <a:effectLst/>
                        </a:rPr>
                        <a:t>Total</a:t>
                      </a:r>
                      <a:endParaRPr lang="en-US" sz="1600" b="0" i="0" u="none" strike="noStrike">
                        <a:solidFill>
                          <a:srgbClr val="000000"/>
                        </a:solidFill>
                        <a:effectLst/>
                        <a:latin typeface="Aptos Narrow" panose="020B0004020202020204" pitchFamily="34" charset="0"/>
                      </a:endParaRPr>
                    </a:p>
                  </a:txBody>
                  <a:tcPr marL="14205" marR="14205" marT="14205" marB="0" anchor="b"/>
                </a:tc>
                <a:extLst>
                  <a:ext uri="{0D108BD9-81ED-4DB2-BD59-A6C34878D82A}">
                    <a16:rowId xmlns:a16="http://schemas.microsoft.com/office/drawing/2014/main" val="3039865527"/>
                  </a:ext>
                </a:extLst>
              </a:tr>
              <a:tr h="182880">
                <a:tc>
                  <a:txBody>
                    <a:bodyPr/>
                    <a:lstStyle/>
                    <a:p>
                      <a:pPr algn="ctr" fontAlgn="b"/>
                      <a:r>
                        <a:rPr lang="en-US" sz="1600" u="none" strike="noStrike" dirty="0">
                          <a:effectLst/>
                        </a:rPr>
                        <a:t>A (Lowest)</a:t>
                      </a:r>
                      <a:endParaRPr lang="en-US" sz="1600" b="0" i="0" u="none" strike="noStrike" dirty="0">
                        <a:solidFill>
                          <a:srgbClr val="000000"/>
                        </a:solidFill>
                        <a:effectLst/>
                        <a:latin typeface="Aptos Narrow" panose="020B0004020202020204" pitchFamily="34" charset="0"/>
                      </a:endParaRPr>
                    </a:p>
                  </a:txBody>
                  <a:tcPr marL="14205" marR="14205" marT="14205" marB="0" anchor="b"/>
                </a:tc>
                <a:tc>
                  <a:txBody>
                    <a:bodyPr/>
                    <a:lstStyle/>
                    <a:p>
                      <a:pPr algn="ctr" fontAlgn="b"/>
                      <a:r>
                        <a:rPr lang="en-US" sz="1600" u="none" strike="noStrike">
                          <a:effectLst/>
                        </a:rPr>
                        <a:t>6</a:t>
                      </a:r>
                      <a:endParaRPr lang="en-US" sz="1600" b="0" i="0" u="none" strike="noStrike">
                        <a:solidFill>
                          <a:srgbClr val="000000"/>
                        </a:solidFill>
                        <a:effectLst/>
                        <a:latin typeface="Aptos Narrow" panose="020B0004020202020204" pitchFamily="34" charset="0"/>
                      </a:endParaRPr>
                    </a:p>
                  </a:txBody>
                  <a:tcPr marL="14205" marR="14205" marT="14205" marB="0" anchor="b"/>
                </a:tc>
                <a:tc>
                  <a:txBody>
                    <a:bodyPr/>
                    <a:lstStyle/>
                    <a:p>
                      <a:pPr algn="ctr" fontAlgn="b"/>
                      <a:r>
                        <a:rPr lang="en-US" sz="1600" u="none" strike="noStrike">
                          <a:effectLst/>
                        </a:rPr>
                        <a:t>2</a:t>
                      </a:r>
                      <a:endParaRPr lang="en-US" sz="1600" b="0" i="0" u="none" strike="noStrike">
                        <a:solidFill>
                          <a:srgbClr val="000000"/>
                        </a:solidFill>
                        <a:effectLst/>
                        <a:latin typeface="Aptos Narrow" panose="020B0004020202020204" pitchFamily="34" charset="0"/>
                      </a:endParaRPr>
                    </a:p>
                  </a:txBody>
                  <a:tcPr marL="14205" marR="14205" marT="14205" marB="0" anchor="b"/>
                </a:tc>
                <a:tc>
                  <a:txBody>
                    <a:bodyPr/>
                    <a:lstStyle/>
                    <a:p>
                      <a:pPr algn="ctr" fontAlgn="b"/>
                      <a:r>
                        <a:rPr lang="en-US" sz="1600" u="none" strike="noStrike" dirty="0">
                          <a:effectLst/>
                        </a:rPr>
                        <a:t>8</a:t>
                      </a:r>
                      <a:endParaRPr lang="en-US" sz="1600" b="0" i="0" u="none" strike="noStrike" dirty="0">
                        <a:solidFill>
                          <a:srgbClr val="000000"/>
                        </a:solidFill>
                        <a:effectLst/>
                        <a:latin typeface="Aptos Narrow" panose="020B0004020202020204" pitchFamily="34" charset="0"/>
                      </a:endParaRPr>
                    </a:p>
                  </a:txBody>
                  <a:tcPr marL="14205" marR="14205" marT="14205" marB="0" anchor="b"/>
                </a:tc>
                <a:extLst>
                  <a:ext uri="{0D108BD9-81ED-4DB2-BD59-A6C34878D82A}">
                    <a16:rowId xmlns:a16="http://schemas.microsoft.com/office/drawing/2014/main" val="1579257901"/>
                  </a:ext>
                </a:extLst>
              </a:tr>
              <a:tr h="182880">
                <a:tc>
                  <a:txBody>
                    <a:bodyPr/>
                    <a:lstStyle/>
                    <a:p>
                      <a:pPr algn="ctr" fontAlgn="b"/>
                      <a:r>
                        <a:rPr lang="en-US" sz="1600" u="none" strike="noStrike" dirty="0">
                          <a:effectLst/>
                        </a:rPr>
                        <a:t>B (second)</a:t>
                      </a:r>
                      <a:endParaRPr lang="en-US" sz="1600" b="0" i="0" u="none" strike="noStrike" dirty="0">
                        <a:solidFill>
                          <a:srgbClr val="000000"/>
                        </a:solidFill>
                        <a:effectLst/>
                        <a:latin typeface="Aptos Narrow" panose="020B0004020202020204" pitchFamily="34" charset="0"/>
                      </a:endParaRPr>
                    </a:p>
                  </a:txBody>
                  <a:tcPr marL="14205" marR="14205" marT="14205" marB="0" anchor="b"/>
                </a:tc>
                <a:tc>
                  <a:txBody>
                    <a:bodyPr/>
                    <a:lstStyle/>
                    <a:p>
                      <a:pPr algn="ctr" fontAlgn="b"/>
                      <a:r>
                        <a:rPr lang="en-US" sz="1600" u="none" strike="noStrike">
                          <a:effectLst/>
                        </a:rPr>
                        <a:t>6</a:t>
                      </a:r>
                      <a:endParaRPr lang="en-US" sz="1600" b="0" i="0" u="none" strike="noStrike">
                        <a:solidFill>
                          <a:srgbClr val="000000"/>
                        </a:solidFill>
                        <a:effectLst/>
                        <a:latin typeface="Aptos Narrow" panose="020B0004020202020204" pitchFamily="34" charset="0"/>
                      </a:endParaRPr>
                    </a:p>
                  </a:txBody>
                  <a:tcPr marL="14205" marR="14205" marT="14205" marB="0" anchor="b"/>
                </a:tc>
                <a:tc>
                  <a:txBody>
                    <a:bodyPr/>
                    <a:lstStyle/>
                    <a:p>
                      <a:pPr algn="ctr" fontAlgn="b"/>
                      <a:r>
                        <a:rPr lang="en-US" sz="1600" u="none" strike="noStrike">
                          <a:effectLst/>
                        </a:rPr>
                        <a:t>2</a:t>
                      </a:r>
                      <a:endParaRPr lang="en-US" sz="1600" b="0" i="0" u="none" strike="noStrike">
                        <a:solidFill>
                          <a:srgbClr val="000000"/>
                        </a:solidFill>
                        <a:effectLst/>
                        <a:latin typeface="Aptos Narrow" panose="020B0004020202020204" pitchFamily="34" charset="0"/>
                      </a:endParaRPr>
                    </a:p>
                  </a:txBody>
                  <a:tcPr marL="14205" marR="14205" marT="14205" marB="0" anchor="b"/>
                </a:tc>
                <a:tc>
                  <a:txBody>
                    <a:bodyPr/>
                    <a:lstStyle/>
                    <a:p>
                      <a:pPr algn="ctr" fontAlgn="b"/>
                      <a:r>
                        <a:rPr lang="en-US" sz="1600" u="none" strike="noStrike">
                          <a:effectLst/>
                        </a:rPr>
                        <a:t>8</a:t>
                      </a:r>
                      <a:endParaRPr lang="en-US" sz="1600" b="0" i="0" u="none" strike="noStrike">
                        <a:solidFill>
                          <a:srgbClr val="000000"/>
                        </a:solidFill>
                        <a:effectLst/>
                        <a:latin typeface="Aptos Narrow" panose="020B0004020202020204" pitchFamily="34" charset="0"/>
                      </a:endParaRPr>
                    </a:p>
                  </a:txBody>
                  <a:tcPr marL="14205" marR="14205" marT="14205" marB="0" anchor="b"/>
                </a:tc>
                <a:extLst>
                  <a:ext uri="{0D108BD9-81ED-4DB2-BD59-A6C34878D82A}">
                    <a16:rowId xmlns:a16="http://schemas.microsoft.com/office/drawing/2014/main" val="3676388307"/>
                  </a:ext>
                </a:extLst>
              </a:tr>
              <a:tr h="182880">
                <a:tc>
                  <a:txBody>
                    <a:bodyPr/>
                    <a:lstStyle/>
                    <a:p>
                      <a:pPr algn="ctr" fontAlgn="b"/>
                      <a:r>
                        <a:rPr lang="en-US" sz="1600" u="none" strike="noStrike" dirty="0">
                          <a:effectLst/>
                        </a:rPr>
                        <a:t>C (Third)</a:t>
                      </a:r>
                      <a:endParaRPr lang="en-US" sz="1600" b="0" i="0" u="none" strike="noStrike" dirty="0">
                        <a:solidFill>
                          <a:srgbClr val="000000"/>
                        </a:solidFill>
                        <a:effectLst/>
                        <a:latin typeface="Aptos Narrow" panose="020B0004020202020204" pitchFamily="34" charset="0"/>
                      </a:endParaRPr>
                    </a:p>
                  </a:txBody>
                  <a:tcPr marL="14205" marR="14205" marT="14205" marB="0" anchor="b"/>
                </a:tc>
                <a:tc>
                  <a:txBody>
                    <a:bodyPr/>
                    <a:lstStyle/>
                    <a:p>
                      <a:pPr algn="ctr" fontAlgn="b"/>
                      <a:r>
                        <a:rPr lang="en-US" sz="1600" u="none" strike="noStrike" dirty="0">
                          <a:effectLst/>
                        </a:rPr>
                        <a:t>12</a:t>
                      </a:r>
                      <a:endParaRPr lang="en-US" sz="1600" b="0" i="0" u="none" strike="noStrike" dirty="0">
                        <a:solidFill>
                          <a:srgbClr val="000000"/>
                        </a:solidFill>
                        <a:effectLst/>
                        <a:latin typeface="Aptos Narrow" panose="020B0004020202020204" pitchFamily="34" charset="0"/>
                      </a:endParaRPr>
                    </a:p>
                  </a:txBody>
                  <a:tcPr marL="14205" marR="14205" marT="14205" marB="0" anchor="b"/>
                </a:tc>
                <a:tc>
                  <a:txBody>
                    <a:bodyPr/>
                    <a:lstStyle/>
                    <a:p>
                      <a:pPr algn="ctr" fontAlgn="b"/>
                      <a:r>
                        <a:rPr lang="en-US" sz="1600" u="none" strike="noStrike" dirty="0">
                          <a:effectLst/>
                        </a:rPr>
                        <a:t>4</a:t>
                      </a:r>
                      <a:endParaRPr lang="en-US" sz="1600" b="0" i="0" u="none" strike="noStrike" dirty="0">
                        <a:solidFill>
                          <a:srgbClr val="000000"/>
                        </a:solidFill>
                        <a:effectLst/>
                        <a:latin typeface="Aptos Narrow" panose="020B0004020202020204" pitchFamily="34" charset="0"/>
                      </a:endParaRPr>
                    </a:p>
                  </a:txBody>
                  <a:tcPr marL="14205" marR="14205" marT="14205" marB="0" anchor="b"/>
                </a:tc>
                <a:tc>
                  <a:txBody>
                    <a:bodyPr/>
                    <a:lstStyle/>
                    <a:p>
                      <a:pPr algn="ctr" fontAlgn="b"/>
                      <a:r>
                        <a:rPr lang="en-US" sz="1600" u="none" strike="noStrike" dirty="0">
                          <a:effectLst/>
                        </a:rPr>
                        <a:t>16</a:t>
                      </a:r>
                      <a:endParaRPr lang="en-US" sz="1600" b="0" i="0" u="none" strike="noStrike" dirty="0">
                        <a:solidFill>
                          <a:srgbClr val="000000"/>
                        </a:solidFill>
                        <a:effectLst/>
                        <a:latin typeface="Aptos Narrow" panose="020B0004020202020204" pitchFamily="34" charset="0"/>
                      </a:endParaRPr>
                    </a:p>
                  </a:txBody>
                  <a:tcPr marL="14205" marR="14205" marT="14205" marB="0" anchor="b"/>
                </a:tc>
                <a:extLst>
                  <a:ext uri="{0D108BD9-81ED-4DB2-BD59-A6C34878D82A}">
                    <a16:rowId xmlns:a16="http://schemas.microsoft.com/office/drawing/2014/main" val="2213552081"/>
                  </a:ext>
                </a:extLst>
              </a:tr>
              <a:tr h="182880">
                <a:tc>
                  <a:txBody>
                    <a:bodyPr/>
                    <a:lstStyle/>
                    <a:p>
                      <a:pPr algn="ctr" fontAlgn="b"/>
                      <a:r>
                        <a:rPr lang="en-US" sz="1600" u="none" strike="noStrike" dirty="0">
                          <a:effectLst/>
                        </a:rPr>
                        <a:t>D (Highest)</a:t>
                      </a:r>
                      <a:endParaRPr lang="en-US" sz="1600" b="0" i="0" u="none" strike="noStrike" dirty="0">
                        <a:solidFill>
                          <a:srgbClr val="000000"/>
                        </a:solidFill>
                        <a:effectLst/>
                        <a:latin typeface="Aptos Narrow" panose="020B0004020202020204" pitchFamily="34" charset="0"/>
                      </a:endParaRPr>
                    </a:p>
                  </a:txBody>
                  <a:tcPr marL="14205" marR="14205" marT="14205" marB="0" anchor="b"/>
                </a:tc>
                <a:tc>
                  <a:txBody>
                    <a:bodyPr/>
                    <a:lstStyle/>
                    <a:p>
                      <a:pPr algn="ctr" fontAlgn="b"/>
                      <a:r>
                        <a:rPr lang="en-US" sz="1600" u="none" strike="noStrike" dirty="0">
                          <a:effectLst/>
                        </a:rPr>
                        <a:t>12</a:t>
                      </a:r>
                      <a:endParaRPr lang="en-US" sz="1600" b="0" i="0" u="none" strike="noStrike" dirty="0">
                        <a:solidFill>
                          <a:srgbClr val="000000"/>
                        </a:solidFill>
                        <a:effectLst/>
                        <a:latin typeface="Aptos Narrow" panose="020B0004020202020204" pitchFamily="34" charset="0"/>
                      </a:endParaRPr>
                    </a:p>
                  </a:txBody>
                  <a:tcPr marL="14205" marR="14205" marT="14205" marB="0" anchor="b"/>
                </a:tc>
                <a:tc>
                  <a:txBody>
                    <a:bodyPr/>
                    <a:lstStyle/>
                    <a:p>
                      <a:pPr algn="ctr" fontAlgn="b"/>
                      <a:r>
                        <a:rPr lang="en-US" sz="1600" u="none" strike="noStrike" dirty="0">
                          <a:effectLst/>
                        </a:rPr>
                        <a:t>4</a:t>
                      </a:r>
                      <a:endParaRPr lang="en-US" sz="1600" b="0" i="0" u="none" strike="noStrike" dirty="0">
                        <a:solidFill>
                          <a:srgbClr val="000000"/>
                        </a:solidFill>
                        <a:effectLst/>
                        <a:latin typeface="Aptos Narrow" panose="020B0004020202020204" pitchFamily="34" charset="0"/>
                      </a:endParaRPr>
                    </a:p>
                  </a:txBody>
                  <a:tcPr marL="14205" marR="14205" marT="14205" marB="0" anchor="b"/>
                </a:tc>
                <a:tc>
                  <a:txBody>
                    <a:bodyPr/>
                    <a:lstStyle/>
                    <a:p>
                      <a:pPr algn="ctr" fontAlgn="b"/>
                      <a:r>
                        <a:rPr lang="en-US" sz="1600" u="none" strike="noStrike" dirty="0">
                          <a:effectLst/>
                        </a:rPr>
                        <a:t>16</a:t>
                      </a:r>
                      <a:endParaRPr lang="en-US" sz="1600" b="0" i="0" u="none" strike="noStrike" dirty="0">
                        <a:solidFill>
                          <a:srgbClr val="000000"/>
                        </a:solidFill>
                        <a:effectLst/>
                        <a:latin typeface="Aptos Narrow" panose="020B0004020202020204" pitchFamily="34" charset="0"/>
                      </a:endParaRPr>
                    </a:p>
                  </a:txBody>
                  <a:tcPr marL="14205" marR="14205" marT="14205" marB="0" anchor="b"/>
                </a:tc>
                <a:extLst>
                  <a:ext uri="{0D108BD9-81ED-4DB2-BD59-A6C34878D82A}">
                    <a16:rowId xmlns:a16="http://schemas.microsoft.com/office/drawing/2014/main" val="3351100660"/>
                  </a:ext>
                </a:extLst>
              </a:tr>
              <a:tr h="182880">
                <a:tc>
                  <a:txBody>
                    <a:bodyPr/>
                    <a:lstStyle/>
                    <a:p>
                      <a:pPr algn="ctr" fontAlgn="b"/>
                      <a:r>
                        <a:rPr lang="en-US" sz="1600" u="none" strike="noStrike" dirty="0">
                          <a:effectLst/>
                        </a:rPr>
                        <a:t>Total</a:t>
                      </a:r>
                      <a:endParaRPr lang="en-US" sz="1600" b="0" i="0" u="none" strike="noStrike" dirty="0">
                        <a:solidFill>
                          <a:srgbClr val="000000"/>
                        </a:solidFill>
                        <a:effectLst/>
                        <a:latin typeface="Aptos Narrow" panose="020B0004020202020204" pitchFamily="34" charset="0"/>
                      </a:endParaRPr>
                    </a:p>
                  </a:txBody>
                  <a:tcPr marL="14205" marR="14205" marT="14205" marB="0" anchor="b"/>
                </a:tc>
                <a:tc>
                  <a:txBody>
                    <a:bodyPr/>
                    <a:lstStyle/>
                    <a:p>
                      <a:pPr algn="ctr" fontAlgn="b"/>
                      <a:r>
                        <a:rPr lang="en-US" sz="1600" u="none" strike="noStrike" dirty="0">
                          <a:effectLst/>
                        </a:rPr>
                        <a:t>36</a:t>
                      </a:r>
                      <a:endParaRPr lang="en-US" sz="1600" b="0" i="0" u="none" strike="noStrike" dirty="0">
                        <a:solidFill>
                          <a:srgbClr val="000000"/>
                        </a:solidFill>
                        <a:effectLst/>
                        <a:latin typeface="Aptos Narrow" panose="020B0004020202020204" pitchFamily="34" charset="0"/>
                      </a:endParaRPr>
                    </a:p>
                  </a:txBody>
                  <a:tcPr marL="14205" marR="14205" marT="14205" marB="0" anchor="b"/>
                </a:tc>
                <a:tc>
                  <a:txBody>
                    <a:bodyPr/>
                    <a:lstStyle/>
                    <a:p>
                      <a:pPr algn="ctr" fontAlgn="b"/>
                      <a:r>
                        <a:rPr lang="en-US" sz="1600" u="none" strike="noStrike" dirty="0">
                          <a:effectLst/>
                        </a:rPr>
                        <a:t>12</a:t>
                      </a:r>
                      <a:endParaRPr lang="en-US" sz="1600" b="0" i="0" u="none" strike="noStrike" dirty="0">
                        <a:solidFill>
                          <a:srgbClr val="000000"/>
                        </a:solidFill>
                        <a:effectLst/>
                        <a:latin typeface="Aptos Narrow" panose="020B0004020202020204" pitchFamily="34" charset="0"/>
                      </a:endParaRPr>
                    </a:p>
                  </a:txBody>
                  <a:tcPr marL="14205" marR="14205" marT="14205" marB="0" anchor="b"/>
                </a:tc>
                <a:tc>
                  <a:txBody>
                    <a:bodyPr/>
                    <a:lstStyle/>
                    <a:p>
                      <a:pPr algn="ctr" fontAlgn="b"/>
                      <a:r>
                        <a:rPr lang="en-US" sz="1600" u="none" strike="noStrike" dirty="0">
                          <a:effectLst/>
                        </a:rPr>
                        <a:t>48</a:t>
                      </a:r>
                      <a:endParaRPr lang="en-US" sz="1600" b="0" i="0" u="none" strike="noStrike" dirty="0">
                        <a:solidFill>
                          <a:srgbClr val="000000"/>
                        </a:solidFill>
                        <a:effectLst/>
                        <a:latin typeface="Aptos Narrow" panose="020B0004020202020204" pitchFamily="34" charset="0"/>
                      </a:endParaRPr>
                    </a:p>
                  </a:txBody>
                  <a:tcPr marL="14205" marR="14205" marT="14205" marB="0" anchor="b"/>
                </a:tc>
                <a:extLst>
                  <a:ext uri="{0D108BD9-81ED-4DB2-BD59-A6C34878D82A}">
                    <a16:rowId xmlns:a16="http://schemas.microsoft.com/office/drawing/2014/main" val="2359743087"/>
                  </a:ext>
                </a:extLst>
              </a:tr>
            </a:tbl>
          </a:graphicData>
        </a:graphic>
      </p:graphicFrame>
      <p:sp>
        <p:nvSpPr>
          <p:cNvPr id="15" name="TextBox 14">
            <a:extLst>
              <a:ext uri="{FF2B5EF4-FFF2-40B4-BE49-F238E27FC236}">
                <a16:creationId xmlns:a16="http://schemas.microsoft.com/office/drawing/2014/main" id="{99AB1942-0CC9-7452-8901-9CDB58CC3A1B}"/>
              </a:ext>
            </a:extLst>
          </p:cNvPr>
          <p:cNvSpPr txBox="1"/>
          <p:nvPr/>
        </p:nvSpPr>
        <p:spPr>
          <a:xfrm>
            <a:off x="587376" y="1261231"/>
            <a:ext cx="6135122" cy="3754874"/>
          </a:xfrm>
          <a:prstGeom prst="rect">
            <a:avLst/>
          </a:prstGeom>
          <a:noFill/>
        </p:spPr>
        <p:txBody>
          <a:bodyPr wrap="square" lIns="91440" tIns="45720" rIns="91440" bIns="45720" anchor="t">
            <a:spAutoFit/>
          </a:bodyPr>
          <a:lstStyle/>
          <a:p>
            <a:pPr marL="342900" indent="-342900">
              <a:spcBef>
                <a:spcPts val="600"/>
              </a:spcBef>
              <a:spcAft>
                <a:spcPts val="600"/>
              </a:spcAft>
              <a:buFont typeface="Arial" panose="020B0604020202020204" pitchFamily="34" charset="0"/>
              <a:buChar char="•"/>
            </a:pPr>
            <a:r>
              <a:rPr lang="en-US" b="0" i="0" u="none" strike="noStrike" kern="100" baseline="0" dirty="0">
                <a:latin typeface="+mj-lt"/>
              </a:rPr>
              <a:t>48 subjects are planned for the various dose cohorts. The cohort specific sample size are given in the table. 4 additional subject will be considered to account for dropout</a:t>
            </a:r>
          </a:p>
          <a:p>
            <a:pPr marL="342900" indent="-342900">
              <a:spcBef>
                <a:spcPts val="600"/>
              </a:spcBef>
              <a:spcAft>
                <a:spcPts val="600"/>
              </a:spcAft>
              <a:buFont typeface="Arial" panose="020B0604020202020204" pitchFamily="34" charset="0"/>
              <a:buChar char="•"/>
            </a:pPr>
            <a:r>
              <a:rPr lang="en-US" kern="100" dirty="0">
                <a:latin typeface="+mj-lt"/>
              </a:rPr>
              <a:t>Sample size was set with a goal to balance</a:t>
            </a:r>
            <a:endParaRPr lang="en-US" b="0" i="0" u="none" strike="noStrike" kern="100" baseline="0" dirty="0">
              <a:latin typeface="+mj-lt"/>
            </a:endParaRPr>
          </a:p>
          <a:p>
            <a:pPr marL="342900" indent="-342900">
              <a:spcBef>
                <a:spcPts val="600"/>
              </a:spcBef>
              <a:spcAft>
                <a:spcPts val="600"/>
              </a:spcAft>
              <a:buFont typeface="Arial" panose="020B0604020202020204" pitchFamily="34" charset="0"/>
              <a:buChar char="•"/>
            </a:pPr>
            <a:r>
              <a:rPr lang="en-US" b="0" i="0" u="none" strike="noStrike" kern="100" baseline="0" dirty="0">
                <a:latin typeface="+mj-lt"/>
              </a:rPr>
              <a:t>The sample size is determined to following after </a:t>
            </a:r>
            <a:r>
              <a:rPr lang="en-US" b="0" i="0" u="none" strike="noStrike" kern="100" baseline="0" dirty="0" err="1">
                <a:latin typeface="+mj-lt"/>
              </a:rPr>
              <a:t>tofersen</a:t>
            </a:r>
            <a:r>
              <a:rPr lang="en-US" b="0" i="0" u="none" strike="noStrike" kern="100" baseline="0" dirty="0">
                <a:latin typeface="+mj-lt"/>
              </a:rPr>
              <a:t> Phase 1/2 </a:t>
            </a:r>
          </a:p>
          <a:p>
            <a:pPr marL="342900" indent="-342900">
              <a:spcBef>
                <a:spcPts val="600"/>
              </a:spcBef>
              <a:spcAft>
                <a:spcPts val="600"/>
              </a:spcAft>
              <a:buFont typeface="Arial" panose="020B0604020202020204" pitchFamily="34" charset="0"/>
              <a:buChar char="•"/>
            </a:pPr>
            <a:r>
              <a:rPr lang="en-US" b="0" i="0" u="none" strike="noStrike" kern="100" baseline="0" dirty="0">
                <a:latin typeface="+mj-lt"/>
              </a:rPr>
              <a:t>The study anticipates a 30% reduction in </a:t>
            </a:r>
            <a:r>
              <a:rPr lang="en-US" b="0" i="0" u="none" strike="noStrike" kern="100" baseline="0" dirty="0" err="1">
                <a:latin typeface="+mj-lt"/>
              </a:rPr>
              <a:t>NfL</a:t>
            </a:r>
            <a:r>
              <a:rPr lang="en-US" b="0" i="0" u="none" strike="noStrike" kern="100" baseline="0" dirty="0">
                <a:latin typeface="+mj-lt"/>
              </a:rPr>
              <a:t> from baseline in the treated group versus control, with equal SD of 0.11 for both groups.</a:t>
            </a:r>
          </a:p>
          <a:p>
            <a:pPr marL="342900" indent="-342900">
              <a:spcBef>
                <a:spcPts val="600"/>
              </a:spcBef>
              <a:spcAft>
                <a:spcPts val="600"/>
              </a:spcAft>
              <a:buFont typeface="Arial" panose="020B0604020202020204" pitchFamily="34" charset="0"/>
              <a:buChar char="•"/>
            </a:pPr>
            <a:r>
              <a:rPr lang="en-US" b="0" i="0" u="none" strike="noStrike" kern="100" baseline="0" dirty="0">
                <a:latin typeface="+mj-lt"/>
              </a:rPr>
              <a:t>Power analysis (Cohen’s d = -3.2/0.11, alpha = 0.1) shows &gt;90% power to detect </a:t>
            </a:r>
            <a:r>
              <a:rPr lang="en-US" b="0" i="0" u="none" strike="noStrike" kern="100" baseline="0" dirty="0" err="1">
                <a:latin typeface="+mj-lt"/>
              </a:rPr>
              <a:t>NfL</a:t>
            </a:r>
            <a:r>
              <a:rPr lang="en-US" b="0" i="0" u="none" strike="noStrike" kern="100" baseline="0" dirty="0">
                <a:latin typeface="+mj-lt"/>
              </a:rPr>
              <a:t> reduction for all cohorts.</a:t>
            </a:r>
          </a:p>
        </p:txBody>
      </p:sp>
    </p:spTree>
    <p:extLst>
      <p:ext uri="{BB962C8B-B14F-4D97-AF65-F5344CB8AC3E}">
        <p14:creationId xmlns:p14="http://schemas.microsoft.com/office/powerpoint/2010/main" val="4050036800"/>
      </p:ext>
    </p:extLst>
  </p:cSld>
  <p:clrMapOvr>
    <a:masterClrMapping/>
  </p:clrMapOvr>
  <p:transition spd="slow">
    <p:push dir="u"/>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B238F6B-4314-CFF2-5D78-B30A9073DA70}"/>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F5283C00-3420-013E-BD4F-7D367D9D5264}"/>
              </a:ext>
            </a:extLst>
          </p:cNvPr>
          <p:cNvSpPr>
            <a:spLocks noGrp="1"/>
          </p:cNvSpPr>
          <p:nvPr>
            <p:ph type="title"/>
          </p:nvPr>
        </p:nvSpPr>
        <p:spPr>
          <a:xfrm>
            <a:off x="606078" y="161605"/>
            <a:ext cx="9940253" cy="685801"/>
          </a:xfrm>
        </p:spPr>
        <p:txBody>
          <a:bodyPr vert="horz" lIns="0" tIns="0" rIns="0" bIns="0" rtlCol="0" anchor="ctr">
            <a:normAutofit/>
          </a:bodyPr>
          <a:lstStyle/>
          <a:p>
            <a:r>
              <a:rPr lang="en-US" dirty="0"/>
              <a:t>Sample size and Justification UNC13A Phase 1/2</a:t>
            </a:r>
          </a:p>
        </p:txBody>
      </p:sp>
      <p:sp>
        <p:nvSpPr>
          <p:cNvPr id="3" name="Footer Placeholder 2">
            <a:extLst>
              <a:ext uri="{FF2B5EF4-FFF2-40B4-BE49-F238E27FC236}">
                <a16:creationId xmlns:a16="http://schemas.microsoft.com/office/drawing/2014/main" id="{CBB623CF-4995-43B7-E6E3-B53BD929CB32}"/>
              </a:ext>
            </a:extLst>
          </p:cNvPr>
          <p:cNvSpPr>
            <a:spLocks noGrp="1"/>
          </p:cNvSpPr>
          <p:nvPr>
            <p:ph type="ftr" sz="quarter" idx="3"/>
          </p:nvPr>
        </p:nvSpPr>
        <p:spPr>
          <a:xfrm>
            <a:off x="7766050" y="6523001"/>
            <a:ext cx="4114800" cy="196131"/>
          </a:xfrm>
        </p:spPr>
        <p:txBody>
          <a:bodyPr vert="horz" lIns="91440" tIns="45720" rIns="0" bIns="45720" rtlCol="0" anchor="ctr">
            <a:normAutofit/>
          </a:bodyPr>
          <a:lstStyle/>
          <a:p>
            <a:pPr>
              <a:lnSpc>
                <a:spcPct val="90000"/>
              </a:lnSpc>
              <a:spcAft>
                <a:spcPts val="600"/>
              </a:spcAft>
            </a:pPr>
            <a:r>
              <a:rPr lang="en-JP" sz="700" b="1" kern="1200" spc="100" baseline="0">
                <a:latin typeface="+mn-lt"/>
                <a:ea typeface="+mn-ea"/>
                <a:cs typeface="+mn-cs"/>
              </a:rPr>
              <a:t> </a:t>
            </a:r>
          </a:p>
        </p:txBody>
      </p:sp>
      <p:sp>
        <p:nvSpPr>
          <p:cNvPr id="5" name="Slide Number Placeholder 4">
            <a:extLst>
              <a:ext uri="{FF2B5EF4-FFF2-40B4-BE49-F238E27FC236}">
                <a16:creationId xmlns:a16="http://schemas.microsoft.com/office/drawing/2014/main" id="{7AF18A07-C61B-5D3B-9492-9015ECE4B0E8}"/>
              </a:ext>
            </a:extLst>
          </p:cNvPr>
          <p:cNvSpPr>
            <a:spLocks noGrp="1"/>
          </p:cNvSpPr>
          <p:nvPr>
            <p:ph type="sldNum" sz="quarter" idx="4"/>
          </p:nvPr>
        </p:nvSpPr>
        <p:spPr>
          <a:xfrm>
            <a:off x="311150" y="6523001"/>
            <a:ext cx="294928" cy="196131"/>
          </a:xfrm>
        </p:spPr>
        <p:txBody>
          <a:bodyPr vert="horz" lIns="0" tIns="45710" rIns="0" bIns="45710" rtlCol="0" anchor="ctr">
            <a:normAutofit/>
          </a:bodyPr>
          <a:lstStyle/>
          <a:p>
            <a:pPr defTabSz="1218810">
              <a:lnSpc>
                <a:spcPct val="90000"/>
              </a:lnSpc>
              <a:spcAft>
                <a:spcPts val="600"/>
              </a:spcAft>
            </a:pPr>
            <a:fld id="{E9B57936-92EF-4126-AE48-1D9D36D15E98}" type="slidenum">
              <a:rPr lang="ja-JP" altLang="en-US" sz="700" smtClean="0"/>
              <a:pPr defTabSz="1218810">
                <a:lnSpc>
                  <a:spcPct val="90000"/>
                </a:lnSpc>
                <a:spcAft>
                  <a:spcPts val="600"/>
                </a:spcAft>
              </a:pPr>
              <a:t>5</a:t>
            </a:fld>
            <a:endParaRPr lang="ja-JP" altLang="en-US" sz="700"/>
          </a:p>
        </p:txBody>
      </p:sp>
      <p:sp>
        <p:nvSpPr>
          <p:cNvPr id="20" name="Text Placeholder 6">
            <a:extLst>
              <a:ext uri="{FF2B5EF4-FFF2-40B4-BE49-F238E27FC236}">
                <a16:creationId xmlns:a16="http://schemas.microsoft.com/office/drawing/2014/main" id="{F14D631E-A3D3-5C9A-5C55-DDAB88AAD0DB}"/>
              </a:ext>
            </a:extLst>
          </p:cNvPr>
          <p:cNvSpPr>
            <a:spLocks noGrp="1"/>
          </p:cNvSpPr>
          <p:nvPr>
            <p:ph type="body" sz="quarter" idx="16"/>
          </p:nvPr>
        </p:nvSpPr>
        <p:spPr>
          <a:xfrm>
            <a:off x="606078" y="6523001"/>
            <a:ext cx="6968348" cy="205613"/>
          </a:xfrm>
        </p:spPr>
        <p:txBody>
          <a:bodyPr/>
          <a:lstStyle/>
          <a:p>
            <a:endParaRPr lang="en-US"/>
          </a:p>
        </p:txBody>
      </p:sp>
      <p:sp>
        <p:nvSpPr>
          <p:cNvPr id="2" name="Text Placeholder 1">
            <a:extLst>
              <a:ext uri="{FF2B5EF4-FFF2-40B4-BE49-F238E27FC236}">
                <a16:creationId xmlns:a16="http://schemas.microsoft.com/office/drawing/2014/main" id="{AF431071-4505-1482-39B3-5905562FE993}"/>
              </a:ext>
            </a:extLst>
          </p:cNvPr>
          <p:cNvSpPr>
            <a:spLocks noGrp="1"/>
          </p:cNvSpPr>
          <p:nvPr>
            <p:ph type="body" sz="quarter" idx="23"/>
          </p:nvPr>
        </p:nvSpPr>
        <p:spPr>
          <a:xfrm>
            <a:off x="311149" y="1093767"/>
            <a:ext cx="11603669" cy="272786"/>
          </a:xfrm>
        </p:spPr>
        <p:txBody>
          <a:bodyPr vert="horz" lIns="0" tIns="0" rIns="0" bIns="0" numCol="1" rtlCol="0">
            <a:normAutofit/>
          </a:bodyPr>
          <a:lstStyle/>
          <a:p>
            <a:pPr>
              <a:lnSpc>
                <a:spcPct val="90000"/>
              </a:lnSpc>
            </a:pPr>
            <a:endParaRPr kumimoji="1" lang="en-US" sz="1400" b="1" i="0" kern="1200" baseline="0">
              <a:latin typeface="Calibri" panose="020F0502020204030204" pitchFamily="34" charset="0"/>
              <a:ea typeface="メイリオ" pitchFamily="50" charset="-128"/>
              <a:cs typeface="Calibri" pitchFamily="34" charset="0"/>
            </a:endParaRPr>
          </a:p>
          <a:p>
            <a:pPr>
              <a:lnSpc>
                <a:spcPct val="90000"/>
              </a:lnSpc>
            </a:pPr>
            <a:endParaRPr kumimoji="1" lang="en-US" sz="1400" b="1" i="0" kern="1200" baseline="0">
              <a:latin typeface="Calibri" panose="020F0502020204030204" pitchFamily="34" charset="0"/>
              <a:ea typeface="メイリオ" pitchFamily="50" charset="-128"/>
              <a:cs typeface="Calibri" pitchFamily="34" charset="0"/>
            </a:endParaRPr>
          </a:p>
          <a:p>
            <a:pPr>
              <a:lnSpc>
                <a:spcPct val="90000"/>
              </a:lnSpc>
            </a:pPr>
            <a:endParaRPr kumimoji="1" lang="en-US" sz="1400" b="1" i="0" kern="1200" baseline="0">
              <a:latin typeface="Calibri" panose="020F0502020204030204" pitchFamily="34" charset="0"/>
              <a:ea typeface="メイリオ" pitchFamily="50" charset="-128"/>
              <a:cs typeface="Calibri" pitchFamily="34" charset="0"/>
            </a:endParaRPr>
          </a:p>
          <a:p>
            <a:pPr>
              <a:lnSpc>
                <a:spcPct val="90000"/>
              </a:lnSpc>
            </a:pPr>
            <a:endParaRPr kumimoji="1" lang="en-US" sz="1400" b="1" i="0" kern="1200" baseline="0">
              <a:latin typeface="Calibri" panose="020F0502020204030204" pitchFamily="34" charset="0"/>
              <a:ea typeface="メイリオ" pitchFamily="50" charset="-128"/>
              <a:cs typeface="Calibri" pitchFamily="34" charset="0"/>
            </a:endParaRPr>
          </a:p>
        </p:txBody>
      </p:sp>
      <p:sp>
        <p:nvSpPr>
          <p:cNvPr id="15" name="TextBox 14">
            <a:extLst>
              <a:ext uri="{FF2B5EF4-FFF2-40B4-BE49-F238E27FC236}">
                <a16:creationId xmlns:a16="http://schemas.microsoft.com/office/drawing/2014/main" id="{B8EE3757-0335-A17F-C17D-2E6C80A1D61A}"/>
              </a:ext>
            </a:extLst>
          </p:cNvPr>
          <p:cNvSpPr txBox="1"/>
          <p:nvPr/>
        </p:nvSpPr>
        <p:spPr>
          <a:xfrm>
            <a:off x="587375" y="1101770"/>
            <a:ext cx="11293474" cy="2031325"/>
          </a:xfrm>
          <a:prstGeom prst="rect">
            <a:avLst/>
          </a:prstGeom>
          <a:noFill/>
        </p:spPr>
        <p:txBody>
          <a:bodyPr wrap="square" lIns="91440" tIns="45720" rIns="91440" bIns="45720" anchor="t">
            <a:spAutoFit/>
          </a:bodyPr>
          <a:lstStyle/>
          <a:p>
            <a:pPr>
              <a:spcBef>
                <a:spcPts val="600"/>
              </a:spcBef>
              <a:spcAft>
                <a:spcPts val="600"/>
              </a:spcAft>
            </a:pPr>
            <a:r>
              <a:rPr lang="en-US" sz="1600" b="1" i="0" u="none" strike="noStrike" kern="100" baseline="0" dirty="0">
                <a:latin typeface="+mj-lt"/>
              </a:rPr>
              <a:t>SD threshold for a desired effect size</a:t>
            </a:r>
          </a:p>
          <a:p>
            <a:pPr marL="342900" indent="-342900">
              <a:spcBef>
                <a:spcPts val="600"/>
              </a:spcBef>
              <a:spcAft>
                <a:spcPts val="600"/>
              </a:spcAft>
              <a:buFont typeface="Arial" panose="020B0604020202020204" pitchFamily="34" charset="0"/>
              <a:buChar char="•"/>
            </a:pPr>
            <a:r>
              <a:rPr lang="en-US" sz="1600" b="0" i="0" u="none" strike="noStrike" kern="100" baseline="0" dirty="0">
                <a:latin typeface="+mj-lt"/>
                <a:ea typeface="Calibri"/>
                <a:cs typeface="Calibri"/>
              </a:rPr>
              <a:t>With the sample size 12 in treated and 12 in placebo, the study can detect a reduction of 30% in </a:t>
            </a:r>
            <a:r>
              <a:rPr lang="en-US" sz="1600" b="0" i="0" u="none" strike="noStrike" kern="100" baseline="0" dirty="0" err="1">
                <a:latin typeface="+mj-lt"/>
                <a:ea typeface="Calibri"/>
                <a:cs typeface="Calibri"/>
              </a:rPr>
              <a:t>NfL</a:t>
            </a:r>
            <a:r>
              <a:rPr lang="en-US" sz="1600" b="0" i="0" u="none" strike="noStrike" kern="100" baseline="0" dirty="0">
                <a:latin typeface="+mj-lt"/>
                <a:ea typeface="Calibri"/>
                <a:cs typeface="Calibri"/>
              </a:rPr>
              <a:t> geometric mean ration until the SD </a:t>
            </a:r>
            <a:r>
              <a:rPr lang="en-US" sz="1600" kern="100" dirty="0">
                <a:latin typeface="+mj-lt"/>
                <a:ea typeface="Calibri"/>
                <a:cs typeface="Calibri"/>
              </a:rPr>
              <a:t>&lt;0.4. For sample size of treatment 6, the threshold is 0.33</a:t>
            </a:r>
          </a:p>
          <a:p>
            <a:pPr marL="342900" indent="-342900">
              <a:spcBef>
                <a:spcPts val="600"/>
              </a:spcBef>
              <a:spcAft>
                <a:spcPts val="600"/>
              </a:spcAft>
              <a:buFont typeface="Arial" panose="020B0604020202020204" pitchFamily="34" charset="0"/>
              <a:buChar char="•"/>
            </a:pPr>
            <a:r>
              <a:rPr lang="en-US" sz="1600" kern="100" dirty="0">
                <a:latin typeface="+mj-lt"/>
              </a:rPr>
              <a:t>With SD of 0.11, the study can detect minimum differences of 10% and 11% for treated </a:t>
            </a:r>
            <a:r>
              <a:rPr lang="en-US" sz="1600" kern="100" dirty="0" err="1">
                <a:latin typeface="+mj-lt"/>
              </a:rPr>
              <a:t>N_t</a:t>
            </a:r>
            <a:r>
              <a:rPr lang="en-US" sz="1600" kern="100" dirty="0">
                <a:latin typeface="+mj-lt"/>
              </a:rPr>
              <a:t> = 12 and 6, respectively (Table 1).</a:t>
            </a:r>
          </a:p>
          <a:p>
            <a:pPr marL="342900" indent="-342900">
              <a:spcBef>
                <a:spcPts val="600"/>
              </a:spcBef>
              <a:spcAft>
                <a:spcPts val="600"/>
              </a:spcAft>
              <a:buFont typeface="Arial" panose="020B0604020202020204" pitchFamily="34" charset="0"/>
              <a:buChar char="•"/>
            </a:pPr>
            <a:r>
              <a:rPr lang="en-US" sz="1600" kern="100" dirty="0">
                <a:latin typeface="+mj-lt"/>
                <a:ea typeface="Calibri"/>
                <a:cs typeface="Calibri"/>
              </a:rPr>
              <a:t>If we observe and extreme SD=0.7 in log </a:t>
            </a:r>
            <a:r>
              <a:rPr lang="en-US" sz="1600" kern="100" dirty="0" err="1">
                <a:latin typeface="+mj-lt"/>
                <a:ea typeface="Calibri"/>
                <a:cs typeface="Calibri"/>
              </a:rPr>
              <a:t>NfL</a:t>
            </a:r>
            <a:r>
              <a:rPr lang="en-US" sz="1600" kern="100" dirty="0">
                <a:latin typeface="+mj-lt"/>
                <a:ea typeface="Calibri"/>
                <a:cs typeface="Calibri"/>
              </a:rPr>
              <a:t>, as </a:t>
            </a:r>
            <a:r>
              <a:rPr lang="en-US" sz="1600" kern="100" dirty="0" err="1">
                <a:latin typeface="+mj-lt"/>
                <a:ea typeface="Calibri"/>
                <a:cs typeface="Calibri"/>
              </a:rPr>
              <a:t>tofersen</a:t>
            </a:r>
            <a:r>
              <a:rPr lang="en-US" sz="1600" kern="100" dirty="0">
                <a:latin typeface="+mj-lt"/>
                <a:ea typeface="Calibri"/>
                <a:cs typeface="Calibri"/>
              </a:rPr>
              <a:t>, The study can detect the difference of 30% with power 48% with </a:t>
            </a:r>
            <a:r>
              <a:rPr lang="en-US" sz="1600" kern="100" dirty="0" err="1">
                <a:latin typeface="+mj-lt"/>
                <a:ea typeface="Calibri"/>
                <a:cs typeface="Calibri"/>
              </a:rPr>
              <a:t>N_t</a:t>
            </a:r>
            <a:r>
              <a:rPr lang="en-US" sz="1600" kern="100" dirty="0">
                <a:latin typeface="+mj-lt"/>
                <a:ea typeface="Calibri"/>
                <a:cs typeface="Calibri"/>
              </a:rPr>
              <a:t> = 12 and 39% for </a:t>
            </a:r>
            <a:r>
              <a:rPr lang="en-US" sz="1600" kern="100" dirty="0" err="1">
                <a:latin typeface="+mj-lt"/>
                <a:ea typeface="Calibri"/>
                <a:cs typeface="Calibri"/>
              </a:rPr>
              <a:t>N_t</a:t>
            </a:r>
            <a:r>
              <a:rPr lang="en-US" sz="1600" kern="100" dirty="0">
                <a:latin typeface="+mj-lt"/>
                <a:ea typeface="Calibri"/>
                <a:cs typeface="Calibri"/>
              </a:rPr>
              <a:t> = 6. With SD = 0.7, the study would require to observe &gt;46% reduction to have &gt;80% power</a:t>
            </a:r>
          </a:p>
        </p:txBody>
      </p:sp>
      <p:sp>
        <p:nvSpPr>
          <p:cNvPr id="17" name="TextBox 16">
            <a:extLst>
              <a:ext uri="{FF2B5EF4-FFF2-40B4-BE49-F238E27FC236}">
                <a16:creationId xmlns:a16="http://schemas.microsoft.com/office/drawing/2014/main" id="{9C1E5D5B-10D4-920A-680C-F254797A3E4E}"/>
              </a:ext>
            </a:extLst>
          </p:cNvPr>
          <p:cNvSpPr txBox="1"/>
          <p:nvPr/>
        </p:nvSpPr>
        <p:spPr>
          <a:xfrm>
            <a:off x="8210746" y="5700216"/>
            <a:ext cx="3214541" cy="646331"/>
          </a:xfrm>
          <a:prstGeom prst="rect">
            <a:avLst/>
          </a:prstGeom>
          <a:noFill/>
        </p:spPr>
        <p:txBody>
          <a:bodyPr wrap="square" rtlCol="0">
            <a:spAutoFit/>
          </a:bodyPr>
          <a:lstStyle/>
          <a:p>
            <a:r>
              <a:rPr lang="en-US" sz="1200" dirty="0"/>
              <a:t>Table 2:Minimum SD threshold for which study can detect the different levels of reduction with &gt;80% power</a:t>
            </a:r>
          </a:p>
        </p:txBody>
      </p:sp>
      <p:graphicFrame>
        <p:nvGraphicFramePr>
          <p:cNvPr id="6" name="Table 5">
            <a:extLst>
              <a:ext uri="{FF2B5EF4-FFF2-40B4-BE49-F238E27FC236}">
                <a16:creationId xmlns:a16="http://schemas.microsoft.com/office/drawing/2014/main" id="{7539B0EF-D5D7-6B0B-B48A-1712440A2017}"/>
              </a:ext>
            </a:extLst>
          </p:cNvPr>
          <p:cNvGraphicFramePr>
            <a:graphicFrameLocks noGrp="1"/>
          </p:cNvGraphicFramePr>
          <p:nvPr>
            <p:extLst>
              <p:ext uri="{D42A27DB-BD31-4B8C-83A1-F6EECF244321}">
                <p14:modId xmlns:p14="http://schemas.microsoft.com/office/powerpoint/2010/main" val="1741416277"/>
              </p:ext>
            </p:extLst>
          </p:nvPr>
        </p:nvGraphicFramePr>
        <p:xfrm>
          <a:off x="8210746" y="3458073"/>
          <a:ext cx="2834640" cy="2219325"/>
        </p:xfrm>
        <a:graphic>
          <a:graphicData uri="http://schemas.openxmlformats.org/drawingml/2006/table">
            <a:tbl>
              <a:tblPr/>
              <a:tblGrid>
                <a:gridCol w="837065">
                  <a:extLst>
                    <a:ext uri="{9D8B030D-6E8A-4147-A177-3AD203B41FA5}">
                      <a16:colId xmlns:a16="http://schemas.microsoft.com/office/drawing/2014/main" val="3769721328"/>
                    </a:ext>
                  </a:extLst>
                </a:gridCol>
                <a:gridCol w="1047191">
                  <a:extLst>
                    <a:ext uri="{9D8B030D-6E8A-4147-A177-3AD203B41FA5}">
                      <a16:colId xmlns:a16="http://schemas.microsoft.com/office/drawing/2014/main" val="3253024851"/>
                    </a:ext>
                  </a:extLst>
                </a:gridCol>
                <a:gridCol w="950384">
                  <a:extLst>
                    <a:ext uri="{9D8B030D-6E8A-4147-A177-3AD203B41FA5}">
                      <a16:colId xmlns:a16="http://schemas.microsoft.com/office/drawing/2014/main" val="3066427440"/>
                    </a:ext>
                  </a:extLst>
                </a:gridCol>
              </a:tblGrid>
              <a:tr h="190500">
                <a:tc>
                  <a:txBody>
                    <a:bodyPr/>
                    <a:lstStyle/>
                    <a:p>
                      <a:pPr algn="ctr" fontAlgn="b"/>
                      <a:r>
                        <a:rPr lang="en-US" sz="1400" b="1" i="0" u="none" strike="noStrike" dirty="0" err="1">
                          <a:solidFill>
                            <a:srgbClr val="000000"/>
                          </a:solidFill>
                          <a:effectLst/>
                          <a:latin typeface="Aptos Narrow" panose="020B0004020202020204" pitchFamily="34" charset="0"/>
                        </a:rPr>
                        <a:t>N</a:t>
                      </a:r>
                      <a:r>
                        <a:rPr lang="en-US" sz="1400" b="1" i="0" u="none" strike="noStrike" baseline="-25000" dirty="0" err="1">
                          <a:solidFill>
                            <a:srgbClr val="000000"/>
                          </a:solidFill>
                          <a:effectLst/>
                          <a:latin typeface="Aptos Narrow" panose="020B0004020202020204" pitchFamily="34" charset="0"/>
                        </a:rPr>
                        <a:t>t</a:t>
                      </a:r>
                      <a:endParaRPr lang="en-US" sz="1400" b="1" i="0" u="none" strike="noStrike" baseline="-25000" dirty="0">
                        <a:solidFill>
                          <a:srgbClr val="000000"/>
                        </a:solidFill>
                        <a:effectLst/>
                        <a:latin typeface="Aptos Narrow" panose="020B0004020202020204" pitchFamily="34" charset="0"/>
                      </a:endParaRPr>
                    </a:p>
                  </a:txBody>
                  <a:tcPr marL="9525" marR="9525" marT="9525" marB="0" anchor="b">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400" b="1" i="0" u="none" strike="noStrike" dirty="0">
                          <a:solidFill>
                            <a:srgbClr val="000000"/>
                          </a:solidFill>
                          <a:effectLst/>
                          <a:latin typeface="Aptos Narrow" panose="020B0004020202020204" pitchFamily="34" charset="0"/>
                        </a:rPr>
                        <a:t>Reductions</a:t>
                      </a:r>
                    </a:p>
                  </a:txBody>
                  <a:tcPr marL="9525" marR="9525" marT="9525" marB="0" anchor="b">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400" b="1" i="0" u="none" strike="noStrike" dirty="0">
                          <a:solidFill>
                            <a:srgbClr val="000000"/>
                          </a:solidFill>
                          <a:effectLst/>
                          <a:latin typeface="Aptos Narrow" panose="020B0004020202020204" pitchFamily="34" charset="0"/>
                        </a:rPr>
                        <a:t>SD</a:t>
                      </a:r>
                    </a:p>
                    <a:p>
                      <a:pPr algn="ctr" fontAlgn="b"/>
                      <a:r>
                        <a:rPr lang="en-US" sz="1400" b="1" i="0" u="none" strike="noStrike" dirty="0">
                          <a:solidFill>
                            <a:srgbClr val="000000"/>
                          </a:solidFill>
                          <a:effectLst/>
                          <a:latin typeface="Aptos Narrow" panose="020B0004020202020204" pitchFamily="34" charset="0"/>
                        </a:rPr>
                        <a:t>Thresholds</a:t>
                      </a:r>
                    </a:p>
                  </a:txBody>
                  <a:tcPr marL="9525" marR="9525" marT="9525" marB="0" anchor="b">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474858399"/>
                  </a:ext>
                </a:extLst>
              </a:tr>
              <a:tr h="190500">
                <a:tc>
                  <a:txBody>
                    <a:bodyPr/>
                    <a:lstStyle/>
                    <a:p>
                      <a:pPr algn="ctr" fontAlgn="b"/>
                      <a:r>
                        <a:rPr lang="en-US" sz="1400" b="0" i="0" u="none" strike="noStrike" dirty="0">
                          <a:solidFill>
                            <a:srgbClr val="000000"/>
                          </a:solidFill>
                          <a:effectLst/>
                          <a:latin typeface="Aptos Narrow" panose="020B0004020202020204" pitchFamily="34" charset="0"/>
                        </a:rPr>
                        <a:t>12</a:t>
                      </a:r>
                    </a:p>
                  </a:txBody>
                  <a:tcPr marL="9525" marR="9525" marT="9525" marB="0" anchor="b">
                    <a:lnL>
                      <a:noFill/>
                    </a:lnL>
                    <a:lnR>
                      <a:noFill/>
                    </a:lnR>
                    <a:lnT w="12700" cap="flat" cmpd="sng" algn="ctr">
                      <a:solidFill>
                        <a:schemeClr val="tx1"/>
                      </a:solidFill>
                      <a:prstDash val="solid"/>
                      <a:round/>
                      <a:headEnd type="none" w="med" len="med"/>
                      <a:tailEnd type="none" w="med" len="med"/>
                    </a:lnT>
                    <a:lnB>
                      <a:noFill/>
                    </a:lnB>
                    <a:noFill/>
                  </a:tcPr>
                </a:tc>
                <a:tc>
                  <a:txBody>
                    <a:bodyPr/>
                    <a:lstStyle/>
                    <a:p>
                      <a:pPr algn="ctr" fontAlgn="b"/>
                      <a:r>
                        <a:rPr lang="en-US" sz="1400" b="0" i="0" u="none" strike="noStrike" dirty="0">
                          <a:solidFill>
                            <a:srgbClr val="000000"/>
                          </a:solidFill>
                          <a:effectLst/>
                          <a:latin typeface="Aptos Narrow" panose="020B0004020202020204" pitchFamily="34" charset="0"/>
                        </a:rPr>
                        <a:t>10</a:t>
                      </a:r>
                    </a:p>
                  </a:txBody>
                  <a:tcPr marL="9525" marR="9525" marT="9525" marB="0" anchor="b">
                    <a:lnL>
                      <a:noFill/>
                    </a:lnL>
                    <a:lnR>
                      <a:noFill/>
                    </a:lnR>
                    <a:lnT w="12700" cap="flat" cmpd="sng" algn="ctr">
                      <a:solidFill>
                        <a:schemeClr val="tx1"/>
                      </a:solidFill>
                      <a:prstDash val="solid"/>
                      <a:round/>
                      <a:headEnd type="none" w="med" len="med"/>
                      <a:tailEnd type="none" w="med" len="med"/>
                    </a:lnT>
                    <a:lnB>
                      <a:noFill/>
                    </a:lnB>
                    <a:noFill/>
                  </a:tcPr>
                </a:tc>
                <a:tc>
                  <a:txBody>
                    <a:bodyPr/>
                    <a:lstStyle/>
                    <a:p>
                      <a:pPr algn="ctr" fontAlgn="b"/>
                      <a:r>
                        <a:rPr lang="en-US" sz="1400" b="0" i="0" u="none" strike="noStrike" dirty="0">
                          <a:solidFill>
                            <a:srgbClr val="000000"/>
                          </a:solidFill>
                          <a:effectLst/>
                          <a:latin typeface="Aptos Narrow" panose="020B0004020202020204" pitchFamily="34" charset="0"/>
                        </a:rPr>
                        <a:t>0.12</a:t>
                      </a:r>
                    </a:p>
                  </a:txBody>
                  <a:tcPr marL="9525" marR="9525" marT="9525" marB="0" anchor="b">
                    <a:lnL>
                      <a:noFill/>
                    </a:lnL>
                    <a:lnR>
                      <a:noFill/>
                    </a:lnR>
                    <a:lnT w="12700" cap="flat" cmpd="sng" algn="ctr">
                      <a:solidFill>
                        <a:schemeClr val="tx1"/>
                      </a:solidFill>
                      <a:prstDash val="solid"/>
                      <a:round/>
                      <a:headEnd type="none" w="med" len="med"/>
                      <a:tailEnd type="none" w="med" len="med"/>
                    </a:lnT>
                    <a:lnB>
                      <a:noFill/>
                    </a:lnB>
                    <a:noFill/>
                  </a:tcPr>
                </a:tc>
                <a:extLst>
                  <a:ext uri="{0D108BD9-81ED-4DB2-BD59-A6C34878D82A}">
                    <a16:rowId xmlns:a16="http://schemas.microsoft.com/office/drawing/2014/main" val="3424563673"/>
                  </a:ext>
                </a:extLst>
              </a:tr>
              <a:tr h="190500">
                <a:tc>
                  <a:txBody>
                    <a:bodyPr/>
                    <a:lstStyle/>
                    <a:p>
                      <a:pPr algn="ctr" fontAlgn="b"/>
                      <a:r>
                        <a:rPr lang="en-US" sz="1400" b="0" i="0" u="none" strike="noStrike" dirty="0">
                          <a:solidFill>
                            <a:srgbClr val="000000"/>
                          </a:solidFill>
                          <a:effectLst/>
                          <a:latin typeface="Aptos Narrow" panose="020B0004020202020204" pitchFamily="34" charset="0"/>
                        </a:rPr>
                        <a:t>6</a:t>
                      </a:r>
                    </a:p>
                  </a:txBody>
                  <a:tcPr marL="9525" marR="9525" marT="9525" marB="0" anchor="b">
                    <a:lnL>
                      <a:noFill/>
                    </a:lnL>
                    <a:lnR>
                      <a:noFill/>
                    </a:lnR>
                    <a:lnT>
                      <a:noFill/>
                    </a:lnT>
                    <a:lnB>
                      <a:noFill/>
                    </a:lnB>
                    <a:noFill/>
                  </a:tcPr>
                </a:tc>
                <a:tc>
                  <a:txBody>
                    <a:bodyPr/>
                    <a:lstStyle/>
                    <a:p>
                      <a:pPr algn="ctr" fontAlgn="b"/>
                      <a:r>
                        <a:rPr lang="en-US" sz="1400" b="0" i="0" u="none" strike="noStrike" dirty="0">
                          <a:solidFill>
                            <a:srgbClr val="000000"/>
                          </a:solidFill>
                          <a:effectLst/>
                          <a:latin typeface="Aptos Narrow" panose="020B0004020202020204" pitchFamily="34" charset="0"/>
                        </a:rPr>
                        <a:t>10</a:t>
                      </a:r>
                    </a:p>
                  </a:txBody>
                  <a:tcPr marL="9525" marR="9525" marT="9525" marB="0" anchor="b">
                    <a:lnL>
                      <a:noFill/>
                    </a:lnL>
                    <a:lnR>
                      <a:noFill/>
                    </a:lnR>
                    <a:lnT>
                      <a:noFill/>
                    </a:lnT>
                    <a:lnB>
                      <a:noFill/>
                    </a:lnB>
                    <a:noFill/>
                  </a:tcPr>
                </a:tc>
                <a:tc>
                  <a:txBody>
                    <a:bodyPr/>
                    <a:lstStyle/>
                    <a:p>
                      <a:pPr algn="ctr" fontAlgn="b"/>
                      <a:r>
                        <a:rPr lang="en-US" sz="1400" b="0" i="0" u="none" strike="noStrike" dirty="0">
                          <a:solidFill>
                            <a:srgbClr val="000000"/>
                          </a:solidFill>
                          <a:effectLst/>
                          <a:latin typeface="Aptos Narrow" panose="020B0004020202020204" pitchFamily="34" charset="0"/>
                        </a:rPr>
                        <a:t>0.10</a:t>
                      </a:r>
                    </a:p>
                  </a:txBody>
                  <a:tcPr marL="9525" marR="9525" marT="9525" marB="0" anchor="b">
                    <a:lnL>
                      <a:noFill/>
                    </a:lnL>
                    <a:lnR>
                      <a:noFill/>
                    </a:lnR>
                    <a:lnT>
                      <a:noFill/>
                    </a:lnT>
                    <a:lnB>
                      <a:noFill/>
                    </a:lnB>
                    <a:noFill/>
                  </a:tcPr>
                </a:tc>
                <a:extLst>
                  <a:ext uri="{0D108BD9-81ED-4DB2-BD59-A6C34878D82A}">
                    <a16:rowId xmlns:a16="http://schemas.microsoft.com/office/drawing/2014/main" val="35376038"/>
                  </a:ext>
                </a:extLst>
              </a:tr>
              <a:tr h="190500">
                <a:tc>
                  <a:txBody>
                    <a:bodyPr/>
                    <a:lstStyle/>
                    <a:p>
                      <a:pPr algn="ctr" fontAlgn="b"/>
                      <a:r>
                        <a:rPr lang="en-US" sz="1400" b="0" i="0" u="none" strike="noStrike" dirty="0">
                          <a:solidFill>
                            <a:srgbClr val="000000"/>
                          </a:solidFill>
                          <a:effectLst/>
                          <a:latin typeface="Aptos Narrow" panose="020B0004020202020204" pitchFamily="34" charset="0"/>
                        </a:rPr>
                        <a:t>12</a:t>
                      </a:r>
                    </a:p>
                  </a:txBody>
                  <a:tcPr marL="9525" marR="9525" marT="9525" marB="0" anchor="b">
                    <a:lnL>
                      <a:noFill/>
                    </a:lnL>
                    <a:lnR>
                      <a:noFill/>
                    </a:lnR>
                    <a:lnT>
                      <a:noFill/>
                    </a:lnT>
                    <a:lnB>
                      <a:noFill/>
                    </a:lnB>
                    <a:noFill/>
                  </a:tcPr>
                </a:tc>
                <a:tc>
                  <a:txBody>
                    <a:bodyPr/>
                    <a:lstStyle/>
                    <a:p>
                      <a:pPr algn="ctr" fontAlgn="b"/>
                      <a:r>
                        <a:rPr lang="en-US" sz="1400" b="0" i="0" u="none" strike="noStrike" dirty="0">
                          <a:solidFill>
                            <a:srgbClr val="000000"/>
                          </a:solidFill>
                          <a:effectLst/>
                          <a:latin typeface="Aptos Narrow" panose="020B0004020202020204" pitchFamily="34" charset="0"/>
                        </a:rPr>
                        <a:t>15</a:t>
                      </a:r>
                    </a:p>
                  </a:txBody>
                  <a:tcPr marL="9525" marR="9525" marT="9525" marB="0" anchor="b">
                    <a:lnL>
                      <a:noFill/>
                    </a:lnL>
                    <a:lnR>
                      <a:noFill/>
                    </a:lnR>
                    <a:lnT>
                      <a:noFill/>
                    </a:lnT>
                    <a:lnB>
                      <a:noFill/>
                    </a:lnB>
                    <a:noFill/>
                  </a:tcPr>
                </a:tc>
                <a:tc>
                  <a:txBody>
                    <a:bodyPr/>
                    <a:lstStyle/>
                    <a:p>
                      <a:pPr algn="ctr" fontAlgn="b"/>
                      <a:r>
                        <a:rPr lang="en-US" sz="1400" b="0" i="0" u="none" strike="noStrike" dirty="0">
                          <a:solidFill>
                            <a:srgbClr val="000000"/>
                          </a:solidFill>
                          <a:effectLst/>
                          <a:latin typeface="Aptos Narrow" panose="020B0004020202020204" pitchFamily="34" charset="0"/>
                        </a:rPr>
                        <a:t>0.18</a:t>
                      </a:r>
                    </a:p>
                  </a:txBody>
                  <a:tcPr marL="9525" marR="9525" marT="9525" marB="0" anchor="b">
                    <a:lnL>
                      <a:noFill/>
                    </a:lnL>
                    <a:lnR>
                      <a:noFill/>
                    </a:lnR>
                    <a:lnT>
                      <a:noFill/>
                    </a:lnT>
                    <a:lnB>
                      <a:noFill/>
                    </a:lnB>
                    <a:noFill/>
                  </a:tcPr>
                </a:tc>
                <a:extLst>
                  <a:ext uri="{0D108BD9-81ED-4DB2-BD59-A6C34878D82A}">
                    <a16:rowId xmlns:a16="http://schemas.microsoft.com/office/drawing/2014/main" val="4162739661"/>
                  </a:ext>
                </a:extLst>
              </a:tr>
              <a:tr h="190500">
                <a:tc>
                  <a:txBody>
                    <a:bodyPr/>
                    <a:lstStyle/>
                    <a:p>
                      <a:pPr algn="ctr" fontAlgn="b"/>
                      <a:r>
                        <a:rPr lang="en-US" sz="1400" b="0" i="0" u="none" strike="noStrike" dirty="0">
                          <a:solidFill>
                            <a:srgbClr val="000000"/>
                          </a:solidFill>
                          <a:effectLst/>
                          <a:latin typeface="Aptos Narrow" panose="020B0004020202020204" pitchFamily="34" charset="0"/>
                        </a:rPr>
                        <a:t>6</a:t>
                      </a:r>
                    </a:p>
                  </a:txBody>
                  <a:tcPr marL="9525" marR="9525" marT="9525" marB="0" anchor="b">
                    <a:lnL>
                      <a:noFill/>
                    </a:lnL>
                    <a:lnR>
                      <a:noFill/>
                    </a:lnR>
                    <a:lnT>
                      <a:noFill/>
                    </a:lnT>
                    <a:lnB>
                      <a:noFill/>
                    </a:lnB>
                    <a:noFill/>
                  </a:tcPr>
                </a:tc>
                <a:tc>
                  <a:txBody>
                    <a:bodyPr/>
                    <a:lstStyle/>
                    <a:p>
                      <a:pPr algn="ctr" fontAlgn="b"/>
                      <a:r>
                        <a:rPr lang="en-US" sz="1400" b="0" i="0" u="none" strike="noStrike" dirty="0">
                          <a:solidFill>
                            <a:srgbClr val="000000"/>
                          </a:solidFill>
                          <a:effectLst/>
                          <a:latin typeface="Aptos Narrow" panose="020B0004020202020204" pitchFamily="34" charset="0"/>
                        </a:rPr>
                        <a:t>15</a:t>
                      </a:r>
                    </a:p>
                  </a:txBody>
                  <a:tcPr marL="9525" marR="9525" marT="9525" marB="0" anchor="b">
                    <a:lnL>
                      <a:noFill/>
                    </a:lnL>
                    <a:lnR>
                      <a:noFill/>
                    </a:lnR>
                    <a:lnT>
                      <a:noFill/>
                    </a:lnT>
                    <a:lnB>
                      <a:noFill/>
                    </a:lnB>
                    <a:noFill/>
                  </a:tcPr>
                </a:tc>
                <a:tc>
                  <a:txBody>
                    <a:bodyPr/>
                    <a:lstStyle/>
                    <a:p>
                      <a:pPr algn="ctr" fontAlgn="b"/>
                      <a:r>
                        <a:rPr lang="en-US" sz="1400" b="0" i="0" u="none" strike="noStrike" dirty="0">
                          <a:solidFill>
                            <a:srgbClr val="000000"/>
                          </a:solidFill>
                          <a:effectLst/>
                          <a:latin typeface="Aptos Narrow" panose="020B0004020202020204" pitchFamily="34" charset="0"/>
                        </a:rPr>
                        <a:t>0.15</a:t>
                      </a:r>
                    </a:p>
                  </a:txBody>
                  <a:tcPr marL="9525" marR="9525" marT="9525" marB="0" anchor="b">
                    <a:lnL>
                      <a:noFill/>
                    </a:lnL>
                    <a:lnR>
                      <a:noFill/>
                    </a:lnR>
                    <a:lnT>
                      <a:noFill/>
                    </a:lnT>
                    <a:lnB>
                      <a:noFill/>
                    </a:lnB>
                    <a:noFill/>
                  </a:tcPr>
                </a:tc>
                <a:extLst>
                  <a:ext uri="{0D108BD9-81ED-4DB2-BD59-A6C34878D82A}">
                    <a16:rowId xmlns:a16="http://schemas.microsoft.com/office/drawing/2014/main" val="2337461486"/>
                  </a:ext>
                </a:extLst>
              </a:tr>
              <a:tr h="190500">
                <a:tc>
                  <a:txBody>
                    <a:bodyPr/>
                    <a:lstStyle/>
                    <a:p>
                      <a:pPr algn="ctr" fontAlgn="b"/>
                      <a:r>
                        <a:rPr lang="en-US" sz="1400" b="0" i="0" u="none" strike="noStrike" dirty="0">
                          <a:solidFill>
                            <a:srgbClr val="000000"/>
                          </a:solidFill>
                          <a:effectLst/>
                          <a:latin typeface="Aptos Narrow" panose="020B0004020202020204" pitchFamily="34" charset="0"/>
                        </a:rPr>
                        <a:t>12</a:t>
                      </a:r>
                    </a:p>
                  </a:txBody>
                  <a:tcPr marL="9525" marR="9525" marT="9525" marB="0" anchor="b">
                    <a:lnL>
                      <a:noFill/>
                    </a:lnL>
                    <a:lnR>
                      <a:noFill/>
                    </a:lnR>
                    <a:lnT>
                      <a:noFill/>
                    </a:lnT>
                    <a:lnB>
                      <a:noFill/>
                    </a:lnB>
                    <a:noFill/>
                  </a:tcPr>
                </a:tc>
                <a:tc>
                  <a:txBody>
                    <a:bodyPr/>
                    <a:lstStyle/>
                    <a:p>
                      <a:pPr algn="ctr" fontAlgn="b"/>
                      <a:r>
                        <a:rPr lang="en-US" sz="1400" b="0" i="0" u="none" strike="noStrike" dirty="0">
                          <a:solidFill>
                            <a:srgbClr val="000000"/>
                          </a:solidFill>
                          <a:effectLst/>
                          <a:latin typeface="Aptos Narrow" panose="020B0004020202020204" pitchFamily="34" charset="0"/>
                        </a:rPr>
                        <a:t>20</a:t>
                      </a:r>
                    </a:p>
                  </a:txBody>
                  <a:tcPr marL="9525" marR="9525" marT="9525" marB="0" anchor="b">
                    <a:lnL>
                      <a:noFill/>
                    </a:lnL>
                    <a:lnR>
                      <a:noFill/>
                    </a:lnR>
                    <a:lnT>
                      <a:noFill/>
                    </a:lnT>
                    <a:lnB>
                      <a:noFill/>
                    </a:lnB>
                    <a:noFill/>
                  </a:tcPr>
                </a:tc>
                <a:tc>
                  <a:txBody>
                    <a:bodyPr/>
                    <a:lstStyle/>
                    <a:p>
                      <a:pPr algn="ctr" fontAlgn="b"/>
                      <a:r>
                        <a:rPr lang="en-US" sz="1400" b="0" i="0" u="none" strike="noStrike" dirty="0">
                          <a:solidFill>
                            <a:srgbClr val="000000"/>
                          </a:solidFill>
                          <a:effectLst/>
                          <a:latin typeface="Aptos Narrow" panose="020B0004020202020204" pitchFamily="34" charset="0"/>
                        </a:rPr>
                        <a:t>0.25</a:t>
                      </a:r>
                    </a:p>
                  </a:txBody>
                  <a:tcPr marL="9525" marR="9525" marT="9525" marB="0" anchor="b">
                    <a:lnL>
                      <a:noFill/>
                    </a:lnL>
                    <a:lnR>
                      <a:noFill/>
                    </a:lnR>
                    <a:lnT>
                      <a:noFill/>
                    </a:lnT>
                    <a:lnB>
                      <a:noFill/>
                    </a:lnB>
                    <a:noFill/>
                  </a:tcPr>
                </a:tc>
                <a:extLst>
                  <a:ext uri="{0D108BD9-81ED-4DB2-BD59-A6C34878D82A}">
                    <a16:rowId xmlns:a16="http://schemas.microsoft.com/office/drawing/2014/main" val="1638807346"/>
                  </a:ext>
                </a:extLst>
              </a:tr>
              <a:tr h="190500">
                <a:tc>
                  <a:txBody>
                    <a:bodyPr/>
                    <a:lstStyle/>
                    <a:p>
                      <a:pPr algn="ctr" fontAlgn="b"/>
                      <a:r>
                        <a:rPr lang="en-US" sz="1400" b="0" i="0" u="none" strike="noStrike">
                          <a:solidFill>
                            <a:srgbClr val="000000"/>
                          </a:solidFill>
                          <a:effectLst/>
                          <a:latin typeface="Aptos Narrow" panose="020B0004020202020204" pitchFamily="34" charset="0"/>
                        </a:rPr>
                        <a:t>6</a:t>
                      </a:r>
                    </a:p>
                  </a:txBody>
                  <a:tcPr marL="9525" marR="9525" marT="9525" marB="0" anchor="b">
                    <a:lnL>
                      <a:noFill/>
                    </a:lnL>
                    <a:lnR>
                      <a:noFill/>
                    </a:lnR>
                    <a:lnT>
                      <a:noFill/>
                    </a:lnT>
                    <a:lnB>
                      <a:noFill/>
                    </a:lnB>
                    <a:noFill/>
                  </a:tcPr>
                </a:tc>
                <a:tc>
                  <a:txBody>
                    <a:bodyPr/>
                    <a:lstStyle/>
                    <a:p>
                      <a:pPr algn="ctr" fontAlgn="b"/>
                      <a:r>
                        <a:rPr lang="en-US" sz="1400" b="0" i="0" u="none" strike="noStrike" dirty="0">
                          <a:solidFill>
                            <a:srgbClr val="000000"/>
                          </a:solidFill>
                          <a:effectLst/>
                          <a:latin typeface="Aptos Narrow" panose="020B0004020202020204" pitchFamily="34" charset="0"/>
                        </a:rPr>
                        <a:t>20</a:t>
                      </a:r>
                    </a:p>
                  </a:txBody>
                  <a:tcPr marL="9525" marR="9525" marT="9525" marB="0" anchor="b">
                    <a:lnL>
                      <a:noFill/>
                    </a:lnL>
                    <a:lnR>
                      <a:noFill/>
                    </a:lnR>
                    <a:lnT>
                      <a:noFill/>
                    </a:lnT>
                    <a:lnB>
                      <a:noFill/>
                    </a:lnB>
                    <a:noFill/>
                  </a:tcPr>
                </a:tc>
                <a:tc>
                  <a:txBody>
                    <a:bodyPr/>
                    <a:lstStyle/>
                    <a:p>
                      <a:pPr algn="ctr" fontAlgn="b"/>
                      <a:r>
                        <a:rPr lang="en-US" sz="1400" b="0" i="0" u="none" strike="noStrike" dirty="0">
                          <a:solidFill>
                            <a:srgbClr val="000000"/>
                          </a:solidFill>
                          <a:effectLst/>
                          <a:latin typeface="Aptos Narrow" panose="020B0004020202020204" pitchFamily="34" charset="0"/>
                        </a:rPr>
                        <a:t>0.2</a:t>
                      </a:r>
                    </a:p>
                  </a:txBody>
                  <a:tcPr marL="9525" marR="9525" marT="9525" marB="0" anchor="b">
                    <a:lnL>
                      <a:noFill/>
                    </a:lnL>
                    <a:lnR>
                      <a:noFill/>
                    </a:lnR>
                    <a:lnT>
                      <a:noFill/>
                    </a:lnT>
                    <a:lnB>
                      <a:noFill/>
                    </a:lnB>
                    <a:noFill/>
                  </a:tcPr>
                </a:tc>
                <a:extLst>
                  <a:ext uri="{0D108BD9-81ED-4DB2-BD59-A6C34878D82A}">
                    <a16:rowId xmlns:a16="http://schemas.microsoft.com/office/drawing/2014/main" val="3747049230"/>
                  </a:ext>
                </a:extLst>
              </a:tr>
              <a:tr h="190500">
                <a:tc>
                  <a:txBody>
                    <a:bodyPr/>
                    <a:lstStyle/>
                    <a:p>
                      <a:pPr algn="ctr" fontAlgn="b"/>
                      <a:r>
                        <a:rPr lang="en-US" sz="1400" b="0" i="0" u="none" strike="noStrike">
                          <a:solidFill>
                            <a:srgbClr val="000000"/>
                          </a:solidFill>
                          <a:effectLst/>
                          <a:latin typeface="Aptos Narrow" panose="020B0004020202020204" pitchFamily="34" charset="0"/>
                        </a:rPr>
                        <a:t>12</a:t>
                      </a:r>
                    </a:p>
                  </a:txBody>
                  <a:tcPr marL="9525" marR="9525" marT="9525" marB="0" anchor="b">
                    <a:lnL>
                      <a:noFill/>
                    </a:lnL>
                    <a:lnR>
                      <a:noFill/>
                    </a:lnR>
                    <a:lnT>
                      <a:noFill/>
                    </a:lnT>
                    <a:lnB>
                      <a:noFill/>
                    </a:lnB>
                    <a:noFill/>
                  </a:tcPr>
                </a:tc>
                <a:tc>
                  <a:txBody>
                    <a:bodyPr/>
                    <a:lstStyle/>
                    <a:p>
                      <a:pPr algn="ctr" fontAlgn="b"/>
                      <a:r>
                        <a:rPr lang="en-US" sz="1400" b="0" i="0" u="none" strike="noStrike" dirty="0">
                          <a:solidFill>
                            <a:srgbClr val="000000"/>
                          </a:solidFill>
                          <a:effectLst/>
                          <a:latin typeface="Aptos Narrow" panose="020B0004020202020204" pitchFamily="34" charset="0"/>
                        </a:rPr>
                        <a:t>30</a:t>
                      </a:r>
                    </a:p>
                  </a:txBody>
                  <a:tcPr marL="9525" marR="9525" marT="9525" marB="0" anchor="b">
                    <a:lnL>
                      <a:noFill/>
                    </a:lnL>
                    <a:lnR>
                      <a:noFill/>
                    </a:lnR>
                    <a:lnT>
                      <a:noFill/>
                    </a:lnT>
                    <a:lnB>
                      <a:noFill/>
                    </a:lnB>
                    <a:noFill/>
                  </a:tcPr>
                </a:tc>
                <a:tc>
                  <a:txBody>
                    <a:bodyPr/>
                    <a:lstStyle/>
                    <a:p>
                      <a:pPr algn="ctr" fontAlgn="b"/>
                      <a:r>
                        <a:rPr lang="en-US" sz="1400" b="0" i="0" u="none" strike="noStrike" dirty="0">
                          <a:solidFill>
                            <a:srgbClr val="000000"/>
                          </a:solidFill>
                          <a:effectLst/>
                          <a:latin typeface="Aptos Narrow" panose="020B0004020202020204" pitchFamily="34" charset="0"/>
                        </a:rPr>
                        <a:t>0.4</a:t>
                      </a:r>
                    </a:p>
                  </a:txBody>
                  <a:tcPr marL="9525" marR="9525" marT="9525" marB="0" anchor="b">
                    <a:lnL>
                      <a:noFill/>
                    </a:lnL>
                    <a:lnR>
                      <a:noFill/>
                    </a:lnR>
                    <a:lnT>
                      <a:noFill/>
                    </a:lnT>
                    <a:lnB>
                      <a:noFill/>
                    </a:lnB>
                    <a:noFill/>
                  </a:tcPr>
                </a:tc>
                <a:extLst>
                  <a:ext uri="{0D108BD9-81ED-4DB2-BD59-A6C34878D82A}">
                    <a16:rowId xmlns:a16="http://schemas.microsoft.com/office/drawing/2014/main" val="3211072988"/>
                  </a:ext>
                </a:extLst>
              </a:tr>
              <a:tr h="190500">
                <a:tc>
                  <a:txBody>
                    <a:bodyPr/>
                    <a:lstStyle/>
                    <a:p>
                      <a:pPr algn="ctr" fontAlgn="b"/>
                      <a:r>
                        <a:rPr lang="en-US" sz="1400" b="0" i="0" u="none" strike="noStrike" dirty="0">
                          <a:solidFill>
                            <a:srgbClr val="000000"/>
                          </a:solidFill>
                          <a:effectLst/>
                          <a:latin typeface="Aptos Narrow" panose="020B0004020202020204" pitchFamily="34" charset="0"/>
                        </a:rPr>
                        <a:t>6</a:t>
                      </a:r>
                    </a:p>
                  </a:txBody>
                  <a:tcPr marL="9525" marR="9525" marT="9525" marB="0" anchor="b">
                    <a:lnL>
                      <a:noFill/>
                    </a:lnL>
                    <a:lnR>
                      <a:noFill/>
                    </a:lnR>
                    <a:lnT>
                      <a:noFill/>
                    </a:lnT>
                    <a:lnB w="12700" cap="flat" cmpd="sng" algn="ctr">
                      <a:solidFill>
                        <a:schemeClr val="tx1"/>
                      </a:solidFill>
                      <a:prstDash val="solid"/>
                      <a:round/>
                      <a:headEnd type="none" w="med" len="med"/>
                      <a:tailEnd type="none" w="med" len="med"/>
                    </a:lnB>
                    <a:noFill/>
                  </a:tcPr>
                </a:tc>
                <a:tc>
                  <a:txBody>
                    <a:bodyPr/>
                    <a:lstStyle/>
                    <a:p>
                      <a:pPr algn="ctr" fontAlgn="b"/>
                      <a:r>
                        <a:rPr lang="en-US" sz="1400" b="0" i="0" u="none" strike="noStrike" dirty="0">
                          <a:solidFill>
                            <a:srgbClr val="000000"/>
                          </a:solidFill>
                          <a:effectLst/>
                          <a:latin typeface="Aptos Narrow" panose="020B0004020202020204" pitchFamily="34" charset="0"/>
                        </a:rPr>
                        <a:t>30</a:t>
                      </a:r>
                    </a:p>
                  </a:txBody>
                  <a:tcPr marL="9525" marR="9525" marT="9525" marB="0" anchor="b">
                    <a:lnL>
                      <a:noFill/>
                    </a:lnL>
                    <a:lnR>
                      <a:noFill/>
                    </a:lnR>
                    <a:lnT>
                      <a:noFill/>
                    </a:lnT>
                    <a:lnB w="12700" cap="flat" cmpd="sng" algn="ctr">
                      <a:solidFill>
                        <a:schemeClr val="tx1"/>
                      </a:solidFill>
                      <a:prstDash val="solid"/>
                      <a:round/>
                      <a:headEnd type="none" w="med" len="med"/>
                      <a:tailEnd type="none" w="med" len="med"/>
                    </a:lnB>
                    <a:noFill/>
                  </a:tcPr>
                </a:tc>
                <a:tc>
                  <a:txBody>
                    <a:bodyPr/>
                    <a:lstStyle/>
                    <a:p>
                      <a:pPr algn="ctr" fontAlgn="b"/>
                      <a:r>
                        <a:rPr lang="en-US" sz="1400" b="0" i="0" u="none" strike="noStrike" dirty="0">
                          <a:solidFill>
                            <a:srgbClr val="000000"/>
                          </a:solidFill>
                          <a:effectLst/>
                          <a:latin typeface="Aptos Narrow" panose="020B0004020202020204" pitchFamily="34" charset="0"/>
                        </a:rPr>
                        <a:t>0.33</a:t>
                      </a:r>
                    </a:p>
                  </a:txBody>
                  <a:tcPr marL="9525" marR="9525" marT="9525" marB="0" anchor="b">
                    <a:lnL>
                      <a:noFill/>
                    </a:lnL>
                    <a:lnR>
                      <a:noFill/>
                    </a:lnR>
                    <a:lnT>
                      <a:noFill/>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510707422"/>
                  </a:ext>
                </a:extLst>
              </a:tr>
            </a:tbl>
          </a:graphicData>
        </a:graphic>
      </p:graphicFrame>
      <p:sp>
        <p:nvSpPr>
          <p:cNvPr id="7" name="TextBox 6">
            <a:extLst>
              <a:ext uri="{FF2B5EF4-FFF2-40B4-BE49-F238E27FC236}">
                <a16:creationId xmlns:a16="http://schemas.microsoft.com/office/drawing/2014/main" id="{E37702C3-2261-DF90-40F7-3F400BA3A271}"/>
              </a:ext>
            </a:extLst>
          </p:cNvPr>
          <p:cNvSpPr txBox="1"/>
          <p:nvPr/>
        </p:nvSpPr>
        <p:spPr>
          <a:xfrm>
            <a:off x="4097257" y="5677398"/>
            <a:ext cx="3477169" cy="646331"/>
          </a:xfrm>
          <a:prstGeom prst="rect">
            <a:avLst/>
          </a:prstGeom>
          <a:noFill/>
        </p:spPr>
        <p:txBody>
          <a:bodyPr wrap="square" rtlCol="0">
            <a:spAutoFit/>
          </a:bodyPr>
          <a:lstStyle/>
          <a:p>
            <a:r>
              <a:rPr lang="en-US" sz="1200" dirty="0"/>
              <a:t>Table: 1 Minimum detectable threshold of reduction for which arms can detect the difference with &gt;80% power for different standard deviation (SD).</a:t>
            </a:r>
          </a:p>
        </p:txBody>
      </p:sp>
      <p:graphicFrame>
        <p:nvGraphicFramePr>
          <p:cNvPr id="8" name="Table 7">
            <a:extLst>
              <a:ext uri="{FF2B5EF4-FFF2-40B4-BE49-F238E27FC236}">
                <a16:creationId xmlns:a16="http://schemas.microsoft.com/office/drawing/2014/main" id="{61EA1AD8-0C42-08A7-41B9-913BF321BE20}"/>
              </a:ext>
            </a:extLst>
          </p:cNvPr>
          <p:cNvGraphicFramePr>
            <a:graphicFrameLocks noGrp="1"/>
          </p:cNvGraphicFramePr>
          <p:nvPr>
            <p:extLst>
              <p:ext uri="{D42A27DB-BD31-4B8C-83A1-F6EECF244321}">
                <p14:modId xmlns:p14="http://schemas.microsoft.com/office/powerpoint/2010/main" val="1012281883"/>
              </p:ext>
            </p:extLst>
          </p:nvPr>
        </p:nvGraphicFramePr>
        <p:xfrm>
          <a:off x="4285797" y="3473790"/>
          <a:ext cx="2926080" cy="2219325"/>
        </p:xfrm>
        <a:graphic>
          <a:graphicData uri="http://schemas.openxmlformats.org/drawingml/2006/table">
            <a:tbl>
              <a:tblPr/>
              <a:tblGrid>
                <a:gridCol w="864067">
                  <a:extLst>
                    <a:ext uri="{9D8B030D-6E8A-4147-A177-3AD203B41FA5}">
                      <a16:colId xmlns:a16="http://schemas.microsoft.com/office/drawing/2014/main" val="3769721328"/>
                    </a:ext>
                  </a:extLst>
                </a:gridCol>
                <a:gridCol w="864067">
                  <a:extLst>
                    <a:ext uri="{9D8B030D-6E8A-4147-A177-3AD203B41FA5}">
                      <a16:colId xmlns:a16="http://schemas.microsoft.com/office/drawing/2014/main" val="3253024851"/>
                    </a:ext>
                  </a:extLst>
                </a:gridCol>
                <a:gridCol w="1197946">
                  <a:extLst>
                    <a:ext uri="{9D8B030D-6E8A-4147-A177-3AD203B41FA5}">
                      <a16:colId xmlns:a16="http://schemas.microsoft.com/office/drawing/2014/main" val="3066427440"/>
                    </a:ext>
                  </a:extLst>
                </a:gridCol>
              </a:tblGrid>
              <a:tr h="190500">
                <a:tc>
                  <a:txBody>
                    <a:bodyPr/>
                    <a:lstStyle/>
                    <a:p>
                      <a:pPr algn="ctr" fontAlgn="b"/>
                      <a:r>
                        <a:rPr lang="en-US" sz="1400" b="1" i="0" u="none" strike="noStrike" dirty="0" err="1">
                          <a:solidFill>
                            <a:srgbClr val="000000"/>
                          </a:solidFill>
                          <a:effectLst/>
                          <a:latin typeface="Aptos Narrow" panose="020B0004020202020204" pitchFamily="34" charset="0"/>
                        </a:rPr>
                        <a:t>N</a:t>
                      </a:r>
                      <a:r>
                        <a:rPr lang="en-US" sz="1400" b="1" i="0" u="none" strike="noStrike" baseline="-25000" dirty="0" err="1">
                          <a:solidFill>
                            <a:srgbClr val="000000"/>
                          </a:solidFill>
                          <a:effectLst/>
                          <a:latin typeface="Aptos Narrow" panose="020B0004020202020204" pitchFamily="34" charset="0"/>
                        </a:rPr>
                        <a:t>t</a:t>
                      </a:r>
                      <a:endParaRPr lang="en-US" sz="1400" b="1" i="0" u="none" strike="noStrike" baseline="-25000" dirty="0">
                        <a:solidFill>
                          <a:srgbClr val="000000"/>
                        </a:solidFill>
                        <a:effectLst/>
                        <a:latin typeface="Aptos Narrow" panose="020B0004020202020204" pitchFamily="34" charset="0"/>
                      </a:endParaRPr>
                    </a:p>
                  </a:txBody>
                  <a:tcPr marL="9525" marR="9525" marT="9525" marB="0" anchor="b">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400" b="1" i="0" u="none" strike="noStrike" dirty="0">
                          <a:solidFill>
                            <a:srgbClr val="000000"/>
                          </a:solidFill>
                          <a:effectLst/>
                          <a:latin typeface="Aptos Narrow" panose="020B0004020202020204" pitchFamily="34" charset="0"/>
                        </a:rPr>
                        <a:t>SD</a:t>
                      </a:r>
                    </a:p>
                  </a:txBody>
                  <a:tcPr marL="9525" marR="9525" marT="9525" marB="0" anchor="b">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400" b="1" i="0" u="none" strike="noStrike" dirty="0">
                          <a:solidFill>
                            <a:srgbClr val="000000"/>
                          </a:solidFill>
                          <a:effectLst/>
                          <a:latin typeface="Aptos Narrow" panose="020B0004020202020204" pitchFamily="34" charset="0"/>
                        </a:rPr>
                        <a:t>Reduction</a:t>
                      </a:r>
                    </a:p>
                    <a:p>
                      <a:pPr algn="ctr" fontAlgn="b"/>
                      <a:r>
                        <a:rPr lang="en-US" sz="1400" b="1" i="0" u="none" strike="noStrike" dirty="0">
                          <a:solidFill>
                            <a:srgbClr val="000000"/>
                          </a:solidFill>
                          <a:effectLst/>
                          <a:latin typeface="Aptos Narrow" panose="020B0004020202020204" pitchFamily="34" charset="0"/>
                        </a:rPr>
                        <a:t>Threshold (%)</a:t>
                      </a:r>
                    </a:p>
                  </a:txBody>
                  <a:tcPr marL="9525" marR="9525" marT="9525" marB="0" anchor="b">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474858399"/>
                  </a:ext>
                </a:extLst>
              </a:tr>
              <a:tr h="190500">
                <a:tc>
                  <a:txBody>
                    <a:bodyPr/>
                    <a:lstStyle/>
                    <a:p>
                      <a:pPr algn="ctr" fontAlgn="b"/>
                      <a:r>
                        <a:rPr lang="en-US" sz="1400" b="0" i="0" u="none" strike="noStrike" dirty="0">
                          <a:solidFill>
                            <a:srgbClr val="000000"/>
                          </a:solidFill>
                          <a:effectLst/>
                          <a:latin typeface="Aptos Narrow" panose="020B0004020202020204" pitchFamily="34" charset="0"/>
                        </a:rPr>
                        <a:t>12</a:t>
                      </a:r>
                    </a:p>
                  </a:txBody>
                  <a:tcPr marL="9525" marR="9525" marT="9525" marB="0" anchor="b">
                    <a:lnL>
                      <a:noFill/>
                    </a:lnL>
                    <a:lnR>
                      <a:noFill/>
                    </a:lnR>
                    <a:lnT w="12700" cap="flat" cmpd="sng" algn="ctr">
                      <a:solidFill>
                        <a:schemeClr val="tx1"/>
                      </a:solidFill>
                      <a:prstDash val="solid"/>
                      <a:round/>
                      <a:headEnd type="none" w="med" len="med"/>
                      <a:tailEnd type="none" w="med" len="med"/>
                    </a:lnT>
                    <a:lnB>
                      <a:noFill/>
                    </a:lnB>
                    <a:noFill/>
                  </a:tcPr>
                </a:tc>
                <a:tc>
                  <a:txBody>
                    <a:bodyPr/>
                    <a:lstStyle/>
                    <a:p>
                      <a:pPr algn="ctr" fontAlgn="b"/>
                      <a:r>
                        <a:rPr lang="en-US" sz="1400" b="0" i="0" u="none" strike="noStrike" dirty="0">
                          <a:solidFill>
                            <a:srgbClr val="000000"/>
                          </a:solidFill>
                          <a:effectLst/>
                          <a:latin typeface="Aptos Narrow" panose="020B0004020202020204" pitchFamily="34" charset="0"/>
                        </a:rPr>
                        <a:t>0.11</a:t>
                      </a:r>
                    </a:p>
                  </a:txBody>
                  <a:tcPr marL="9525" marR="9525" marT="9525" marB="0" anchor="b">
                    <a:lnL>
                      <a:noFill/>
                    </a:lnL>
                    <a:lnR>
                      <a:noFill/>
                    </a:lnR>
                    <a:lnT w="12700" cap="flat" cmpd="sng" algn="ctr">
                      <a:solidFill>
                        <a:schemeClr val="tx1"/>
                      </a:solidFill>
                      <a:prstDash val="solid"/>
                      <a:round/>
                      <a:headEnd type="none" w="med" len="med"/>
                      <a:tailEnd type="none" w="med" len="med"/>
                    </a:lnT>
                    <a:lnB>
                      <a:noFill/>
                    </a:lnB>
                    <a:noFill/>
                  </a:tcPr>
                </a:tc>
                <a:tc>
                  <a:txBody>
                    <a:bodyPr/>
                    <a:lstStyle/>
                    <a:p>
                      <a:pPr algn="ctr" fontAlgn="b"/>
                      <a:r>
                        <a:rPr lang="en-US" sz="1400" b="0" i="0" u="none" strike="noStrike" dirty="0">
                          <a:solidFill>
                            <a:srgbClr val="000000"/>
                          </a:solidFill>
                          <a:effectLst/>
                          <a:latin typeface="Aptos Narrow" panose="020B0004020202020204" pitchFamily="34" charset="0"/>
                        </a:rPr>
                        <a:t>10</a:t>
                      </a:r>
                    </a:p>
                  </a:txBody>
                  <a:tcPr marL="9525" marR="9525" marT="9525" marB="0" anchor="b">
                    <a:lnL>
                      <a:noFill/>
                    </a:lnL>
                    <a:lnR>
                      <a:noFill/>
                    </a:lnR>
                    <a:lnT w="12700" cap="flat" cmpd="sng" algn="ctr">
                      <a:solidFill>
                        <a:schemeClr val="tx1"/>
                      </a:solidFill>
                      <a:prstDash val="solid"/>
                      <a:round/>
                      <a:headEnd type="none" w="med" len="med"/>
                      <a:tailEnd type="none" w="med" len="med"/>
                    </a:lnT>
                    <a:lnB>
                      <a:noFill/>
                    </a:lnB>
                    <a:noFill/>
                  </a:tcPr>
                </a:tc>
                <a:extLst>
                  <a:ext uri="{0D108BD9-81ED-4DB2-BD59-A6C34878D82A}">
                    <a16:rowId xmlns:a16="http://schemas.microsoft.com/office/drawing/2014/main" val="3424563673"/>
                  </a:ext>
                </a:extLst>
              </a:tr>
              <a:tr h="190500">
                <a:tc>
                  <a:txBody>
                    <a:bodyPr/>
                    <a:lstStyle/>
                    <a:p>
                      <a:pPr algn="ctr" fontAlgn="b"/>
                      <a:r>
                        <a:rPr lang="en-US" sz="1400" b="0" i="0" u="none" strike="noStrike" dirty="0">
                          <a:solidFill>
                            <a:srgbClr val="000000"/>
                          </a:solidFill>
                          <a:effectLst/>
                          <a:latin typeface="Aptos Narrow" panose="020B0004020202020204" pitchFamily="34" charset="0"/>
                        </a:rPr>
                        <a:t>6</a:t>
                      </a:r>
                    </a:p>
                  </a:txBody>
                  <a:tcPr marL="9525" marR="9525" marT="9525" marB="0" anchor="b">
                    <a:lnL>
                      <a:noFill/>
                    </a:lnL>
                    <a:lnR>
                      <a:noFill/>
                    </a:lnR>
                    <a:lnT>
                      <a:noFill/>
                    </a:lnT>
                    <a:lnB>
                      <a:noFill/>
                    </a:lnB>
                    <a:noFill/>
                  </a:tcPr>
                </a:tc>
                <a:tc>
                  <a:txBody>
                    <a:bodyPr/>
                    <a:lstStyle/>
                    <a:p>
                      <a:pPr algn="ctr" fontAlgn="b"/>
                      <a:r>
                        <a:rPr lang="en-US" sz="1400" b="0" i="0" u="none" strike="noStrike" dirty="0">
                          <a:solidFill>
                            <a:srgbClr val="000000"/>
                          </a:solidFill>
                          <a:effectLst/>
                          <a:latin typeface="Aptos Narrow" panose="020B0004020202020204" pitchFamily="34" charset="0"/>
                        </a:rPr>
                        <a:t>0.11</a:t>
                      </a:r>
                    </a:p>
                  </a:txBody>
                  <a:tcPr marL="9525" marR="9525" marT="9525" marB="0" anchor="b">
                    <a:lnL>
                      <a:noFill/>
                    </a:lnL>
                    <a:lnR>
                      <a:noFill/>
                    </a:lnR>
                    <a:lnT>
                      <a:noFill/>
                    </a:lnT>
                    <a:lnB>
                      <a:noFill/>
                    </a:lnB>
                    <a:noFill/>
                  </a:tcPr>
                </a:tc>
                <a:tc>
                  <a:txBody>
                    <a:bodyPr/>
                    <a:lstStyle/>
                    <a:p>
                      <a:pPr algn="ctr" fontAlgn="b"/>
                      <a:r>
                        <a:rPr lang="en-US" sz="1400" b="0" i="0" u="none" strike="noStrike" dirty="0">
                          <a:solidFill>
                            <a:srgbClr val="000000"/>
                          </a:solidFill>
                          <a:effectLst/>
                          <a:latin typeface="Aptos Narrow" panose="020B0004020202020204" pitchFamily="34" charset="0"/>
                        </a:rPr>
                        <a:t>11</a:t>
                      </a:r>
                    </a:p>
                  </a:txBody>
                  <a:tcPr marL="9525" marR="9525" marT="9525" marB="0" anchor="b">
                    <a:lnL>
                      <a:noFill/>
                    </a:lnL>
                    <a:lnR>
                      <a:noFill/>
                    </a:lnR>
                    <a:lnT>
                      <a:noFill/>
                    </a:lnT>
                    <a:lnB>
                      <a:noFill/>
                    </a:lnB>
                    <a:noFill/>
                  </a:tcPr>
                </a:tc>
                <a:extLst>
                  <a:ext uri="{0D108BD9-81ED-4DB2-BD59-A6C34878D82A}">
                    <a16:rowId xmlns:a16="http://schemas.microsoft.com/office/drawing/2014/main" val="35376038"/>
                  </a:ext>
                </a:extLst>
              </a:tr>
              <a:tr h="190500">
                <a:tc>
                  <a:txBody>
                    <a:bodyPr/>
                    <a:lstStyle/>
                    <a:p>
                      <a:pPr algn="ctr" fontAlgn="b"/>
                      <a:r>
                        <a:rPr lang="en-US" sz="1400" b="0" i="0" u="none" strike="noStrike" dirty="0">
                          <a:solidFill>
                            <a:srgbClr val="000000"/>
                          </a:solidFill>
                          <a:effectLst/>
                          <a:latin typeface="Aptos Narrow" panose="020B0004020202020204" pitchFamily="34" charset="0"/>
                        </a:rPr>
                        <a:t>12</a:t>
                      </a:r>
                    </a:p>
                  </a:txBody>
                  <a:tcPr marL="9525" marR="9525" marT="9525" marB="0" anchor="b">
                    <a:lnL>
                      <a:noFill/>
                    </a:lnL>
                    <a:lnR>
                      <a:noFill/>
                    </a:lnR>
                    <a:lnT>
                      <a:noFill/>
                    </a:lnT>
                    <a:lnB>
                      <a:noFill/>
                    </a:lnB>
                    <a:noFill/>
                  </a:tcPr>
                </a:tc>
                <a:tc>
                  <a:txBody>
                    <a:bodyPr/>
                    <a:lstStyle/>
                    <a:p>
                      <a:pPr algn="ctr" fontAlgn="b"/>
                      <a:r>
                        <a:rPr lang="en-US" sz="1400" b="0" i="0" u="none" strike="noStrike" dirty="0">
                          <a:solidFill>
                            <a:srgbClr val="000000"/>
                          </a:solidFill>
                          <a:effectLst/>
                          <a:latin typeface="Aptos Narrow" panose="020B0004020202020204" pitchFamily="34" charset="0"/>
                        </a:rPr>
                        <a:t>0.3</a:t>
                      </a:r>
                    </a:p>
                  </a:txBody>
                  <a:tcPr marL="9525" marR="9525" marT="9525" marB="0" anchor="b">
                    <a:lnL>
                      <a:noFill/>
                    </a:lnL>
                    <a:lnR>
                      <a:noFill/>
                    </a:lnR>
                    <a:lnT>
                      <a:noFill/>
                    </a:lnT>
                    <a:lnB>
                      <a:noFill/>
                    </a:lnB>
                    <a:noFill/>
                  </a:tcPr>
                </a:tc>
                <a:tc>
                  <a:txBody>
                    <a:bodyPr/>
                    <a:lstStyle/>
                    <a:p>
                      <a:pPr algn="ctr" fontAlgn="b"/>
                      <a:r>
                        <a:rPr lang="en-US" sz="1400" b="0" i="0" u="none" strike="noStrike" dirty="0">
                          <a:solidFill>
                            <a:srgbClr val="000000"/>
                          </a:solidFill>
                          <a:effectLst/>
                          <a:latin typeface="Aptos Narrow" panose="020B0004020202020204" pitchFamily="34" charset="0"/>
                        </a:rPr>
                        <a:t>23</a:t>
                      </a:r>
                    </a:p>
                  </a:txBody>
                  <a:tcPr marL="9525" marR="9525" marT="9525" marB="0" anchor="b">
                    <a:lnL>
                      <a:noFill/>
                    </a:lnL>
                    <a:lnR>
                      <a:noFill/>
                    </a:lnR>
                    <a:lnT>
                      <a:noFill/>
                    </a:lnT>
                    <a:lnB>
                      <a:noFill/>
                    </a:lnB>
                    <a:noFill/>
                  </a:tcPr>
                </a:tc>
                <a:extLst>
                  <a:ext uri="{0D108BD9-81ED-4DB2-BD59-A6C34878D82A}">
                    <a16:rowId xmlns:a16="http://schemas.microsoft.com/office/drawing/2014/main" val="4162739661"/>
                  </a:ext>
                </a:extLst>
              </a:tr>
              <a:tr h="190500">
                <a:tc>
                  <a:txBody>
                    <a:bodyPr/>
                    <a:lstStyle/>
                    <a:p>
                      <a:pPr algn="ctr" fontAlgn="b"/>
                      <a:r>
                        <a:rPr lang="en-US" sz="1400" b="0" i="0" u="none" strike="noStrike" dirty="0">
                          <a:solidFill>
                            <a:srgbClr val="000000"/>
                          </a:solidFill>
                          <a:effectLst/>
                          <a:latin typeface="Aptos Narrow" panose="020B0004020202020204" pitchFamily="34" charset="0"/>
                        </a:rPr>
                        <a:t>6</a:t>
                      </a:r>
                    </a:p>
                  </a:txBody>
                  <a:tcPr marL="9525" marR="9525" marT="9525" marB="0" anchor="b">
                    <a:lnL>
                      <a:noFill/>
                    </a:lnL>
                    <a:lnR>
                      <a:noFill/>
                    </a:lnR>
                    <a:lnT>
                      <a:noFill/>
                    </a:lnT>
                    <a:lnB>
                      <a:noFill/>
                    </a:lnB>
                    <a:noFill/>
                  </a:tcPr>
                </a:tc>
                <a:tc>
                  <a:txBody>
                    <a:bodyPr/>
                    <a:lstStyle/>
                    <a:p>
                      <a:pPr algn="ctr" fontAlgn="b"/>
                      <a:r>
                        <a:rPr lang="en-US" sz="1400" b="0" i="0" u="none" strike="noStrike" dirty="0">
                          <a:solidFill>
                            <a:srgbClr val="000000"/>
                          </a:solidFill>
                          <a:effectLst/>
                          <a:latin typeface="Aptos Narrow" panose="020B0004020202020204" pitchFamily="34" charset="0"/>
                        </a:rPr>
                        <a:t>0.3</a:t>
                      </a:r>
                    </a:p>
                  </a:txBody>
                  <a:tcPr marL="9525" marR="9525" marT="9525" marB="0" anchor="b">
                    <a:lnL>
                      <a:noFill/>
                    </a:lnL>
                    <a:lnR>
                      <a:noFill/>
                    </a:lnR>
                    <a:lnT>
                      <a:noFill/>
                    </a:lnT>
                    <a:lnB>
                      <a:noFill/>
                    </a:lnB>
                    <a:noFill/>
                  </a:tcPr>
                </a:tc>
                <a:tc>
                  <a:txBody>
                    <a:bodyPr/>
                    <a:lstStyle/>
                    <a:p>
                      <a:pPr algn="ctr" fontAlgn="b"/>
                      <a:r>
                        <a:rPr lang="en-US" sz="1400" b="0" i="0" u="none" strike="noStrike" dirty="0">
                          <a:solidFill>
                            <a:srgbClr val="000000"/>
                          </a:solidFill>
                          <a:effectLst/>
                          <a:latin typeface="Aptos Narrow" panose="020B0004020202020204" pitchFamily="34" charset="0"/>
                        </a:rPr>
                        <a:t>28</a:t>
                      </a:r>
                    </a:p>
                  </a:txBody>
                  <a:tcPr marL="9525" marR="9525" marT="9525" marB="0" anchor="b">
                    <a:lnL>
                      <a:noFill/>
                    </a:lnL>
                    <a:lnR>
                      <a:noFill/>
                    </a:lnR>
                    <a:lnT>
                      <a:noFill/>
                    </a:lnT>
                    <a:lnB>
                      <a:noFill/>
                    </a:lnB>
                    <a:noFill/>
                  </a:tcPr>
                </a:tc>
                <a:extLst>
                  <a:ext uri="{0D108BD9-81ED-4DB2-BD59-A6C34878D82A}">
                    <a16:rowId xmlns:a16="http://schemas.microsoft.com/office/drawing/2014/main" val="2337461486"/>
                  </a:ext>
                </a:extLst>
              </a:tr>
              <a:tr h="190500">
                <a:tc>
                  <a:txBody>
                    <a:bodyPr/>
                    <a:lstStyle/>
                    <a:p>
                      <a:pPr algn="ctr" fontAlgn="b"/>
                      <a:r>
                        <a:rPr lang="en-US" sz="1400" b="0" i="0" u="none" strike="noStrike" dirty="0">
                          <a:solidFill>
                            <a:srgbClr val="000000"/>
                          </a:solidFill>
                          <a:effectLst/>
                          <a:latin typeface="Aptos Narrow" panose="020B0004020202020204" pitchFamily="34" charset="0"/>
                        </a:rPr>
                        <a:t>12</a:t>
                      </a:r>
                    </a:p>
                  </a:txBody>
                  <a:tcPr marL="9525" marR="9525" marT="9525" marB="0" anchor="b">
                    <a:lnL>
                      <a:noFill/>
                    </a:lnL>
                    <a:lnR>
                      <a:noFill/>
                    </a:lnR>
                    <a:lnT>
                      <a:noFill/>
                    </a:lnT>
                    <a:lnB>
                      <a:noFill/>
                    </a:lnB>
                    <a:noFill/>
                  </a:tcPr>
                </a:tc>
                <a:tc>
                  <a:txBody>
                    <a:bodyPr/>
                    <a:lstStyle/>
                    <a:p>
                      <a:pPr algn="ctr" fontAlgn="b"/>
                      <a:r>
                        <a:rPr lang="en-US" sz="1400" b="0" i="0" u="none" strike="noStrike" dirty="0">
                          <a:solidFill>
                            <a:srgbClr val="000000"/>
                          </a:solidFill>
                          <a:effectLst/>
                          <a:latin typeface="Aptos Narrow" panose="020B0004020202020204" pitchFamily="34" charset="0"/>
                        </a:rPr>
                        <a:t>0.6</a:t>
                      </a:r>
                    </a:p>
                  </a:txBody>
                  <a:tcPr marL="9525" marR="9525" marT="9525" marB="0" anchor="b">
                    <a:lnL>
                      <a:noFill/>
                    </a:lnL>
                    <a:lnR>
                      <a:noFill/>
                    </a:lnR>
                    <a:lnT>
                      <a:noFill/>
                    </a:lnT>
                    <a:lnB>
                      <a:noFill/>
                    </a:lnB>
                    <a:noFill/>
                  </a:tcPr>
                </a:tc>
                <a:tc>
                  <a:txBody>
                    <a:bodyPr/>
                    <a:lstStyle/>
                    <a:p>
                      <a:pPr algn="ctr" fontAlgn="b"/>
                      <a:r>
                        <a:rPr lang="en-US" sz="1400" b="0" i="0" u="none" strike="noStrike" dirty="0">
                          <a:solidFill>
                            <a:srgbClr val="000000"/>
                          </a:solidFill>
                          <a:effectLst/>
                          <a:latin typeface="Aptos Narrow" panose="020B0004020202020204" pitchFamily="34" charset="0"/>
                        </a:rPr>
                        <a:t>41</a:t>
                      </a:r>
                    </a:p>
                  </a:txBody>
                  <a:tcPr marL="9525" marR="9525" marT="9525" marB="0" anchor="b">
                    <a:lnL>
                      <a:noFill/>
                    </a:lnL>
                    <a:lnR>
                      <a:noFill/>
                    </a:lnR>
                    <a:lnT>
                      <a:noFill/>
                    </a:lnT>
                    <a:lnB>
                      <a:noFill/>
                    </a:lnB>
                    <a:noFill/>
                  </a:tcPr>
                </a:tc>
                <a:extLst>
                  <a:ext uri="{0D108BD9-81ED-4DB2-BD59-A6C34878D82A}">
                    <a16:rowId xmlns:a16="http://schemas.microsoft.com/office/drawing/2014/main" val="1638807346"/>
                  </a:ext>
                </a:extLst>
              </a:tr>
              <a:tr h="190500">
                <a:tc>
                  <a:txBody>
                    <a:bodyPr/>
                    <a:lstStyle/>
                    <a:p>
                      <a:pPr algn="ctr" fontAlgn="b"/>
                      <a:r>
                        <a:rPr lang="en-US" sz="1400" b="0" i="0" u="none" strike="noStrike">
                          <a:solidFill>
                            <a:srgbClr val="000000"/>
                          </a:solidFill>
                          <a:effectLst/>
                          <a:latin typeface="Aptos Narrow" panose="020B0004020202020204" pitchFamily="34" charset="0"/>
                        </a:rPr>
                        <a:t>6</a:t>
                      </a:r>
                    </a:p>
                  </a:txBody>
                  <a:tcPr marL="9525" marR="9525" marT="9525" marB="0" anchor="b">
                    <a:lnL>
                      <a:noFill/>
                    </a:lnL>
                    <a:lnR>
                      <a:noFill/>
                    </a:lnR>
                    <a:lnT>
                      <a:noFill/>
                    </a:lnT>
                    <a:lnB>
                      <a:noFill/>
                    </a:lnB>
                    <a:noFill/>
                  </a:tcPr>
                </a:tc>
                <a:tc>
                  <a:txBody>
                    <a:bodyPr/>
                    <a:lstStyle/>
                    <a:p>
                      <a:pPr algn="ctr" fontAlgn="b"/>
                      <a:r>
                        <a:rPr lang="en-US" sz="1400" b="0" i="0" u="none" strike="noStrike">
                          <a:solidFill>
                            <a:srgbClr val="000000"/>
                          </a:solidFill>
                          <a:effectLst/>
                          <a:latin typeface="Aptos Narrow" panose="020B0004020202020204" pitchFamily="34" charset="0"/>
                        </a:rPr>
                        <a:t>0.6</a:t>
                      </a:r>
                    </a:p>
                  </a:txBody>
                  <a:tcPr marL="9525" marR="9525" marT="9525" marB="0" anchor="b">
                    <a:lnL>
                      <a:noFill/>
                    </a:lnL>
                    <a:lnR>
                      <a:noFill/>
                    </a:lnR>
                    <a:lnT>
                      <a:noFill/>
                    </a:lnT>
                    <a:lnB>
                      <a:noFill/>
                    </a:lnB>
                    <a:noFill/>
                  </a:tcPr>
                </a:tc>
                <a:tc>
                  <a:txBody>
                    <a:bodyPr/>
                    <a:lstStyle/>
                    <a:p>
                      <a:pPr algn="ctr" fontAlgn="b"/>
                      <a:r>
                        <a:rPr lang="en-US" sz="1400" b="0" i="0" u="none" strike="noStrike" dirty="0">
                          <a:solidFill>
                            <a:srgbClr val="000000"/>
                          </a:solidFill>
                          <a:effectLst/>
                          <a:latin typeface="Aptos Narrow" panose="020B0004020202020204" pitchFamily="34" charset="0"/>
                        </a:rPr>
                        <a:t>48</a:t>
                      </a:r>
                    </a:p>
                  </a:txBody>
                  <a:tcPr marL="9525" marR="9525" marT="9525" marB="0" anchor="b">
                    <a:lnL>
                      <a:noFill/>
                    </a:lnL>
                    <a:lnR>
                      <a:noFill/>
                    </a:lnR>
                    <a:lnT>
                      <a:noFill/>
                    </a:lnT>
                    <a:lnB>
                      <a:noFill/>
                    </a:lnB>
                    <a:noFill/>
                  </a:tcPr>
                </a:tc>
                <a:extLst>
                  <a:ext uri="{0D108BD9-81ED-4DB2-BD59-A6C34878D82A}">
                    <a16:rowId xmlns:a16="http://schemas.microsoft.com/office/drawing/2014/main" val="3747049230"/>
                  </a:ext>
                </a:extLst>
              </a:tr>
              <a:tr h="190500">
                <a:tc>
                  <a:txBody>
                    <a:bodyPr/>
                    <a:lstStyle/>
                    <a:p>
                      <a:pPr algn="ctr" fontAlgn="b"/>
                      <a:r>
                        <a:rPr lang="en-US" sz="1400" b="0" i="0" u="none" strike="noStrike">
                          <a:solidFill>
                            <a:srgbClr val="000000"/>
                          </a:solidFill>
                          <a:effectLst/>
                          <a:latin typeface="Aptos Narrow" panose="020B0004020202020204" pitchFamily="34" charset="0"/>
                        </a:rPr>
                        <a:t>12</a:t>
                      </a:r>
                    </a:p>
                  </a:txBody>
                  <a:tcPr marL="9525" marR="9525" marT="9525" marB="0" anchor="b">
                    <a:lnL>
                      <a:noFill/>
                    </a:lnL>
                    <a:lnR>
                      <a:noFill/>
                    </a:lnR>
                    <a:lnT>
                      <a:noFill/>
                    </a:lnT>
                    <a:lnB>
                      <a:noFill/>
                    </a:lnB>
                    <a:noFill/>
                  </a:tcPr>
                </a:tc>
                <a:tc>
                  <a:txBody>
                    <a:bodyPr/>
                    <a:lstStyle/>
                    <a:p>
                      <a:pPr algn="ctr" fontAlgn="b"/>
                      <a:r>
                        <a:rPr lang="en-US" sz="1400" b="0" i="0" u="none" strike="noStrike">
                          <a:solidFill>
                            <a:srgbClr val="000000"/>
                          </a:solidFill>
                          <a:effectLst/>
                          <a:latin typeface="Aptos Narrow" panose="020B0004020202020204" pitchFamily="34" charset="0"/>
                        </a:rPr>
                        <a:t>0.7</a:t>
                      </a:r>
                    </a:p>
                  </a:txBody>
                  <a:tcPr marL="9525" marR="9525" marT="9525" marB="0" anchor="b">
                    <a:lnL>
                      <a:noFill/>
                    </a:lnL>
                    <a:lnR>
                      <a:noFill/>
                    </a:lnR>
                    <a:lnT>
                      <a:noFill/>
                    </a:lnT>
                    <a:lnB>
                      <a:noFill/>
                    </a:lnB>
                    <a:noFill/>
                  </a:tcPr>
                </a:tc>
                <a:tc>
                  <a:txBody>
                    <a:bodyPr/>
                    <a:lstStyle/>
                    <a:p>
                      <a:pPr algn="ctr" fontAlgn="b"/>
                      <a:r>
                        <a:rPr lang="en-US" sz="1400" b="0" i="0" u="none" strike="noStrike" dirty="0">
                          <a:solidFill>
                            <a:srgbClr val="000000"/>
                          </a:solidFill>
                          <a:effectLst/>
                          <a:latin typeface="Aptos Narrow" panose="020B0004020202020204" pitchFamily="34" charset="0"/>
                        </a:rPr>
                        <a:t>46</a:t>
                      </a:r>
                    </a:p>
                  </a:txBody>
                  <a:tcPr marL="9525" marR="9525" marT="9525" marB="0" anchor="b">
                    <a:lnL>
                      <a:noFill/>
                    </a:lnL>
                    <a:lnR>
                      <a:noFill/>
                    </a:lnR>
                    <a:lnT>
                      <a:noFill/>
                    </a:lnT>
                    <a:lnB>
                      <a:noFill/>
                    </a:lnB>
                    <a:noFill/>
                  </a:tcPr>
                </a:tc>
                <a:extLst>
                  <a:ext uri="{0D108BD9-81ED-4DB2-BD59-A6C34878D82A}">
                    <a16:rowId xmlns:a16="http://schemas.microsoft.com/office/drawing/2014/main" val="3211072988"/>
                  </a:ext>
                </a:extLst>
              </a:tr>
              <a:tr h="190500">
                <a:tc>
                  <a:txBody>
                    <a:bodyPr/>
                    <a:lstStyle/>
                    <a:p>
                      <a:pPr algn="ctr" fontAlgn="b"/>
                      <a:r>
                        <a:rPr lang="en-US" sz="1400" b="0" i="0" u="none" strike="noStrike" dirty="0">
                          <a:solidFill>
                            <a:srgbClr val="000000"/>
                          </a:solidFill>
                          <a:effectLst/>
                          <a:latin typeface="Aptos Narrow" panose="020B0004020202020204" pitchFamily="34" charset="0"/>
                        </a:rPr>
                        <a:t>6</a:t>
                      </a:r>
                    </a:p>
                  </a:txBody>
                  <a:tcPr marL="9525" marR="9525" marT="9525" marB="0" anchor="b">
                    <a:lnL>
                      <a:noFill/>
                    </a:lnL>
                    <a:lnR>
                      <a:noFill/>
                    </a:lnR>
                    <a:lnT>
                      <a:noFill/>
                    </a:lnT>
                    <a:lnB w="12700" cap="flat" cmpd="sng" algn="ctr">
                      <a:solidFill>
                        <a:schemeClr val="tx1"/>
                      </a:solidFill>
                      <a:prstDash val="solid"/>
                      <a:round/>
                      <a:headEnd type="none" w="med" len="med"/>
                      <a:tailEnd type="none" w="med" len="med"/>
                    </a:lnB>
                    <a:noFill/>
                  </a:tcPr>
                </a:tc>
                <a:tc>
                  <a:txBody>
                    <a:bodyPr/>
                    <a:lstStyle/>
                    <a:p>
                      <a:pPr algn="ctr" fontAlgn="b"/>
                      <a:r>
                        <a:rPr lang="en-US" sz="1400" b="0" i="0" u="none" strike="noStrike" dirty="0">
                          <a:solidFill>
                            <a:srgbClr val="000000"/>
                          </a:solidFill>
                          <a:effectLst/>
                          <a:latin typeface="Aptos Narrow" panose="020B0004020202020204" pitchFamily="34" charset="0"/>
                        </a:rPr>
                        <a:t>0.7</a:t>
                      </a:r>
                    </a:p>
                  </a:txBody>
                  <a:tcPr marL="9525" marR="9525" marT="9525" marB="0" anchor="b">
                    <a:lnL>
                      <a:noFill/>
                    </a:lnL>
                    <a:lnR>
                      <a:noFill/>
                    </a:lnR>
                    <a:lnT>
                      <a:noFill/>
                    </a:lnT>
                    <a:lnB w="12700" cap="flat" cmpd="sng" algn="ctr">
                      <a:solidFill>
                        <a:schemeClr val="tx1"/>
                      </a:solidFill>
                      <a:prstDash val="solid"/>
                      <a:round/>
                      <a:headEnd type="none" w="med" len="med"/>
                      <a:tailEnd type="none" w="med" len="med"/>
                    </a:lnB>
                    <a:noFill/>
                  </a:tcPr>
                </a:tc>
                <a:tc>
                  <a:txBody>
                    <a:bodyPr/>
                    <a:lstStyle/>
                    <a:p>
                      <a:pPr algn="ctr" fontAlgn="b"/>
                      <a:r>
                        <a:rPr lang="en-US" sz="1400" b="0" i="0" u="none" strike="noStrike" dirty="0">
                          <a:solidFill>
                            <a:srgbClr val="000000"/>
                          </a:solidFill>
                          <a:effectLst/>
                          <a:latin typeface="Aptos Narrow" panose="020B0004020202020204" pitchFamily="34" charset="0"/>
                        </a:rPr>
                        <a:t>53</a:t>
                      </a:r>
                    </a:p>
                  </a:txBody>
                  <a:tcPr marL="9525" marR="9525" marT="9525" marB="0" anchor="b">
                    <a:lnL>
                      <a:noFill/>
                    </a:lnL>
                    <a:lnR>
                      <a:noFill/>
                    </a:lnR>
                    <a:lnT>
                      <a:noFill/>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510707422"/>
                  </a:ext>
                </a:extLst>
              </a:tr>
            </a:tbl>
          </a:graphicData>
        </a:graphic>
      </p:graphicFrame>
    </p:spTree>
    <p:extLst>
      <p:ext uri="{BB962C8B-B14F-4D97-AF65-F5344CB8AC3E}">
        <p14:creationId xmlns:p14="http://schemas.microsoft.com/office/powerpoint/2010/main" val="1295633666"/>
      </p:ext>
    </p:extLst>
  </p:cSld>
  <p:clrMapOvr>
    <a:masterClrMapping/>
  </p:clrMapOvr>
  <p:transition spd="slow">
    <p:push dir="u"/>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8C003DF-AB7E-A04E-35F4-C982BF9D27A9}"/>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2D41F3B6-BA92-548F-E99C-564B344123BC}"/>
              </a:ext>
            </a:extLst>
          </p:cNvPr>
          <p:cNvSpPr>
            <a:spLocks noGrp="1"/>
          </p:cNvSpPr>
          <p:nvPr>
            <p:ph type="body" sz="quarter" idx="15"/>
          </p:nvPr>
        </p:nvSpPr>
        <p:spPr/>
        <p:txBody>
          <a:bodyPr/>
          <a:lstStyle/>
          <a:p>
            <a:endParaRPr lang="en-US">
              <a:solidFill>
                <a:srgbClr val="000000"/>
              </a:solidFill>
            </a:endParaRPr>
          </a:p>
          <a:p>
            <a:endParaRPr lang="en-US">
              <a:solidFill>
                <a:srgbClr val="000000"/>
              </a:solidFill>
            </a:endParaRPr>
          </a:p>
          <a:p>
            <a:endParaRPr lang="en-US">
              <a:solidFill>
                <a:srgbClr val="000000"/>
              </a:solidFill>
            </a:endParaRPr>
          </a:p>
          <a:p>
            <a:endParaRPr lang="en-US"/>
          </a:p>
        </p:txBody>
      </p:sp>
      <p:sp>
        <p:nvSpPr>
          <p:cNvPr id="3" name="Footer Placeholder 2">
            <a:extLst>
              <a:ext uri="{FF2B5EF4-FFF2-40B4-BE49-F238E27FC236}">
                <a16:creationId xmlns:a16="http://schemas.microsoft.com/office/drawing/2014/main" id="{CA6BCD97-BF7E-2945-972C-07E60A74384F}"/>
              </a:ext>
            </a:extLst>
          </p:cNvPr>
          <p:cNvSpPr>
            <a:spLocks noGrp="1"/>
          </p:cNvSpPr>
          <p:nvPr>
            <p:ph type="ftr" sz="quarter" idx="3"/>
          </p:nvPr>
        </p:nvSpPr>
        <p:spPr/>
        <p:txBody>
          <a:bodyPr/>
          <a:lstStyle/>
          <a:p>
            <a:r>
              <a:rPr lang="en-JP"/>
              <a:t> </a:t>
            </a:r>
          </a:p>
        </p:txBody>
      </p:sp>
      <p:sp>
        <p:nvSpPr>
          <p:cNvPr id="4" name="Title 3">
            <a:extLst>
              <a:ext uri="{FF2B5EF4-FFF2-40B4-BE49-F238E27FC236}">
                <a16:creationId xmlns:a16="http://schemas.microsoft.com/office/drawing/2014/main" id="{081FF28C-E29A-7694-C765-8C8E5E13CB16}"/>
              </a:ext>
            </a:extLst>
          </p:cNvPr>
          <p:cNvSpPr>
            <a:spLocks noGrp="1"/>
          </p:cNvSpPr>
          <p:nvPr>
            <p:ph type="title"/>
          </p:nvPr>
        </p:nvSpPr>
        <p:spPr/>
        <p:txBody>
          <a:bodyPr/>
          <a:lstStyle/>
          <a:p>
            <a:r>
              <a:rPr lang="en-US"/>
              <a:t>Go/No-Go Decision Metric</a:t>
            </a:r>
          </a:p>
        </p:txBody>
      </p:sp>
      <p:sp>
        <p:nvSpPr>
          <p:cNvPr id="5" name="Slide Number Placeholder 4">
            <a:extLst>
              <a:ext uri="{FF2B5EF4-FFF2-40B4-BE49-F238E27FC236}">
                <a16:creationId xmlns:a16="http://schemas.microsoft.com/office/drawing/2014/main" id="{63A3A986-2F24-7E0A-7282-99505DDADBBC}"/>
              </a:ext>
            </a:extLst>
          </p:cNvPr>
          <p:cNvSpPr>
            <a:spLocks noGrp="1"/>
          </p:cNvSpPr>
          <p:nvPr>
            <p:ph type="sldNum" sz="quarter" idx="4"/>
          </p:nvPr>
        </p:nvSpPr>
        <p:spPr/>
        <p:txBody>
          <a:bodyPr/>
          <a:lstStyle/>
          <a:p>
            <a:pPr defTabSz="1218810"/>
            <a:fld id="{E9B57936-92EF-4126-AE48-1D9D36D15E98}" type="slidenum">
              <a:rPr lang="ja-JP" altLang="en-US" smtClean="0"/>
              <a:pPr defTabSz="1218810"/>
              <a:t>6</a:t>
            </a:fld>
            <a:endParaRPr lang="ja-JP" altLang="en-US"/>
          </a:p>
        </p:txBody>
      </p:sp>
      <p:sp>
        <p:nvSpPr>
          <p:cNvPr id="6" name="Text Placeholder 5">
            <a:extLst>
              <a:ext uri="{FF2B5EF4-FFF2-40B4-BE49-F238E27FC236}">
                <a16:creationId xmlns:a16="http://schemas.microsoft.com/office/drawing/2014/main" id="{69E5C927-31AC-EBDB-70A7-9617A13181F9}"/>
              </a:ext>
            </a:extLst>
          </p:cNvPr>
          <p:cNvSpPr>
            <a:spLocks noGrp="1"/>
          </p:cNvSpPr>
          <p:nvPr>
            <p:ph type="body" sz="quarter" idx="16"/>
          </p:nvPr>
        </p:nvSpPr>
        <p:spPr/>
        <p:txBody>
          <a:bodyPr/>
          <a:lstStyle/>
          <a:p>
            <a:endParaRPr lang="en-US"/>
          </a:p>
        </p:txBody>
      </p:sp>
      <p:sp>
        <p:nvSpPr>
          <p:cNvPr id="9" name="TextBox 8">
            <a:extLst>
              <a:ext uri="{FF2B5EF4-FFF2-40B4-BE49-F238E27FC236}">
                <a16:creationId xmlns:a16="http://schemas.microsoft.com/office/drawing/2014/main" id="{EC31A9D9-BF15-2274-E852-962C7B1B21D8}"/>
              </a:ext>
            </a:extLst>
          </p:cNvPr>
          <p:cNvSpPr txBox="1"/>
          <p:nvPr/>
        </p:nvSpPr>
        <p:spPr>
          <a:xfrm>
            <a:off x="6478046" y="1094686"/>
            <a:ext cx="4843541" cy="4524315"/>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285750" indent="-285750">
              <a:buFont typeface="Arial"/>
              <a:buChar char="•"/>
            </a:pPr>
            <a:r>
              <a:rPr lang="en-US" b="1" dirty="0"/>
              <a:t>Assumptions: </a:t>
            </a:r>
          </a:p>
          <a:p>
            <a:pPr marL="742950" lvl="1" indent="-285750">
              <a:buFont typeface="Courier New"/>
              <a:buChar char="o"/>
            </a:pPr>
            <a:r>
              <a:rPr lang="en-US" dirty="0">
                <a:ea typeface="+mn-lt"/>
                <a:cs typeface="+mn-lt"/>
              </a:rPr>
              <a:t>A true reduction </a:t>
            </a:r>
            <a:r>
              <a:rPr lang="en-US">
                <a:ea typeface="+mn-lt"/>
                <a:cs typeface="+mn-lt"/>
              </a:rPr>
              <a:t>of 30% </a:t>
            </a:r>
            <a:r>
              <a:rPr lang="en-US" dirty="0">
                <a:ea typeface="+mn-lt"/>
                <a:cs typeface="+mn-lt"/>
              </a:rPr>
              <a:t>will be observed in </a:t>
            </a:r>
            <a:r>
              <a:rPr lang="en-US" dirty="0" err="1">
                <a:ea typeface="+mn-lt"/>
                <a:cs typeface="+mn-lt"/>
              </a:rPr>
              <a:t>NfL</a:t>
            </a:r>
            <a:r>
              <a:rPr lang="en-US" dirty="0">
                <a:ea typeface="+mn-lt"/>
                <a:cs typeface="+mn-lt"/>
              </a:rPr>
              <a:t> in the treated group compared to the placebo in log percent change from baseline is highly clinically significant. </a:t>
            </a:r>
          </a:p>
          <a:p>
            <a:pPr marL="742950" lvl="1" indent="-285750">
              <a:buFont typeface="Courier New"/>
              <a:buChar char="o"/>
            </a:pPr>
            <a:r>
              <a:rPr lang="en-US" dirty="0">
                <a:ea typeface="+mn-lt"/>
                <a:cs typeface="+mn-lt"/>
              </a:rPr>
              <a:t>The true reduction </a:t>
            </a:r>
            <a:r>
              <a:rPr lang="en-US">
                <a:ea typeface="+mn-lt"/>
                <a:cs typeface="+mn-lt"/>
              </a:rPr>
              <a:t>&lt;15% </a:t>
            </a:r>
            <a:r>
              <a:rPr lang="en-US" dirty="0">
                <a:ea typeface="+mn-lt"/>
                <a:cs typeface="+mn-lt"/>
              </a:rPr>
              <a:t>we will  not move forward</a:t>
            </a:r>
            <a:endParaRPr lang="en-US" dirty="0"/>
          </a:p>
          <a:p>
            <a:pPr marL="742950" lvl="1" indent="-285750">
              <a:buFont typeface="Courier New"/>
              <a:buChar char="o"/>
            </a:pPr>
            <a:r>
              <a:rPr lang="en-US" dirty="0"/>
              <a:t>Simple Bayesian Decision rule, credibility </a:t>
            </a:r>
            <a:r>
              <a:rPr lang="en-US"/>
              <a:t>of 95%</a:t>
            </a:r>
            <a:endParaRPr lang="en-US" dirty="0">
              <a:ea typeface="Calibri" panose="020F0502020204030204"/>
              <a:cs typeface="Calibri" panose="020F0502020204030204"/>
            </a:endParaRPr>
          </a:p>
          <a:p>
            <a:pPr marL="285750" indent="-285750">
              <a:buFont typeface="Arial"/>
              <a:buChar char="•"/>
            </a:pPr>
            <a:r>
              <a:rPr lang="en-US" b="1" dirty="0"/>
              <a:t>Sample size: </a:t>
            </a:r>
            <a:endParaRPr lang="en-US" dirty="0"/>
          </a:p>
          <a:p>
            <a:pPr marL="742950" lvl="1" indent="-285750">
              <a:buFont typeface="Courier New"/>
              <a:buChar char="o"/>
            </a:pPr>
            <a:r>
              <a:rPr lang="en-US" dirty="0"/>
              <a:t>N</a:t>
            </a:r>
            <a:r>
              <a:rPr lang="en-US" baseline="-25000" dirty="0"/>
              <a:t>p</a:t>
            </a:r>
            <a:r>
              <a:rPr lang="en-US" dirty="0"/>
              <a:t> = 12, N</a:t>
            </a:r>
            <a:r>
              <a:rPr lang="en-US" baseline="-25000" dirty="0"/>
              <a:t>t1</a:t>
            </a:r>
            <a:r>
              <a:rPr lang="en-US" dirty="0"/>
              <a:t> = N</a:t>
            </a:r>
            <a:r>
              <a:rPr lang="en-US" baseline="-25000" dirty="0"/>
              <a:t>t2</a:t>
            </a:r>
            <a:r>
              <a:rPr lang="en-US" dirty="0"/>
              <a:t> = 6, N</a:t>
            </a:r>
            <a:r>
              <a:rPr lang="en-US" baseline="-25000" dirty="0"/>
              <a:t>t3</a:t>
            </a:r>
            <a:r>
              <a:rPr lang="en-US" dirty="0"/>
              <a:t> = N</a:t>
            </a:r>
            <a:r>
              <a:rPr lang="en-US" baseline="-25000" dirty="0"/>
              <a:t>t4</a:t>
            </a:r>
            <a:r>
              <a:rPr lang="en-US" dirty="0"/>
              <a:t> = 12 for 4 different dose cohort, a total of 48</a:t>
            </a:r>
            <a:endParaRPr lang="en-US" dirty="0">
              <a:ea typeface="Calibri"/>
              <a:cs typeface="Calibri"/>
            </a:endParaRPr>
          </a:p>
          <a:p>
            <a:pPr marL="742950" lvl="1" indent="-285750">
              <a:buFont typeface="Courier New"/>
              <a:buChar char="o"/>
            </a:pPr>
            <a:r>
              <a:rPr lang="en-US" dirty="0"/>
              <a:t>Equal Standard deviations for both treatment and placebo </a:t>
            </a:r>
            <a:endParaRPr lang="en-US" dirty="0">
              <a:ea typeface="Calibri"/>
              <a:cs typeface="Calibri"/>
            </a:endParaRPr>
          </a:p>
          <a:p>
            <a:pPr marL="742950" lvl="1" indent="-285750">
              <a:buFont typeface="Courier New"/>
              <a:buChar char="o"/>
            </a:pPr>
            <a:r>
              <a:rPr lang="en-US" dirty="0"/>
              <a:t>SD considered 0.11 and 0.7 in log scale</a:t>
            </a:r>
          </a:p>
          <a:p>
            <a:pPr marL="742950" lvl="1" indent="-285750">
              <a:buFont typeface="Courier New"/>
              <a:buChar char="o"/>
            </a:pPr>
            <a:endParaRPr lang="en-US" dirty="0">
              <a:ea typeface="Calibri"/>
              <a:cs typeface="Calibri"/>
            </a:endParaRPr>
          </a:p>
        </p:txBody>
      </p:sp>
      <p:sp>
        <p:nvSpPr>
          <p:cNvPr id="11" name="TextBox 10">
            <a:extLst>
              <a:ext uri="{FF2B5EF4-FFF2-40B4-BE49-F238E27FC236}">
                <a16:creationId xmlns:a16="http://schemas.microsoft.com/office/drawing/2014/main" id="{E8727E45-BEE4-3245-8651-C3FCC3782BA8}"/>
              </a:ext>
            </a:extLst>
          </p:cNvPr>
          <p:cNvSpPr txBox="1"/>
          <p:nvPr/>
        </p:nvSpPr>
        <p:spPr>
          <a:xfrm>
            <a:off x="455113" y="1355645"/>
            <a:ext cx="5782992" cy="535531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285750" indent="-285750">
              <a:buFont typeface="Arial"/>
              <a:buChar char="•"/>
            </a:pPr>
            <a:r>
              <a:rPr lang="en-US" b="1" dirty="0"/>
              <a:t>Decision Thresholds: </a:t>
            </a:r>
          </a:p>
          <a:p>
            <a:pPr marL="742950" lvl="1" indent="-285750">
              <a:buFont typeface="Courier New"/>
              <a:buChar char="o"/>
            </a:pPr>
            <a:r>
              <a:rPr lang="en-US" dirty="0"/>
              <a:t>Go Criteria: P(</a:t>
            </a:r>
            <a:r>
              <a:rPr lang="en-US" dirty="0" err="1"/>
              <a:t>Δμ</a:t>
            </a:r>
            <a:r>
              <a:rPr lang="en-US" dirty="0"/>
              <a:t>&lt; −0.16)&gt; 0.7 </a:t>
            </a:r>
            <a:endParaRPr lang="en-US" dirty="0">
              <a:ea typeface="Calibri" panose="020F0502020204030204"/>
              <a:cs typeface="Calibri" panose="020F0502020204030204"/>
            </a:endParaRPr>
          </a:p>
          <a:p>
            <a:pPr marL="742950" lvl="1" indent="-285750">
              <a:buFont typeface="Courier New"/>
              <a:buChar char="o"/>
            </a:pPr>
            <a:r>
              <a:rPr lang="en-US" dirty="0"/>
              <a:t>No-Go Criteria: P(</a:t>
            </a:r>
            <a:r>
              <a:rPr lang="en-US" dirty="0" err="1"/>
              <a:t>Δμ</a:t>
            </a:r>
            <a:r>
              <a:rPr lang="en-US" dirty="0"/>
              <a:t>&lt; −0.16) &lt;0.1 </a:t>
            </a:r>
            <a:endParaRPr lang="en-US" dirty="0">
              <a:ea typeface="Calibri" panose="020F0502020204030204"/>
              <a:cs typeface="Calibri" panose="020F0502020204030204"/>
            </a:endParaRPr>
          </a:p>
          <a:p>
            <a:pPr marL="285750" indent="-285750">
              <a:buFont typeface="Arial"/>
              <a:buChar char="•"/>
            </a:pPr>
            <a:r>
              <a:rPr lang="en-US" b="1" dirty="0"/>
              <a:t>Definition of </a:t>
            </a:r>
            <a:r>
              <a:rPr lang="en-US" b="1" dirty="0" err="1"/>
              <a:t>Δμ</a:t>
            </a:r>
            <a:r>
              <a:rPr lang="en-US" b="1" dirty="0"/>
              <a:t>: </a:t>
            </a:r>
            <a:endParaRPr lang="en-US" b="1" dirty="0">
              <a:ea typeface="Calibri"/>
              <a:cs typeface="Calibri"/>
            </a:endParaRPr>
          </a:p>
          <a:p>
            <a:pPr marL="742950" lvl="1" indent="-285750">
              <a:buFont typeface="Courier New"/>
              <a:buChar char="o"/>
            </a:pPr>
            <a:r>
              <a:rPr lang="en-US" dirty="0" err="1"/>
              <a:t>Δμ</a:t>
            </a:r>
            <a:r>
              <a:rPr lang="en-US" dirty="0"/>
              <a:t> is defined as the median (treatment ratio of </a:t>
            </a:r>
            <a:r>
              <a:rPr lang="en-US" dirty="0" err="1"/>
              <a:t>NfL</a:t>
            </a:r>
            <a:r>
              <a:rPr lang="en-US" dirty="0"/>
              <a:t> level at follow-up to baseline) divided by the median (placebo ratio of </a:t>
            </a:r>
            <a:r>
              <a:rPr lang="en-US" dirty="0" err="1"/>
              <a:t>NfL</a:t>
            </a:r>
            <a:r>
              <a:rPr lang="en-US" dirty="0"/>
              <a:t> level at follow-up to baseline) in log scale. </a:t>
            </a:r>
            <a:endParaRPr lang="en-US" dirty="0">
              <a:ea typeface="Calibri"/>
              <a:cs typeface="Calibri"/>
            </a:endParaRPr>
          </a:p>
          <a:p>
            <a:pPr marL="285750" indent="-285750">
              <a:buFont typeface="Arial"/>
              <a:buChar char="•"/>
            </a:pPr>
            <a:r>
              <a:rPr lang="en-US" b="1" dirty="0"/>
              <a:t>Translation to Original Scale: </a:t>
            </a:r>
            <a:endParaRPr lang="en-US" b="1" dirty="0">
              <a:ea typeface="Calibri" panose="020F0502020204030204"/>
              <a:cs typeface="Calibri" panose="020F0502020204030204"/>
            </a:endParaRPr>
          </a:p>
          <a:p>
            <a:pPr marL="742950" lvl="1" indent="-285750">
              <a:buFont typeface="Courier New"/>
              <a:buChar char="o"/>
            </a:pPr>
            <a:r>
              <a:rPr lang="en-US" b="1" dirty="0"/>
              <a:t>Go Criteria </a:t>
            </a:r>
            <a:r>
              <a:rPr lang="en-US" b="1" dirty="0" err="1"/>
              <a:t>Δμ</a:t>
            </a:r>
            <a:r>
              <a:rPr lang="en-US" b="1" dirty="0"/>
              <a:t>&lt; −0.16</a:t>
            </a:r>
            <a:r>
              <a:rPr lang="en-US" dirty="0"/>
              <a:t> implies a 15% reduction with a probability after observed data is &gt;70% for a ‘go’ decision. </a:t>
            </a:r>
            <a:endParaRPr lang="en-US" dirty="0">
              <a:ea typeface="Calibri"/>
              <a:cs typeface="Calibri"/>
            </a:endParaRPr>
          </a:p>
          <a:p>
            <a:pPr marL="285750" indent="-285750">
              <a:buFont typeface="Arial"/>
              <a:buChar char="•"/>
            </a:pPr>
            <a:r>
              <a:rPr lang="en-US" b="1" dirty="0"/>
              <a:t>Study level expectation: </a:t>
            </a:r>
          </a:p>
          <a:p>
            <a:pPr marL="742950" lvl="1" indent="-285750">
              <a:buFont typeface="Arial"/>
              <a:buChar char="•"/>
            </a:pPr>
            <a:r>
              <a:rPr lang="en-US" dirty="0">
                <a:ea typeface="Calibri"/>
                <a:cs typeface="Calibri"/>
              </a:rPr>
              <a:t>With SD = 0.11, If the study observes &lt; 10% reduction, the QDM will recommend no-go, </a:t>
            </a:r>
          </a:p>
          <a:p>
            <a:pPr marL="742950" lvl="1" indent="-285750">
              <a:buFont typeface="Arial"/>
              <a:buChar char="•"/>
            </a:pPr>
            <a:r>
              <a:rPr lang="en-US" dirty="0">
                <a:ea typeface="Calibri"/>
                <a:cs typeface="Calibri"/>
              </a:rPr>
              <a:t>If the study observes more than &gt;18% reduction, QDM will trigger to go. </a:t>
            </a:r>
          </a:p>
          <a:p>
            <a:pPr marL="742950" lvl="1" indent="-285750">
              <a:buFont typeface="Arial"/>
              <a:buChar char="•"/>
            </a:pPr>
            <a:r>
              <a:rPr lang="en-US" dirty="0">
                <a:ea typeface="Calibri"/>
                <a:cs typeface="Calibri"/>
              </a:rPr>
              <a:t>QDM Recommend ‘consider’ in between </a:t>
            </a:r>
          </a:p>
          <a:p>
            <a:pPr marL="285750" indent="-285750">
              <a:buFont typeface="Arial"/>
              <a:buChar char="•"/>
            </a:pPr>
            <a:endParaRPr lang="en-US" dirty="0">
              <a:ea typeface="Calibri"/>
              <a:cs typeface="Calibri"/>
            </a:endParaRPr>
          </a:p>
        </p:txBody>
      </p:sp>
    </p:spTree>
    <p:extLst>
      <p:ext uri="{BB962C8B-B14F-4D97-AF65-F5344CB8AC3E}">
        <p14:creationId xmlns:p14="http://schemas.microsoft.com/office/powerpoint/2010/main" val="3487538365"/>
      </p:ext>
    </p:extLst>
  </p:cSld>
  <p:clrMapOvr>
    <a:masterClrMapping/>
  </p:clrMapOvr>
  <p:transition spd="slow">
    <p:push dir="u"/>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624D692-A2E4-34A4-21CB-C3B5DF7571A6}"/>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D5F21AF8-DA59-618A-21B9-6276FE9DB3A9}"/>
              </a:ext>
            </a:extLst>
          </p:cNvPr>
          <p:cNvSpPr>
            <a:spLocks noGrp="1"/>
          </p:cNvSpPr>
          <p:nvPr>
            <p:ph type="body" sz="quarter" idx="15"/>
          </p:nvPr>
        </p:nvSpPr>
        <p:spPr/>
        <p:txBody>
          <a:bodyPr/>
          <a:lstStyle/>
          <a:p>
            <a:endParaRPr lang="en-US" dirty="0">
              <a:solidFill>
                <a:srgbClr val="000000"/>
              </a:solidFill>
            </a:endParaRPr>
          </a:p>
          <a:p>
            <a:endParaRPr lang="en-US" dirty="0">
              <a:solidFill>
                <a:srgbClr val="000000"/>
              </a:solidFill>
            </a:endParaRPr>
          </a:p>
          <a:p>
            <a:endParaRPr lang="en-US" dirty="0">
              <a:solidFill>
                <a:srgbClr val="000000"/>
              </a:solidFill>
            </a:endParaRPr>
          </a:p>
          <a:p>
            <a:endParaRPr lang="en-US" dirty="0"/>
          </a:p>
        </p:txBody>
      </p:sp>
      <p:sp>
        <p:nvSpPr>
          <p:cNvPr id="3" name="Footer Placeholder 2">
            <a:extLst>
              <a:ext uri="{FF2B5EF4-FFF2-40B4-BE49-F238E27FC236}">
                <a16:creationId xmlns:a16="http://schemas.microsoft.com/office/drawing/2014/main" id="{98BEF804-C092-88A4-21BB-2DC18DFC1F15}"/>
              </a:ext>
            </a:extLst>
          </p:cNvPr>
          <p:cNvSpPr>
            <a:spLocks noGrp="1"/>
          </p:cNvSpPr>
          <p:nvPr>
            <p:ph type="ftr" sz="quarter" idx="3"/>
          </p:nvPr>
        </p:nvSpPr>
        <p:spPr/>
        <p:txBody>
          <a:bodyPr/>
          <a:lstStyle/>
          <a:p>
            <a:r>
              <a:rPr lang="en-JP"/>
              <a:t> </a:t>
            </a:r>
          </a:p>
        </p:txBody>
      </p:sp>
      <p:sp>
        <p:nvSpPr>
          <p:cNvPr id="4" name="Title 3">
            <a:extLst>
              <a:ext uri="{FF2B5EF4-FFF2-40B4-BE49-F238E27FC236}">
                <a16:creationId xmlns:a16="http://schemas.microsoft.com/office/drawing/2014/main" id="{AF5D7E39-E3B0-4ADF-5D34-48ED11F0DBE9}"/>
              </a:ext>
            </a:extLst>
          </p:cNvPr>
          <p:cNvSpPr>
            <a:spLocks noGrp="1"/>
          </p:cNvSpPr>
          <p:nvPr>
            <p:ph type="title"/>
          </p:nvPr>
        </p:nvSpPr>
        <p:spPr/>
        <p:txBody>
          <a:bodyPr/>
          <a:lstStyle/>
          <a:p>
            <a:r>
              <a:rPr lang="en-US">
                <a:latin typeface="Calibri"/>
                <a:ea typeface="メイリオ"/>
                <a:cs typeface="Calibri"/>
              </a:rPr>
              <a:t>GNG Operating Characteristics</a:t>
            </a:r>
            <a:endParaRPr lang="en-US"/>
          </a:p>
        </p:txBody>
      </p:sp>
      <p:sp>
        <p:nvSpPr>
          <p:cNvPr id="5" name="Slide Number Placeholder 4">
            <a:extLst>
              <a:ext uri="{FF2B5EF4-FFF2-40B4-BE49-F238E27FC236}">
                <a16:creationId xmlns:a16="http://schemas.microsoft.com/office/drawing/2014/main" id="{0FBDA0A1-510F-BAE4-3F12-CD609293D831}"/>
              </a:ext>
            </a:extLst>
          </p:cNvPr>
          <p:cNvSpPr>
            <a:spLocks noGrp="1"/>
          </p:cNvSpPr>
          <p:nvPr>
            <p:ph type="sldNum" sz="quarter" idx="4"/>
          </p:nvPr>
        </p:nvSpPr>
        <p:spPr/>
        <p:txBody>
          <a:bodyPr/>
          <a:lstStyle/>
          <a:p>
            <a:pPr defTabSz="1218810"/>
            <a:fld id="{E9B57936-92EF-4126-AE48-1D9D36D15E98}" type="slidenum">
              <a:rPr lang="ja-JP" altLang="en-US" smtClean="0"/>
              <a:pPr defTabSz="1218810"/>
              <a:t>7</a:t>
            </a:fld>
            <a:endParaRPr lang="ja-JP" altLang="en-US"/>
          </a:p>
        </p:txBody>
      </p:sp>
      <p:sp>
        <p:nvSpPr>
          <p:cNvPr id="6" name="Text Placeholder 5">
            <a:extLst>
              <a:ext uri="{FF2B5EF4-FFF2-40B4-BE49-F238E27FC236}">
                <a16:creationId xmlns:a16="http://schemas.microsoft.com/office/drawing/2014/main" id="{E7BC8CBC-027C-DF53-0FCA-597A4C406DA0}"/>
              </a:ext>
            </a:extLst>
          </p:cNvPr>
          <p:cNvSpPr>
            <a:spLocks noGrp="1"/>
          </p:cNvSpPr>
          <p:nvPr>
            <p:ph type="body" sz="quarter" idx="16"/>
          </p:nvPr>
        </p:nvSpPr>
        <p:spPr/>
        <p:txBody>
          <a:bodyPr/>
          <a:lstStyle/>
          <a:p>
            <a:endParaRPr lang="en-US"/>
          </a:p>
        </p:txBody>
      </p:sp>
      <p:sp>
        <p:nvSpPr>
          <p:cNvPr id="7" name="TextBox 6">
            <a:extLst>
              <a:ext uri="{FF2B5EF4-FFF2-40B4-BE49-F238E27FC236}">
                <a16:creationId xmlns:a16="http://schemas.microsoft.com/office/drawing/2014/main" id="{704D1759-5D6F-D468-6747-2F7DF9A1456F}"/>
              </a:ext>
            </a:extLst>
          </p:cNvPr>
          <p:cNvSpPr txBox="1"/>
          <p:nvPr/>
        </p:nvSpPr>
        <p:spPr>
          <a:xfrm>
            <a:off x="601720" y="846921"/>
            <a:ext cx="11083770" cy="646331"/>
          </a:xfrm>
          <a:prstGeom prst="rect">
            <a:avLst/>
          </a:prstGeom>
          <a:noFill/>
        </p:spPr>
        <p:txBody>
          <a:bodyPr wrap="square" lIns="91440" tIns="45720" rIns="91440" bIns="45720" rtlCol="0" anchor="t">
            <a:spAutoFit/>
          </a:bodyPr>
          <a:lstStyle/>
          <a:p>
            <a:r>
              <a:rPr lang="en-US" dirty="0">
                <a:solidFill>
                  <a:srgbClr val="242424"/>
                </a:solidFill>
                <a:latin typeface="Segoe UI"/>
                <a:cs typeface="Segoe UI"/>
              </a:rPr>
              <a:t>Several  SD and sample size and reduction situations are evaluated for the decision using the proposed QDM. </a:t>
            </a:r>
            <a:endParaRPr lang="en-US" dirty="0"/>
          </a:p>
        </p:txBody>
      </p:sp>
      <p:graphicFrame>
        <p:nvGraphicFramePr>
          <p:cNvPr id="8" name="Table 7">
            <a:extLst>
              <a:ext uri="{FF2B5EF4-FFF2-40B4-BE49-F238E27FC236}">
                <a16:creationId xmlns:a16="http://schemas.microsoft.com/office/drawing/2014/main" id="{35FA5CC7-657E-43D5-9145-BD31C6690CB6}"/>
              </a:ext>
            </a:extLst>
          </p:cNvPr>
          <p:cNvGraphicFramePr>
            <a:graphicFrameLocks noGrp="1"/>
          </p:cNvGraphicFramePr>
          <p:nvPr>
            <p:extLst>
              <p:ext uri="{D42A27DB-BD31-4B8C-83A1-F6EECF244321}">
                <p14:modId xmlns:p14="http://schemas.microsoft.com/office/powerpoint/2010/main" val="2900046194"/>
              </p:ext>
            </p:extLst>
          </p:nvPr>
        </p:nvGraphicFramePr>
        <p:xfrm>
          <a:off x="659653" y="1881894"/>
          <a:ext cx="5483952" cy="3343542"/>
        </p:xfrm>
        <a:graphic>
          <a:graphicData uri="http://schemas.openxmlformats.org/drawingml/2006/table">
            <a:tbl>
              <a:tblPr/>
              <a:tblGrid>
                <a:gridCol w="804330">
                  <a:extLst>
                    <a:ext uri="{9D8B030D-6E8A-4147-A177-3AD203B41FA5}">
                      <a16:colId xmlns:a16="http://schemas.microsoft.com/office/drawing/2014/main" val="2957512772"/>
                    </a:ext>
                  </a:extLst>
                </a:gridCol>
                <a:gridCol w="804330">
                  <a:extLst>
                    <a:ext uri="{9D8B030D-6E8A-4147-A177-3AD203B41FA5}">
                      <a16:colId xmlns:a16="http://schemas.microsoft.com/office/drawing/2014/main" val="3021595066"/>
                    </a:ext>
                  </a:extLst>
                </a:gridCol>
                <a:gridCol w="829572">
                  <a:extLst>
                    <a:ext uri="{9D8B030D-6E8A-4147-A177-3AD203B41FA5}">
                      <a16:colId xmlns:a16="http://schemas.microsoft.com/office/drawing/2014/main" val="267033232"/>
                    </a:ext>
                  </a:extLst>
                </a:gridCol>
                <a:gridCol w="924382">
                  <a:extLst>
                    <a:ext uri="{9D8B030D-6E8A-4147-A177-3AD203B41FA5}">
                      <a16:colId xmlns:a16="http://schemas.microsoft.com/office/drawing/2014/main" val="237140284"/>
                    </a:ext>
                  </a:extLst>
                </a:gridCol>
                <a:gridCol w="948084">
                  <a:extLst>
                    <a:ext uri="{9D8B030D-6E8A-4147-A177-3AD203B41FA5}">
                      <a16:colId xmlns:a16="http://schemas.microsoft.com/office/drawing/2014/main" val="1473312251"/>
                    </a:ext>
                  </a:extLst>
                </a:gridCol>
                <a:gridCol w="1173254">
                  <a:extLst>
                    <a:ext uri="{9D8B030D-6E8A-4147-A177-3AD203B41FA5}">
                      <a16:colId xmlns:a16="http://schemas.microsoft.com/office/drawing/2014/main" val="2550025860"/>
                    </a:ext>
                  </a:extLst>
                </a:gridCol>
              </a:tblGrid>
              <a:tr h="649806">
                <a:tc>
                  <a:txBody>
                    <a:bodyPr/>
                    <a:lstStyle/>
                    <a:p>
                      <a:pPr algn="ctr" fontAlgn="b"/>
                      <a:r>
                        <a:rPr lang="en-US" sz="1400" b="1" i="0" u="none" strike="noStrike" dirty="0">
                          <a:solidFill>
                            <a:srgbClr val="000000"/>
                          </a:solidFill>
                          <a:effectLst/>
                          <a:latin typeface="Aptos Narrow"/>
                        </a:rPr>
                        <a:t>SD</a:t>
                      </a:r>
                    </a:p>
                  </a:txBody>
                  <a:tcPr marL="9525" marR="9525" marT="9525" marB="0" anchor="b">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400" b="1" i="0" u="none" strike="noStrike" err="1">
                          <a:solidFill>
                            <a:srgbClr val="000000"/>
                          </a:solidFill>
                          <a:effectLst/>
                          <a:latin typeface="Aptos Narrow"/>
                        </a:rPr>
                        <a:t>Nt</a:t>
                      </a:r>
                    </a:p>
                  </a:txBody>
                  <a:tcPr marL="9525" marR="9525" marT="9525" marB="0" anchor="b">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400" b="1" i="0" u="none" strike="noStrike">
                          <a:solidFill>
                            <a:srgbClr val="000000"/>
                          </a:solidFill>
                          <a:effectLst/>
                          <a:latin typeface="Aptos Narrow"/>
                        </a:rPr>
                        <a:t>Reduction (%)</a:t>
                      </a:r>
                      <a:endParaRPr lang="en-US" sz="1400" b="1" i="0" u="none" strike="noStrike" dirty="0">
                        <a:solidFill>
                          <a:srgbClr val="000000"/>
                        </a:solidFill>
                        <a:effectLst/>
                        <a:latin typeface="Aptos Narrow"/>
                      </a:endParaRPr>
                    </a:p>
                  </a:txBody>
                  <a:tcPr marL="9525" marR="9525" marT="9525" marB="0" anchor="b">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400" b="1" i="0" u="none" strike="noStrike" dirty="0">
                          <a:solidFill>
                            <a:srgbClr val="000000"/>
                          </a:solidFill>
                          <a:effectLst/>
                          <a:latin typeface="Aptos Narrow"/>
                        </a:rPr>
                        <a:t>Go </a:t>
                      </a:r>
                      <a:r>
                        <a:rPr lang="en-US" sz="1400" b="1" i="0" u="none" strike="noStrike">
                          <a:solidFill>
                            <a:srgbClr val="000000"/>
                          </a:solidFill>
                          <a:effectLst/>
                          <a:latin typeface="Aptos Narrow"/>
                        </a:rPr>
                        <a:t>Probability (%)</a:t>
                      </a:r>
                      <a:endParaRPr lang="en-US" sz="1400" b="1" i="0" u="none" strike="noStrike" dirty="0">
                        <a:solidFill>
                          <a:srgbClr val="000000"/>
                        </a:solidFill>
                        <a:effectLst/>
                        <a:latin typeface="Aptos Narrow"/>
                      </a:endParaRPr>
                    </a:p>
                  </a:txBody>
                  <a:tcPr marL="9525" marR="9525" marT="9525" marB="0" anchor="b">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400" b="1" i="0" u="none" strike="noStrike" dirty="0">
                          <a:solidFill>
                            <a:srgbClr val="000000"/>
                          </a:solidFill>
                          <a:effectLst/>
                          <a:latin typeface="Aptos Narrow"/>
                        </a:rPr>
                        <a:t>No-Go </a:t>
                      </a:r>
                      <a:r>
                        <a:rPr lang="en-US" sz="1400" b="1" i="0" u="none" strike="noStrike">
                          <a:solidFill>
                            <a:srgbClr val="000000"/>
                          </a:solidFill>
                          <a:effectLst/>
                          <a:latin typeface="Aptos Narrow"/>
                        </a:rPr>
                        <a:t>Probability (%)</a:t>
                      </a:r>
                      <a:endParaRPr lang="en-US" sz="1400" b="1" i="0" u="none" strike="noStrike" dirty="0">
                        <a:solidFill>
                          <a:srgbClr val="000000"/>
                        </a:solidFill>
                        <a:effectLst/>
                        <a:latin typeface="Aptos Narrow"/>
                      </a:endParaRPr>
                    </a:p>
                  </a:txBody>
                  <a:tcPr marL="9525" marR="9525" marT="9525" marB="0" anchor="b">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400" b="1" i="0" u="none" strike="noStrike" dirty="0">
                          <a:solidFill>
                            <a:srgbClr val="000000"/>
                          </a:solidFill>
                          <a:effectLst/>
                          <a:latin typeface="Aptos Narrow"/>
                        </a:rPr>
                        <a:t>Consider (Gray Zone) </a:t>
                      </a:r>
                      <a:r>
                        <a:rPr lang="en-US" sz="1400" b="1" i="0" u="none" strike="noStrike">
                          <a:solidFill>
                            <a:srgbClr val="000000"/>
                          </a:solidFill>
                          <a:effectLst/>
                          <a:latin typeface="Aptos Narrow"/>
                        </a:rPr>
                        <a:t>Probability (%)</a:t>
                      </a:r>
                      <a:endParaRPr lang="en-US" sz="1400" b="1" i="0" u="none" strike="noStrike" dirty="0">
                        <a:solidFill>
                          <a:srgbClr val="000000"/>
                        </a:solidFill>
                        <a:effectLst/>
                        <a:latin typeface="Aptos Narrow"/>
                      </a:endParaRPr>
                    </a:p>
                  </a:txBody>
                  <a:tcPr marL="9525" marR="9525" marT="9525" marB="0" anchor="b">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802819949"/>
                  </a:ext>
                </a:extLst>
              </a:tr>
              <a:tr h="224478">
                <a:tc>
                  <a:txBody>
                    <a:bodyPr/>
                    <a:lstStyle/>
                    <a:p>
                      <a:pPr algn="ctr" fontAlgn="b"/>
                      <a:r>
                        <a:rPr lang="en-US" sz="1400" b="0" i="0" u="none" strike="noStrike" dirty="0">
                          <a:solidFill>
                            <a:srgbClr val="000000"/>
                          </a:solidFill>
                          <a:effectLst/>
                          <a:latin typeface="Aptos Narrow" panose="020B0004020202020204" pitchFamily="34" charset="0"/>
                        </a:rPr>
                        <a:t>0.11</a:t>
                      </a:r>
                    </a:p>
                  </a:txBody>
                  <a:tcPr marL="9525" marR="9525" marT="9525" marB="0" anchor="b">
                    <a:lnL>
                      <a:solidFill>
                        <a:srgbClr val="000000"/>
                      </a:solidFill>
                    </a:lnL>
                    <a:lnR w="0">
                      <a:noFill/>
                    </a:lnR>
                    <a:lnT w="12700">
                      <a:solidFill>
                        <a:schemeClr val="tx1"/>
                      </a:solidFill>
                    </a:lnT>
                    <a:lnB w="0">
                      <a:noFill/>
                    </a:lnB>
                    <a:solidFill>
                      <a:schemeClr val="accent5">
                        <a:lumMod val="90000"/>
                      </a:schemeClr>
                    </a:solidFill>
                  </a:tcPr>
                </a:tc>
                <a:tc>
                  <a:txBody>
                    <a:bodyPr/>
                    <a:lstStyle/>
                    <a:p>
                      <a:pPr algn="ctr" fontAlgn="b"/>
                      <a:r>
                        <a:rPr lang="en-US" sz="1400" b="0" i="0" u="none" strike="noStrike" dirty="0">
                          <a:solidFill>
                            <a:srgbClr val="000000"/>
                          </a:solidFill>
                          <a:effectLst/>
                          <a:latin typeface="Aptos Narrow" panose="020B0004020202020204" pitchFamily="34" charset="0"/>
                        </a:rPr>
                        <a:t>6</a:t>
                      </a:r>
                    </a:p>
                  </a:txBody>
                  <a:tcPr marL="9525" marR="9525" marT="9525" marB="0" anchor="b">
                    <a:lnL w="0">
                      <a:noFill/>
                    </a:lnL>
                    <a:lnR w="0">
                      <a:noFill/>
                    </a:lnR>
                    <a:lnT w="12700">
                      <a:solidFill>
                        <a:schemeClr val="tx1"/>
                      </a:solidFill>
                    </a:lnT>
                    <a:lnB w="0">
                      <a:noFill/>
                    </a:lnB>
                    <a:solidFill>
                      <a:schemeClr val="accent5">
                        <a:lumMod val="90000"/>
                      </a:schemeClr>
                    </a:solidFill>
                  </a:tcPr>
                </a:tc>
                <a:tc>
                  <a:txBody>
                    <a:bodyPr/>
                    <a:lstStyle/>
                    <a:p>
                      <a:pPr algn="ctr" fontAlgn="b"/>
                      <a:r>
                        <a:rPr lang="en-US" sz="1400" b="0" i="0" u="none" strike="noStrike" dirty="0">
                          <a:solidFill>
                            <a:srgbClr val="000000"/>
                          </a:solidFill>
                          <a:effectLst/>
                          <a:latin typeface="Aptos Narrow" panose="020B0004020202020204" pitchFamily="34" charset="0"/>
                        </a:rPr>
                        <a:t>10</a:t>
                      </a:r>
                    </a:p>
                  </a:txBody>
                  <a:tcPr marL="9525" marR="9525" marT="9525" marB="0" anchor="b">
                    <a:lnL w="0">
                      <a:noFill/>
                    </a:lnL>
                    <a:lnR w="0">
                      <a:noFill/>
                    </a:lnR>
                    <a:lnT w="12700">
                      <a:solidFill>
                        <a:schemeClr val="tx1"/>
                      </a:solidFill>
                    </a:lnT>
                    <a:lnB w="0">
                      <a:noFill/>
                    </a:lnB>
                    <a:solidFill>
                      <a:schemeClr val="accent5">
                        <a:lumMod val="90000"/>
                      </a:schemeClr>
                    </a:solidFill>
                  </a:tcPr>
                </a:tc>
                <a:tc>
                  <a:txBody>
                    <a:bodyPr/>
                    <a:lstStyle/>
                    <a:p>
                      <a:pPr algn="ctr" fontAlgn="b"/>
                      <a:r>
                        <a:rPr lang="en-US" sz="1400" b="0" i="0" u="none" strike="noStrike" dirty="0">
                          <a:solidFill>
                            <a:srgbClr val="000000"/>
                          </a:solidFill>
                          <a:effectLst/>
                          <a:latin typeface="Aptos Narrow" panose="020B0004020202020204" pitchFamily="34" charset="0"/>
                        </a:rPr>
                        <a:t>5.3</a:t>
                      </a:r>
                    </a:p>
                  </a:txBody>
                  <a:tcPr marL="9525" marR="9525" marT="9525" marB="0" anchor="b">
                    <a:lnL w="0">
                      <a:noFill/>
                    </a:lnL>
                    <a:lnR w="0">
                      <a:noFill/>
                    </a:lnR>
                    <a:lnT w="12700">
                      <a:solidFill>
                        <a:schemeClr val="tx1"/>
                      </a:solidFill>
                    </a:lnT>
                    <a:lnB w="0">
                      <a:noFill/>
                    </a:lnB>
                    <a:solidFill>
                      <a:schemeClr val="accent5">
                        <a:lumMod val="90000"/>
                      </a:schemeClr>
                    </a:solidFill>
                  </a:tcPr>
                </a:tc>
                <a:tc>
                  <a:txBody>
                    <a:bodyPr/>
                    <a:lstStyle/>
                    <a:p>
                      <a:pPr algn="ctr" fontAlgn="b"/>
                      <a:r>
                        <a:rPr lang="en-US" sz="1400" b="0" i="0" u="none" strike="noStrike" dirty="0">
                          <a:solidFill>
                            <a:srgbClr val="000000"/>
                          </a:solidFill>
                          <a:effectLst/>
                          <a:latin typeface="Aptos Narrow" panose="020B0004020202020204" pitchFamily="34" charset="0"/>
                        </a:rPr>
                        <a:t>42.4</a:t>
                      </a:r>
                    </a:p>
                  </a:txBody>
                  <a:tcPr marL="9525" marR="9525" marT="9525" marB="0" anchor="b">
                    <a:lnL w="0">
                      <a:noFill/>
                    </a:lnL>
                    <a:lnR w="0">
                      <a:noFill/>
                    </a:lnR>
                    <a:lnT w="12700">
                      <a:solidFill>
                        <a:schemeClr val="tx1"/>
                      </a:solidFill>
                    </a:lnT>
                    <a:lnB w="0">
                      <a:noFill/>
                    </a:lnB>
                    <a:solidFill>
                      <a:schemeClr val="accent5">
                        <a:lumMod val="90000"/>
                      </a:schemeClr>
                    </a:solidFill>
                  </a:tcPr>
                </a:tc>
                <a:tc>
                  <a:txBody>
                    <a:bodyPr/>
                    <a:lstStyle/>
                    <a:p>
                      <a:pPr algn="ctr" fontAlgn="b"/>
                      <a:r>
                        <a:rPr lang="en-US" sz="1400" b="0" i="0" u="none" strike="noStrike" dirty="0">
                          <a:solidFill>
                            <a:srgbClr val="000000"/>
                          </a:solidFill>
                          <a:effectLst/>
                          <a:latin typeface="Aptos Narrow" panose="020B0004020202020204" pitchFamily="34" charset="0"/>
                        </a:rPr>
                        <a:t>52.3</a:t>
                      </a:r>
                    </a:p>
                  </a:txBody>
                  <a:tcPr marL="9525" marR="9525" marT="9525" marB="0" anchor="b">
                    <a:lnL w="0">
                      <a:noFill/>
                    </a:lnL>
                    <a:lnR>
                      <a:solidFill>
                        <a:srgbClr val="000000"/>
                      </a:solidFill>
                    </a:lnR>
                    <a:lnT w="12700">
                      <a:solidFill>
                        <a:schemeClr val="tx1"/>
                      </a:solidFill>
                    </a:lnT>
                    <a:lnB w="0">
                      <a:noFill/>
                    </a:lnB>
                    <a:solidFill>
                      <a:schemeClr val="accent5">
                        <a:lumMod val="90000"/>
                      </a:schemeClr>
                    </a:solidFill>
                  </a:tcPr>
                </a:tc>
                <a:extLst>
                  <a:ext uri="{0D108BD9-81ED-4DB2-BD59-A6C34878D82A}">
                    <a16:rowId xmlns:a16="http://schemas.microsoft.com/office/drawing/2014/main" val="2119145847"/>
                  </a:ext>
                </a:extLst>
              </a:tr>
              <a:tr h="224478">
                <a:tc>
                  <a:txBody>
                    <a:bodyPr/>
                    <a:lstStyle/>
                    <a:p>
                      <a:pPr algn="ctr" fontAlgn="b"/>
                      <a:r>
                        <a:rPr lang="en-US" sz="1400" b="0" i="0" u="none" strike="noStrike">
                          <a:solidFill>
                            <a:srgbClr val="000000"/>
                          </a:solidFill>
                          <a:effectLst/>
                          <a:latin typeface="Aptos Narrow" panose="020B0004020202020204" pitchFamily="34" charset="0"/>
                        </a:rPr>
                        <a:t>0.11</a:t>
                      </a:r>
                    </a:p>
                  </a:txBody>
                  <a:tcPr marL="9525" marR="9525" marT="9525" marB="0" anchor="b">
                    <a:lnL>
                      <a:noFill/>
                    </a:lnL>
                    <a:lnR>
                      <a:noFill/>
                    </a:lnR>
                    <a:lnT w="0">
                      <a:noFill/>
                    </a:lnT>
                    <a:lnB>
                      <a:noFill/>
                    </a:lnB>
                    <a:solidFill>
                      <a:schemeClr val="accent5">
                        <a:lumMod val="90000"/>
                      </a:schemeClr>
                    </a:solidFill>
                  </a:tcPr>
                </a:tc>
                <a:tc>
                  <a:txBody>
                    <a:bodyPr/>
                    <a:lstStyle/>
                    <a:p>
                      <a:pPr algn="ctr" fontAlgn="b"/>
                      <a:r>
                        <a:rPr lang="en-US" sz="1400" b="0" i="0" u="none" strike="noStrike" dirty="0">
                          <a:solidFill>
                            <a:srgbClr val="000000"/>
                          </a:solidFill>
                          <a:effectLst/>
                          <a:latin typeface="Aptos Narrow" panose="020B0004020202020204" pitchFamily="34" charset="0"/>
                        </a:rPr>
                        <a:t>12</a:t>
                      </a:r>
                    </a:p>
                  </a:txBody>
                  <a:tcPr marL="9525" marR="9525" marT="9525" marB="0" anchor="b">
                    <a:lnL>
                      <a:noFill/>
                    </a:lnL>
                    <a:lnR>
                      <a:noFill/>
                    </a:lnR>
                    <a:lnT w="0">
                      <a:noFill/>
                    </a:lnT>
                    <a:lnB>
                      <a:noFill/>
                    </a:lnB>
                    <a:solidFill>
                      <a:schemeClr val="accent5">
                        <a:lumMod val="90000"/>
                      </a:schemeClr>
                    </a:solidFill>
                  </a:tcPr>
                </a:tc>
                <a:tc>
                  <a:txBody>
                    <a:bodyPr/>
                    <a:lstStyle/>
                    <a:p>
                      <a:pPr algn="ctr" fontAlgn="b"/>
                      <a:r>
                        <a:rPr lang="en-US" sz="1400" b="0" i="0" u="none" strike="noStrike" dirty="0">
                          <a:solidFill>
                            <a:srgbClr val="000000"/>
                          </a:solidFill>
                          <a:effectLst/>
                          <a:latin typeface="Aptos Narrow" panose="020B0004020202020204" pitchFamily="34" charset="0"/>
                        </a:rPr>
                        <a:t>10</a:t>
                      </a:r>
                    </a:p>
                  </a:txBody>
                  <a:tcPr marL="9525" marR="9525" marT="9525" marB="0" anchor="b">
                    <a:lnL>
                      <a:noFill/>
                    </a:lnL>
                    <a:lnR>
                      <a:noFill/>
                    </a:lnR>
                    <a:lnT w="0">
                      <a:noFill/>
                    </a:lnT>
                    <a:lnB>
                      <a:noFill/>
                    </a:lnB>
                    <a:solidFill>
                      <a:schemeClr val="accent5">
                        <a:lumMod val="90000"/>
                      </a:schemeClr>
                    </a:solidFill>
                  </a:tcPr>
                </a:tc>
                <a:tc>
                  <a:txBody>
                    <a:bodyPr/>
                    <a:lstStyle/>
                    <a:p>
                      <a:pPr algn="ctr" fontAlgn="b"/>
                      <a:r>
                        <a:rPr lang="en-US" sz="1400" b="0" i="0" u="none" strike="noStrike" dirty="0">
                          <a:solidFill>
                            <a:srgbClr val="000000"/>
                          </a:solidFill>
                          <a:effectLst/>
                          <a:latin typeface="Aptos Narrow" panose="020B0004020202020204" pitchFamily="34" charset="0"/>
                        </a:rPr>
                        <a:t>3.1</a:t>
                      </a:r>
                    </a:p>
                  </a:txBody>
                  <a:tcPr marL="9525" marR="9525" marT="9525" marB="0" anchor="b">
                    <a:lnL>
                      <a:noFill/>
                    </a:lnL>
                    <a:lnR>
                      <a:noFill/>
                    </a:lnR>
                    <a:lnT w="0">
                      <a:noFill/>
                    </a:lnT>
                    <a:lnB>
                      <a:noFill/>
                    </a:lnB>
                    <a:solidFill>
                      <a:schemeClr val="accent5">
                        <a:lumMod val="90000"/>
                      </a:schemeClr>
                    </a:solidFill>
                  </a:tcPr>
                </a:tc>
                <a:tc>
                  <a:txBody>
                    <a:bodyPr/>
                    <a:lstStyle/>
                    <a:p>
                      <a:pPr algn="ctr" fontAlgn="b"/>
                      <a:r>
                        <a:rPr lang="en-US" sz="1400" b="0" i="0" u="none" strike="noStrike" dirty="0">
                          <a:solidFill>
                            <a:srgbClr val="000000"/>
                          </a:solidFill>
                          <a:effectLst/>
                          <a:latin typeface="Aptos Narrow" panose="020B0004020202020204" pitchFamily="34" charset="0"/>
                        </a:rPr>
                        <a:t>52.2</a:t>
                      </a:r>
                    </a:p>
                  </a:txBody>
                  <a:tcPr marL="9525" marR="9525" marT="9525" marB="0" anchor="b">
                    <a:lnL>
                      <a:noFill/>
                    </a:lnL>
                    <a:lnR>
                      <a:noFill/>
                    </a:lnR>
                    <a:lnT w="0">
                      <a:noFill/>
                    </a:lnT>
                    <a:lnB>
                      <a:noFill/>
                    </a:lnB>
                    <a:solidFill>
                      <a:schemeClr val="accent5">
                        <a:lumMod val="90000"/>
                      </a:schemeClr>
                    </a:solidFill>
                  </a:tcPr>
                </a:tc>
                <a:tc>
                  <a:txBody>
                    <a:bodyPr/>
                    <a:lstStyle/>
                    <a:p>
                      <a:pPr algn="ctr" fontAlgn="b"/>
                      <a:r>
                        <a:rPr lang="en-US" sz="1400" b="0" i="0" u="none" strike="noStrike" dirty="0">
                          <a:solidFill>
                            <a:srgbClr val="000000"/>
                          </a:solidFill>
                          <a:effectLst/>
                          <a:latin typeface="Aptos Narrow" panose="020B0004020202020204" pitchFamily="34" charset="0"/>
                        </a:rPr>
                        <a:t>44.7</a:t>
                      </a:r>
                    </a:p>
                  </a:txBody>
                  <a:tcPr marL="9525" marR="9525" marT="9525" marB="0" anchor="b">
                    <a:lnL>
                      <a:noFill/>
                    </a:lnL>
                    <a:lnR>
                      <a:noFill/>
                    </a:lnR>
                    <a:lnT w="0">
                      <a:noFill/>
                    </a:lnT>
                    <a:lnB>
                      <a:noFill/>
                    </a:lnB>
                    <a:solidFill>
                      <a:schemeClr val="accent5">
                        <a:lumMod val="90000"/>
                      </a:schemeClr>
                    </a:solidFill>
                  </a:tcPr>
                </a:tc>
                <a:extLst>
                  <a:ext uri="{0D108BD9-81ED-4DB2-BD59-A6C34878D82A}">
                    <a16:rowId xmlns:a16="http://schemas.microsoft.com/office/drawing/2014/main" val="1125809571"/>
                  </a:ext>
                </a:extLst>
              </a:tr>
              <a:tr h="224478">
                <a:tc>
                  <a:txBody>
                    <a:bodyPr/>
                    <a:lstStyle/>
                    <a:p>
                      <a:pPr algn="ctr" fontAlgn="b"/>
                      <a:r>
                        <a:rPr lang="en-US" sz="1400" b="0" i="0" u="none" strike="noStrike">
                          <a:solidFill>
                            <a:srgbClr val="000000"/>
                          </a:solidFill>
                          <a:effectLst/>
                          <a:latin typeface="Aptos Narrow" panose="020B0004020202020204" pitchFamily="34" charset="0"/>
                        </a:rPr>
                        <a:t>0.11</a:t>
                      </a:r>
                    </a:p>
                  </a:txBody>
                  <a:tcPr marL="9525" marR="9525" marT="9525" marB="0" anchor="b">
                    <a:lnL>
                      <a:noFill/>
                    </a:lnL>
                    <a:lnR>
                      <a:noFill/>
                    </a:lnR>
                    <a:lnT>
                      <a:noFill/>
                    </a:lnT>
                    <a:lnB>
                      <a:noFill/>
                    </a:lnB>
                    <a:noFill/>
                  </a:tcPr>
                </a:tc>
                <a:tc>
                  <a:txBody>
                    <a:bodyPr/>
                    <a:lstStyle/>
                    <a:p>
                      <a:pPr algn="ctr" fontAlgn="b"/>
                      <a:r>
                        <a:rPr lang="en-US" sz="1400" b="0" i="0" u="none" strike="noStrike" dirty="0">
                          <a:solidFill>
                            <a:srgbClr val="000000"/>
                          </a:solidFill>
                          <a:effectLst/>
                          <a:latin typeface="Aptos Narrow" panose="020B0004020202020204" pitchFamily="34" charset="0"/>
                        </a:rPr>
                        <a:t>6</a:t>
                      </a:r>
                    </a:p>
                  </a:txBody>
                  <a:tcPr marL="9525" marR="9525" marT="9525" marB="0" anchor="b">
                    <a:lnL>
                      <a:noFill/>
                    </a:lnL>
                    <a:lnR>
                      <a:noFill/>
                    </a:lnR>
                    <a:lnT>
                      <a:noFill/>
                    </a:lnT>
                    <a:lnB>
                      <a:noFill/>
                    </a:lnB>
                    <a:noFill/>
                  </a:tcPr>
                </a:tc>
                <a:tc>
                  <a:txBody>
                    <a:bodyPr/>
                    <a:lstStyle/>
                    <a:p>
                      <a:pPr algn="ctr" fontAlgn="b"/>
                      <a:r>
                        <a:rPr lang="en-US" sz="1400" b="0" i="0" u="none" strike="noStrike" dirty="0">
                          <a:solidFill>
                            <a:srgbClr val="000000"/>
                          </a:solidFill>
                          <a:effectLst/>
                          <a:latin typeface="Aptos Narrow" panose="020B0004020202020204" pitchFamily="34" charset="0"/>
                        </a:rPr>
                        <a:t>20</a:t>
                      </a:r>
                    </a:p>
                  </a:txBody>
                  <a:tcPr marL="9525" marR="9525" marT="9525" marB="0" anchor="b">
                    <a:lnL>
                      <a:noFill/>
                    </a:lnL>
                    <a:lnR>
                      <a:noFill/>
                    </a:lnR>
                    <a:lnT>
                      <a:noFill/>
                    </a:lnT>
                    <a:lnB>
                      <a:noFill/>
                    </a:lnB>
                    <a:noFill/>
                  </a:tcPr>
                </a:tc>
                <a:tc>
                  <a:txBody>
                    <a:bodyPr/>
                    <a:lstStyle/>
                    <a:p>
                      <a:pPr algn="ctr" fontAlgn="b"/>
                      <a:r>
                        <a:rPr lang="en-US" sz="1400" b="0" i="0" u="none" strike="noStrike" dirty="0">
                          <a:solidFill>
                            <a:srgbClr val="000000"/>
                          </a:solidFill>
                          <a:effectLst/>
                          <a:latin typeface="Aptos Narrow" panose="020B0004020202020204" pitchFamily="34" charset="0"/>
                        </a:rPr>
                        <a:t>73.3</a:t>
                      </a:r>
                    </a:p>
                  </a:txBody>
                  <a:tcPr marL="9525" marR="9525" marT="9525" marB="0" anchor="b">
                    <a:lnL>
                      <a:noFill/>
                    </a:lnL>
                    <a:lnR>
                      <a:noFill/>
                    </a:lnR>
                    <a:lnT>
                      <a:noFill/>
                    </a:lnT>
                    <a:lnB>
                      <a:noFill/>
                    </a:lnB>
                    <a:noFill/>
                  </a:tcPr>
                </a:tc>
                <a:tc>
                  <a:txBody>
                    <a:bodyPr/>
                    <a:lstStyle/>
                    <a:p>
                      <a:pPr algn="ctr" fontAlgn="b"/>
                      <a:r>
                        <a:rPr lang="en-US" sz="1400" b="0" i="0" u="none" strike="noStrike" dirty="0">
                          <a:solidFill>
                            <a:srgbClr val="000000"/>
                          </a:solidFill>
                          <a:effectLst/>
                          <a:latin typeface="Aptos Narrow" panose="020B0004020202020204" pitchFamily="34" charset="0"/>
                        </a:rPr>
                        <a:t>0.8</a:t>
                      </a:r>
                    </a:p>
                  </a:txBody>
                  <a:tcPr marL="9525" marR="9525" marT="9525" marB="0" anchor="b">
                    <a:lnL>
                      <a:noFill/>
                    </a:lnL>
                    <a:lnR>
                      <a:noFill/>
                    </a:lnR>
                    <a:lnT>
                      <a:noFill/>
                    </a:lnT>
                    <a:lnB>
                      <a:noFill/>
                    </a:lnB>
                    <a:noFill/>
                  </a:tcPr>
                </a:tc>
                <a:tc>
                  <a:txBody>
                    <a:bodyPr/>
                    <a:lstStyle/>
                    <a:p>
                      <a:pPr algn="ctr" fontAlgn="b"/>
                      <a:r>
                        <a:rPr lang="en-US" sz="1400" b="0" i="0" u="none" strike="noStrike" dirty="0">
                          <a:solidFill>
                            <a:srgbClr val="000000"/>
                          </a:solidFill>
                          <a:effectLst/>
                          <a:latin typeface="Aptos Narrow" panose="020B0004020202020204" pitchFamily="34" charset="0"/>
                        </a:rPr>
                        <a:t>26.0</a:t>
                      </a:r>
                    </a:p>
                  </a:txBody>
                  <a:tcPr marL="9525" marR="9525" marT="9525" marB="0" anchor="b">
                    <a:lnL>
                      <a:noFill/>
                    </a:lnL>
                    <a:lnR>
                      <a:noFill/>
                    </a:lnR>
                    <a:lnT>
                      <a:noFill/>
                    </a:lnT>
                    <a:lnB>
                      <a:noFill/>
                    </a:lnB>
                    <a:noFill/>
                  </a:tcPr>
                </a:tc>
                <a:extLst>
                  <a:ext uri="{0D108BD9-81ED-4DB2-BD59-A6C34878D82A}">
                    <a16:rowId xmlns:a16="http://schemas.microsoft.com/office/drawing/2014/main" val="1642140183"/>
                  </a:ext>
                </a:extLst>
              </a:tr>
              <a:tr h="224478">
                <a:tc>
                  <a:txBody>
                    <a:bodyPr/>
                    <a:lstStyle/>
                    <a:p>
                      <a:pPr algn="ctr" fontAlgn="b"/>
                      <a:r>
                        <a:rPr lang="en-US" sz="1400" b="0" i="0" u="none" strike="noStrike">
                          <a:solidFill>
                            <a:srgbClr val="000000"/>
                          </a:solidFill>
                          <a:effectLst/>
                          <a:latin typeface="Aptos Narrow" panose="020B0004020202020204" pitchFamily="34" charset="0"/>
                        </a:rPr>
                        <a:t>0.11</a:t>
                      </a:r>
                    </a:p>
                  </a:txBody>
                  <a:tcPr marL="9525" marR="9525" marT="9525" marB="0" anchor="b">
                    <a:lnL>
                      <a:noFill/>
                    </a:lnL>
                    <a:lnR>
                      <a:noFill/>
                    </a:lnR>
                    <a:lnT>
                      <a:noFill/>
                    </a:lnT>
                    <a:lnB>
                      <a:noFill/>
                    </a:lnB>
                    <a:solidFill>
                      <a:schemeClr val="bg1"/>
                    </a:solidFill>
                  </a:tcPr>
                </a:tc>
                <a:tc>
                  <a:txBody>
                    <a:bodyPr/>
                    <a:lstStyle/>
                    <a:p>
                      <a:pPr algn="ctr" fontAlgn="b"/>
                      <a:r>
                        <a:rPr lang="en-US" sz="1400" b="0" i="0" u="none" strike="noStrike" dirty="0">
                          <a:solidFill>
                            <a:srgbClr val="000000"/>
                          </a:solidFill>
                          <a:effectLst/>
                          <a:latin typeface="Aptos Narrow" panose="020B0004020202020204" pitchFamily="34" charset="0"/>
                        </a:rPr>
                        <a:t>12</a:t>
                      </a:r>
                    </a:p>
                  </a:txBody>
                  <a:tcPr marL="9525" marR="9525" marT="9525" marB="0" anchor="b">
                    <a:lnL>
                      <a:noFill/>
                    </a:lnL>
                    <a:lnR>
                      <a:noFill/>
                    </a:lnR>
                    <a:lnT>
                      <a:noFill/>
                    </a:lnT>
                    <a:lnB>
                      <a:noFill/>
                    </a:lnB>
                    <a:solidFill>
                      <a:schemeClr val="bg1"/>
                    </a:solidFill>
                  </a:tcPr>
                </a:tc>
                <a:tc>
                  <a:txBody>
                    <a:bodyPr/>
                    <a:lstStyle/>
                    <a:p>
                      <a:pPr algn="ctr" fontAlgn="b"/>
                      <a:r>
                        <a:rPr lang="en-US" sz="1400" b="0" i="0" u="none" strike="noStrike" dirty="0">
                          <a:solidFill>
                            <a:srgbClr val="000000"/>
                          </a:solidFill>
                          <a:effectLst/>
                          <a:latin typeface="Aptos Narrow" panose="020B0004020202020204" pitchFamily="34" charset="0"/>
                        </a:rPr>
                        <a:t>20</a:t>
                      </a:r>
                    </a:p>
                  </a:txBody>
                  <a:tcPr marL="9525" marR="9525" marT="9525" marB="0" anchor="b">
                    <a:lnL>
                      <a:noFill/>
                    </a:lnL>
                    <a:lnR>
                      <a:noFill/>
                    </a:lnR>
                    <a:lnT>
                      <a:noFill/>
                    </a:lnT>
                    <a:lnB>
                      <a:noFill/>
                    </a:lnB>
                    <a:solidFill>
                      <a:schemeClr val="bg1"/>
                    </a:solidFill>
                  </a:tcPr>
                </a:tc>
                <a:tc>
                  <a:txBody>
                    <a:bodyPr/>
                    <a:lstStyle/>
                    <a:p>
                      <a:pPr algn="ctr" fontAlgn="b"/>
                      <a:r>
                        <a:rPr lang="en-US" sz="1400" b="0" i="0" u="none" strike="noStrike" dirty="0">
                          <a:solidFill>
                            <a:srgbClr val="000000"/>
                          </a:solidFill>
                          <a:effectLst/>
                          <a:latin typeface="Aptos Narrow" panose="020B0004020202020204" pitchFamily="34" charset="0"/>
                        </a:rPr>
                        <a:t>81.0</a:t>
                      </a:r>
                    </a:p>
                  </a:txBody>
                  <a:tcPr marL="9525" marR="9525" marT="9525" marB="0" anchor="b">
                    <a:lnL>
                      <a:noFill/>
                    </a:lnL>
                    <a:lnR>
                      <a:noFill/>
                    </a:lnR>
                    <a:lnT>
                      <a:noFill/>
                    </a:lnT>
                    <a:lnB>
                      <a:noFill/>
                    </a:lnB>
                    <a:solidFill>
                      <a:schemeClr val="bg1"/>
                    </a:solidFill>
                  </a:tcPr>
                </a:tc>
                <a:tc>
                  <a:txBody>
                    <a:bodyPr/>
                    <a:lstStyle/>
                    <a:p>
                      <a:pPr algn="ctr" fontAlgn="b"/>
                      <a:r>
                        <a:rPr lang="en-US" sz="1400" b="0" i="0" u="none" strike="noStrike" dirty="0">
                          <a:solidFill>
                            <a:srgbClr val="000000"/>
                          </a:solidFill>
                          <a:effectLst/>
                          <a:latin typeface="Aptos Narrow" panose="020B0004020202020204" pitchFamily="34" charset="0"/>
                        </a:rPr>
                        <a:t>0.36</a:t>
                      </a:r>
                    </a:p>
                  </a:txBody>
                  <a:tcPr marL="9525" marR="9525" marT="9525" marB="0" anchor="b">
                    <a:lnL>
                      <a:noFill/>
                    </a:lnL>
                    <a:lnR>
                      <a:noFill/>
                    </a:lnR>
                    <a:lnT>
                      <a:noFill/>
                    </a:lnT>
                    <a:lnB>
                      <a:noFill/>
                    </a:lnB>
                    <a:solidFill>
                      <a:schemeClr val="bg1"/>
                    </a:solidFill>
                  </a:tcPr>
                </a:tc>
                <a:tc>
                  <a:txBody>
                    <a:bodyPr/>
                    <a:lstStyle/>
                    <a:p>
                      <a:pPr algn="ctr" fontAlgn="b"/>
                      <a:r>
                        <a:rPr lang="en-US" sz="1400" b="0" i="0" u="none" strike="noStrike" dirty="0">
                          <a:solidFill>
                            <a:srgbClr val="000000"/>
                          </a:solidFill>
                          <a:effectLst/>
                          <a:latin typeface="Aptos Narrow" panose="020B0004020202020204" pitchFamily="34" charset="0"/>
                        </a:rPr>
                        <a:t>18.6</a:t>
                      </a:r>
                    </a:p>
                  </a:txBody>
                  <a:tcPr marL="9525" marR="9525" marT="9525" marB="0" anchor="b">
                    <a:lnL>
                      <a:noFill/>
                    </a:lnL>
                    <a:lnR>
                      <a:noFill/>
                    </a:lnR>
                    <a:lnT>
                      <a:noFill/>
                    </a:lnT>
                    <a:lnB>
                      <a:noFill/>
                    </a:lnB>
                    <a:solidFill>
                      <a:schemeClr val="bg1"/>
                    </a:solidFill>
                  </a:tcPr>
                </a:tc>
                <a:extLst>
                  <a:ext uri="{0D108BD9-81ED-4DB2-BD59-A6C34878D82A}">
                    <a16:rowId xmlns:a16="http://schemas.microsoft.com/office/drawing/2014/main" val="418145353"/>
                  </a:ext>
                </a:extLst>
              </a:tr>
              <a:tr h="224478">
                <a:tc>
                  <a:txBody>
                    <a:bodyPr/>
                    <a:lstStyle/>
                    <a:p>
                      <a:pPr algn="ctr" fontAlgn="b"/>
                      <a:r>
                        <a:rPr lang="en-US" sz="1400" b="0" i="0" u="none" strike="noStrike">
                          <a:solidFill>
                            <a:srgbClr val="000000"/>
                          </a:solidFill>
                          <a:effectLst/>
                          <a:latin typeface="Aptos Narrow" panose="020B0004020202020204" pitchFamily="34" charset="0"/>
                        </a:rPr>
                        <a:t>0.11</a:t>
                      </a:r>
                    </a:p>
                  </a:txBody>
                  <a:tcPr marL="9525" marR="9525" marT="9525" marB="0" anchor="b">
                    <a:lnL>
                      <a:noFill/>
                    </a:lnL>
                    <a:lnR>
                      <a:noFill/>
                    </a:lnR>
                    <a:lnT>
                      <a:noFill/>
                    </a:lnT>
                    <a:lnB>
                      <a:noFill/>
                    </a:lnB>
                    <a:solidFill>
                      <a:schemeClr val="accent5">
                        <a:lumMod val="90000"/>
                      </a:schemeClr>
                    </a:solidFill>
                  </a:tcPr>
                </a:tc>
                <a:tc>
                  <a:txBody>
                    <a:bodyPr/>
                    <a:lstStyle/>
                    <a:p>
                      <a:pPr algn="ctr" fontAlgn="b"/>
                      <a:r>
                        <a:rPr lang="en-US" sz="1400" b="0" i="0" u="none" strike="noStrike">
                          <a:solidFill>
                            <a:srgbClr val="000000"/>
                          </a:solidFill>
                          <a:effectLst/>
                          <a:latin typeface="Aptos Narrow" panose="020B0004020202020204" pitchFamily="34" charset="0"/>
                        </a:rPr>
                        <a:t>6</a:t>
                      </a:r>
                    </a:p>
                  </a:txBody>
                  <a:tcPr marL="9525" marR="9525" marT="9525" marB="0" anchor="b">
                    <a:lnL>
                      <a:noFill/>
                    </a:lnL>
                    <a:lnR>
                      <a:noFill/>
                    </a:lnR>
                    <a:lnT>
                      <a:noFill/>
                    </a:lnT>
                    <a:lnB>
                      <a:noFill/>
                    </a:lnB>
                    <a:solidFill>
                      <a:schemeClr val="accent5">
                        <a:lumMod val="90000"/>
                      </a:schemeClr>
                    </a:solidFill>
                  </a:tcPr>
                </a:tc>
                <a:tc>
                  <a:txBody>
                    <a:bodyPr/>
                    <a:lstStyle/>
                    <a:p>
                      <a:pPr algn="ctr" fontAlgn="b"/>
                      <a:r>
                        <a:rPr lang="en-US" sz="1400" b="0" i="0" u="none" strike="noStrike" dirty="0">
                          <a:solidFill>
                            <a:srgbClr val="000000"/>
                          </a:solidFill>
                          <a:effectLst/>
                          <a:latin typeface="Aptos Narrow" panose="020B0004020202020204" pitchFamily="34" charset="0"/>
                        </a:rPr>
                        <a:t>30</a:t>
                      </a:r>
                    </a:p>
                  </a:txBody>
                  <a:tcPr marL="9525" marR="9525" marT="9525" marB="0" anchor="b">
                    <a:lnL>
                      <a:noFill/>
                    </a:lnL>
                    <a:lnR>
                      <a:noFill/>
                    </a:lnR>
                    <a:lnT>
                      <a:noFill/>
                    </a:lnT>
                    <a:lnB>
                      <a:noFill/>
                    </a:lnB>
                    <a:solidFill>
                      <a:schemeClr val="accent5">
                        <a:lumMod val="90000"/>
                      </a:schemeClr>
                    </a:solidFill>
                  </a:tcPr>
                </a:tc>
                <a:tc>
                  <a:txBody>
                    <a:bodyPr/>
                    <a:lstStyle/>
                    <a:p>
                      <a:pPr algn="ctr" fontAlgn="b"/>
                      <a:r>
                        <a:rPr lang="en-US" sz="1400" b="0" i="0" u="none" strike="noStrike" dirty="0">
                          <a:solidFill>
                            <a:srgbClr val="000000"/>
                          </a:solidFill>
                          <a:effectLst/>
                          <a:latin typeface="Aptos Narrow" panose="020B0004020202020204" pitchFamily="34" charset="0"/>
                        </a:rPr>
                        <a:t>99.9</a:t>
                      </a:r>
                    </a:p>
                  </a:txBody>
                  <a:tcPr marL="9525" marR="9525" marT="9525" marB="0" anchor="b">
                    <a:lnL>
                      <a:noFill/>
                    </a:lnL>
                    <a:lnR>
                      <a:noFill/>
                    </a:lnR>
                    <a:lnT>
                      <a:noFill/>
                    </a:lnT>
                    <a:lnB>
                      <a:noFill/>
                    </a:lnB>
                    <a:solidFill>
                      <a:schemeClr val="accent5">
                        <a:lumMod val="90000"/>
                      </a:schemeClr>
                    </a:solidFill>
                  </a:tcPr>
                </a:tc>
                <a:tc>
                  <a:txBody>
                    <a:bodyPr/>
                    <a:lstStyle/>
                    <a:p>
                      <a:pPr algn="ctr" fontAlgn="b"/>
                      <a:r>
                        <a:rPr lang="en-US" sz="1400" b="0" i="0" u="none" strike="noStrike" dirty="0">
                          <a:solidFill>
                            <a:srgbClr val="000000"/>
                          </a:solidFill>
                          <a:effectLst/>
                          <a:latin typeface="Aptos Narrow" panose="020B0004020202020204" pitchFamily="34" charset="0"/>
                        </a:rPr>
                        <a:t>0</a:t>
                      </a:r>
                    </a:p>
                  </a:txBody>
                  <a:tcPr marL="9525" marR="9525" marT="9525" marB="0" anchor="b">
                    <a:lnL>
                      <a:noFill/>
                    </a:lnL>
                    <a:lnR>
                      <a:noFill/>
                    </a:lnR>
                    <a:lnT>
                      <a:noFill/>
                    </a:lnT>
                    <a:lnB>
                      <a:noFill/>
                    </a:lnB>
                    <a:solidFill>
                      <a:schemeClr val="accent5">
                        <a:lumMod val="90000"/>
                      </a:schemeClr>
                    </a:solidFill>
                  </a:tcPr>
                </a:tc>
                <a:tc>
                  <a:txBody>
                    <a:bodyPr/>
                    <a:lstStyle/>
                    <a:p>
                      <a:pPr algn="ctr" fontAlgn="b"/>
                      <a:r>
                        <a:rPr lang="en-US" sz="1400" b="0" i="0" u="none" strike="noStrike" dirty="0">
                          <a:solidFill>
                            <a:srgbClr val="000000"/>
                          </a:solidFill>
                          <a:effectLst/>
                          <a:latin typeface="Aptos Narrow" panose="020B0004020202020204" pitchFamily="34" charset="0"/>
                        </a:rPr>
                        <a:t>0.1</a:t>
                      </a:r>
                    </a:p>
                  </a:txBody>
                  <a:tcPr marL="9525" marR="9525" marT="9525" marB="0" anchor="b">
                    <a:lnL>
                      <a:noFill/>
                    </a:lnL>
                    <a:lnR>
                      <a:noFill/>
                    </a:lnR>
                    <a:lnT>
                      <a:noFill/>
                    </a:lnT>
                    <a:lnB>
                      <a:noFill/>
                    </a:lnB>
                    <a:solidFill>
                      <a:schemeClr val="accent5">
                        <a:lumMod val="90000"/>
                      </a:schemeClr>
                    </a:solidFill>
                  </a:tcPr>
                </a:tc>
                <a:extLst>
                  <a:ext uri="{0D108BD9-81ED-4DB2-BD59-A6C34878D82A}">
                    <a16:rowId xmlns:a16="http://schemas.microsoft.com/office/drawing/2014/main" val="823249433"/>
                  </a:ext>
                </a:extLst>
              </a:tr>
              <a:tr h="224478">
                <a:tc>
                  <a:txBody>
                    <a:bodyPr/>
                    <a:lstStyle/>
                    <a:p>
                      <a:pPr algn="ctr" fontAlgn="b"/>
                      <a:r>
                        <a:rPr lang="en-US" sz="1400" b="0" i="0" u="none" strike="noStrike">
                          <a:solidFill>
                            <a:srgbClr val="000000"/>
                          </a:solidFill>
                          <a:effectLst/>
                          <a:latin typeface="Aptos Narrow" panose="020B0004020202020204" pitchFamily="34" charset="0"/>
                        </a:rPr>
                        <a:t>0.11</a:t>
                      </a:r>
                    </a:p>
                  </a:txBody>
                  <a:tcPr marL="9525" marR="9525" marT="9525" marB="0" anchor="b">
                    <a:lnL>
                      <a:noFill/>
                    </a:lnL>
                    <a:lnR>
                      <a:noFill/>
                    </a:lnR>
                    <a:lnT>
                      <a:noFill/>
                    </a:lnT>
                    <a:lnB>
                      <a:noFill/>
                    </a:lnB>
                    <a:solidFill>
                      <a:schemeClr val="accent5">
                        <a:lumMod val="90000"/>
                      </a:schemeClr>
                    </a:solidFill>
                  </a:tcPr>
                </a:tc>
                <a:tc>
                  <a:txBody>
                    <a:bodyPr/>
                    <a:lstStyle/>
                    <a:p>
                      <a:pPr algn="ctr" fontAlgn="b"/>
                      <a:r>
                        <a:rPr lang="en-US" sz="1400" b="0" i="0" u="none" strike="noStrike">
                          <a:solidFill>
                            <a:srgbClr val="000000"/>
                          </a:solidFill>
                          <a:effectLst/>
                          <a:latin typeface="Aptos Narrow" panose="020B0004020202020204" pitchFamily="34" charset="0"/>
                        </a:rPr>
                        <a:t>12</a:t>
                      </a:r>
                    </a:p>
                  </a:txBody>
                  <a:tcPr marL="9525" marR="9525" marT="9525" marB="0" anchor="b">
                    <a:lnL>
                      <a:noFill/>
                    </a:lnL>
                    <a:lnR>
                      <a:noFill/>
                    </a:lnR>
                    <a:lnT>
                      <a:noFill/>
                    </a:lnT>
                    <a:lnB>
                      <a:noFill/>
                    </a:lnB>
                    <a:solidFill>
                      <a:schemeClr val="accent5">
                        <a:lumMod val="90000"/>
                      </a:schemeClr>
                    </a:solidFill>
                  </a:tcPr>
                </a:tc>
                <a:tc>
                  <a:txBody>
                    <a:bodyPr/>
                    <a:lstStyle/>
                    <a:p>
                      <a:pPr algn="ctr" fontAlgn="b"/>
                      <a:r>
                        <a:rPr lang="en-US" sz="1400" b="0" i="0" u="none" strike="noStrike" dirty="0">
                          <a:solidFill>
                            <a:srgbClr val="000000"/>
                          </a:solidFill>
                          <a:effectLst/>
                          <a:latin typeface="Aptos Narrow" panose="020B0004020202020204" pitchFamily="34" charset="0"/>
                        </a:rPr>
                        <a:t>30</a:t>
                      </a:r>
                    </a:p>
                  </a:txBody>
                  <a:tcPr marL="9525" marR="9525" marT="9525" marB="0" anchor="b">
                    <a:lnL>
                      <a:noFill/>
                    </a:lnL>
                    <a:lnR>
                      <a:noFill/>
                    </a:lnR>
                    <a:lnT>
                      <a:noFill/>
                    </a:lnT>
                    <a:lnB>
                      <a:noFill/>
                    </a:lnB>
                    <a:solidFill>
                      <a:schemeClr val="accent5">
                        <a:lumMod val="90000"/>
                      </a:schemeClr>
                    </a:solidFill>
                  </a:tcPr>
                </a:tc>
                <a:tc>
                  <a:txBody>
                    <a:bodyPr/>
                    <a:lstStyle/>
                    <a:p>
                      <a:pPr algn="ctr" fontAlgn="b"/>
                      <a:r>
                        <a:rPr lang="en-US" sz="1400" b="0" i="0" u="none" strike="noStrike" dirty="0">
                          <a:solidFill>
                            <a:srgbClr val="000000"/>
                          </a:solidFill>
                          <a:effectLst/>
                          <a:latin typeface="Aptos Narrow" panose="020B0004020202020204" pitchFamily="34" charset="0"/>
                        </a:rPr>
                        <a:t>100</a:t>
                      </a:r>
                    </a:p>
                  </a:txBody>
                  <a:tcPr marL="9525" marR="9525" marT="9525" marB="0" anchor="b">
                    <a:lnL>
                      <a:noFill/>
                    </a:lnL>
                    <a:lnR>
                      <a:noFill/>
                    </a:lnR>
                    <a:lnT>
                      <a:noFill/>
                    </a:lnT>
                    <a:lnB>
                      <a:noFill/>
                    </a:lnB>
                    <a:solidFill>
                      <a:schemeClr val="accent5">
                        <a:lumMod val="90000"/>
                      </a:schemeClr>
                    </a:solidFill>
                  </a:tcPr>
                </a:tc>
                <a:tc>
                  <a:txBody>
                    <a:bodyPr/>
                    <a:lstStyle/>
                    <a:p>
                      <a:pPr algn="ctr" fontAlgn="b"/>
                      <a:r>
                        <a:rPr lang="en-US" sz="1400" b="0" i="0" u="none" strike="noStrike" dirty="0">
                          <a:solidFill>
                            <a:srgbClr val="000000"/>
                          </a:solidFill>
                          <a:effectLst/>
                          <a:latin typeface="Aptos Narrow" panose="020B0004020202020204" pitchFamily="34" charset="0"/>
                        </a:rPr>
                        <a:t>0</a:t>
                      </a:r>
                    </a:p>
                  </a:txBody>
                  <a:tcPr marL="9525" marR="9525" marT="9525" marB="0" anchor="b">
                    <a:lnL>
                      <a:noFill/>
                    </a:lnL>
                    <a:lnR>
                      <a:noFill/>
                    </a:lnR>
                    <a:lnT>
                      <a:noFill/>
                    </a:lnT>
                    <a:lnB>
                      <a:noFill/>
                    </a:lnB>
                    <a:solidFill>
                      <a:schemeClr val="accent5">
                        <a:lumMod val="90000"/>
                      </a:schemeClr>
                    </a:solidFill>
                  </a:tcPr>
                </a:tc>
                <a:tc>
                  <a:txBody>
                    <a:bodyPr/>
                    <a:lstStyle/>
                    <a:p>
                      <a:pPr algn="ctr" fontAlgn="b"/>
                      <a:r>
                        <a:rPr lang="en-US" sz="1400" b="0" i="0" u="none" strike="noStrike" dirty="0">
                          <a:solidFill>
                            <a:srgbClr val="000000"/>
                          </a:solidFill>
                          <a:effectLst/>
                          <a:latin typeface="Aptos Narrow" panose="020B0004020202020204" pitchFamily="34" charset="0"/>
                        </a:rPr>
                        <a:t>0</a:t>
                      </a:r>
                    </a:p>
                  </a:txBody>
                  <a:tcPr marL="9525" marR="9525" marT="9525" marB="0" anchor="b">
                    <a:lnL>
                      <a:noFill/>
                    </a:lnL>
                    <a:lnR>
                      <a:noFill/>
                    </a:lnR>
                    <a:lnT>
                      <a:noFill/>
                    </a:lnT>
                    <a:lnB>
                      <a:noFill/>
                    </a:lnB>
                    <a:solidFill>
                      <a:schemeClr val="accent5">
                        <a:lumMod val="90000"/>
                      </a:schemeClr>
                    </a:solidFill>
                  </a:tcPr>
                </a:tc>
                <a:extLst>
                  <a:ext uri="{0D108BD9-81ED-4DB2-BD59-A6C34878D82A}">
                    <a16:rowId xmlns:a16="http://schemas.microsoft.com/office/drawing/2014/main" val="3323999738"/>
                  </a:ext>
                </a:extLst>
              </a:tr>
              <a:tr h="224478">
                <a:tc>
                  <a:txBody>
                    <a:bodyPr/>
                    <a:lstStyle/>
                    <a:p>
                      <a:pPr algn="ctr" fontAlgn="b"/>
                      <a:r>
                        <a:rPr lang="en-US" sz="1400" b="0" i="0" u="none" strike="noStrike">
                          <a:solidFill>
                            <a:srgbClr val="000000"/>
                          </a:solidFill>
                          <a:effectLst/>
                          <a:latin typeface="Aptos Narrow" panose="020B0004020202020204" pitchFamily="34" charset="0"/>
                        </a:rPr>
                        <a:t>0.7</a:t>
                      </a:r>
                    </a:p>
                  </a:txBody>
                  <a:tcPr marL="9525" marR="9525" marT="9525" marB="0" anchor="b">
                    <a:lnL>
                      <a:noFill/>
                    </a:lnL>
                    <a:lnR>
                      <a:noFill/>
                    </a:lnR>
                    <a:lnT>
                      <a:noFill/>
                    </a:lnT>
                    <a:lnB>
                      <a:noFill/>
                    </a:lnB>
                    <a:noFill/>
                  </a:tcPr>
                </a:tc>
                <a:tc>
                  <a:txBody>
                    <a:bodyPr/>
                    <a:lstStyle/>
                    <a:p>
                      <a:pPr algn="ctr" fontAlgn="b"/>
                      <a:r>
                        <a:rPr lang="en-US" sz="1400" b="0" i="0" u="none" strike="noStrike">
                          <a:solidFill>
                            <a:srgbClr val="000000"/>
                          </a:solidFill>
                          <a:effectLst/>
                          <a:latin typeface="Aptos Narrow" panose="020B0004020202020204" pitchFamily="34" charset="0"/>
                        </a:rPr>
                        <a:t>6</a:t>
                      </a:r>
                    </a:p>
                  </a:txBody>
                  <a:tcPr marL="9525" marR="9525" marT="9525" marB="0" anchor="b">
                    <a:lnL>
                      <a:noFill/>
                    </a:lnL>
                    <a:lnR>
                      <a:noFill/>
                    </a:lnR>
                    <a:lnT>
                      <a:noFill/>
                    </a:lnT>
                    <a:lnB>
                      <a:noFill/>
                    </a:lnB>
                    <a:noFill/>
                  </a:tcPr>
                </a:tc>
                <a:tc>
                  <a:txBody>
                    <a:bodyPr/>
                    <a:lstStyle/>
                    <a:p>
                      <a:pPr algn="ctr" fontAlgn="b"/>
                      <a:r>
                        <a:rPr lang="en-US" sz="1400" b="0" i="0" u="none" strike="noStrike" dirty="0">
                          <a:solidFill>
                            <a:srgbClr val="000000"/>
                          </a:solidFill>
                          <a:effectLst/>
                          <a:latin typeface="Aptos Narrow" panose="020B0004020202020204" pitchFamily="34" charset="0"/>
                        </a:rPr>
                        <a:t>10</a:t>
                      </a:r>
                    </a:p>
                  </a:txBody>
                  <a:tcPr marL="9525" marR="9525" marT="9525" marB="0" anchor="b">
                    <a:lnL>
                      <a:noFill/>
                    </a:lnL>
                    <a:lnR>
                      <a:noFill/>
                    </a:lnR>
                    <a:lnT>
                      <a:noFill/>
                    </a:lnT>
                    <a:lnB>
                      <a:noFill/>
                    </a:lnB>
                    <a:noFill/>
                  </a:tcPr>
                </a:tc>
                <a:tc>
                  <a:txBody>
                    <a:bodyPr/>
                    <a:lstStyle/>
                    <a:p>
                      <a:pPr algn="ctr" fontAlgn="b"/>
                      <a:r>
                        <a:rPr lang="en-US" sz="1400" b="0" i="0" u="none" strike="noStrike" dirty="0">
                          <a:solidFill>
                            <a:srgbClr val="000000"/>
                          </a:solidFill>
                          <a:effectLst/>
                          <a:latin typeface="Aptos Narrow" panose="020B0004020202020204" pitchFamily="34" charset="0"/>
                        </a:rPr>
                        <a:t>24.3</a:t>
                      </a:r>
                    </a:p>
                  </a:txBody>
                  <a:tcPr marL="9525" marR="9525" marT="9525" marB="0" anchor="b">
                    <a:lnL>
                      <a:noFill/>
                    </a:lnL>
                    <a:lnR>
                      <a:noFill/>
                    </a:lnR>
                    <a:lnT>
                      <a:noFill/>
                    </a:lnT>
                    <a:lnB>
                      <a:noFill/>
                    </a:lnB>
                    <a:noFill/>
                  </a:tcPr>
                </a:tc>
                <a:tc>
                  <a:txBody>
                    <a:bodyPr/>
                    <a:lstStyle/>
                    <a:p>
                      <a:pPr algn="ctr" fontAlgn="b"/>
                      <a:r>
                        <a:rPr lang="en-US" sz="1400" b="0" i="0" u="none" strike="noStrike" dirty="0">
                          <a:solidFill>
                            <a:srgbClr val="000000"/>
                          </a:solidFill>
                          <a:effectLst/>
                          <a:latin typeface="Aptos Narrow" panose="020B0004020202020204" pitchFamily="34" charset="0"/>
                        </a:rPr>
                        <a:t>13.4</a:t>
                      </a:r>
                    </a:p>
                  </a:txBody>
                  <a:tcPr marL="9525" marR="9525" marT="9525" marB="0" anchor="b">
                    <a:lnL>
                      <a:noFill/>
                    </a:lnL>
                    <a:lnR>
                      <a:noFill/>
                    </a:lnR>
                    <a:lnT>
                      <a:noFill/>
                    </a:lnT>
                    <a:lnB>
                      <a:noFill/>
                    </a:lnB>
                    <a:noFill/>
                  </a:tcPr>
                </a:tc>
                <a:tc>
                  <a:txBody>
                    <a:bodyPr/>
                    <a:lstStyle/>
                    <a:p>
                      <a:pPr algn="ctr" fontAlgn="b"/>
                      <a:r>
                        <a:rPr lang="en-US" sz="1400" b="0" i="0" u="none" strike="noStrike" dirty="0">
                          <a:solidFill>
                            <a:srgbClr val="000000"/>
                          </a:solidFill>
                          <a:effectLst/>
                          <a:latin typeface="Aptos Narrow" panose="020B0004020202020204" pitchFamily="34" charset="0"/>
                        </a:rPr>
                        <a:t>62.3</a:t>
                      </a:r>
                    </a:p>
                  </a:txBody>
                  <a:tcPr marL="9525" marR="9525" marT="9525" marB="0" anchor="b">
                    <a:lnL>
                      <a:noFill/>
                    </a:lnL>
                    <a:lnR>
                      <a:noFill/>
                    </a:lnR>
                    <a:lnT>
                      <a:noFill/>
                    </a:lnT>
                    <a:lnB>
                      <a:noFill/>
                    </a:lnB>
                    <a:noFill/>
                  </a:tcPr>
                </a:tc>
                <a:extLst>
                  <a:ext uri="{0D108BD9-81ED-4DB2-BD59-A6C34878D82A}">
                    <a16:rowId xmlns:a16="http://schemas.microsoft.com/office/drawing/2014/main" val="3849697050"/>
                  </a:ext>
                </a:extLst>
              </a:tr>
              <a:tr h="224478">
                <a:tc>
                  <a:txBody>
                    <a:bodyPr/>
                    <a:lstStyle/>
                    <a:p>
                      <a:pPr algn="ctr" fontAlgn="b"/>
                      <a:r>
                        <a:rPr lang="en-US" sz="1400" b="0" i="0" u="none" strike="noStrike">
                          <a:solidFill>
                            <a:srgbClr val="000000"/>
                          </a:solidFill>
                          <a:effectLst/>
                          <a:latin typeface="Aptos Narrow" panose="020B0004020202020204" pitchFamily="34" charset="0"/>
                        </a:rPr>
                        <a:t>0.7</a:t>
                      </a:r>
                    </a:p>
                  </a:txBody>
                  <a:tcPr marL="9525" marR="9525" marT="9525" marB="0" anchor="b">
                    <a:lnL>
                      <a:noFill/>
                    </a:lnL>
                    <a:lnR>
                      <a:noFill/>
                    </a:lnR>
                    <a:lnT>
                      <a:noFill/>
                    </a:lnT>
                    <a:lnB>
                      <a:noFill/>
                    </a:lnB>
                    <a:noFill/>
                  </a:tcPr>
                </a:tc>
                <a:tc>
                  <a:txBody>
                    <a:bodyPr/>
                    <a:lstStyle/>
                    <a:p>
                      <a:pPr algn="ctr" fontAlgn="b"/>
                      <a:r>
                        <a:rPr lang="en-US" sz="1400" b="0" i="0" u="none" strike="noStrike">
                          <a:solidFill>
                            <a:srgbClr val="000000"/>
                          </a:solidFill>
                          <a:effectLst/>
                          <a:latin typeface="Aptos Narrow" panose="020B0004020202020204" pitchFamily="34" charset="0"/>
                        </a:rPr>
                        <a:t>6</a:t>
                      </a:r>
                    </a:p>
                  </a:txBody>
                  <a:tcPr marL="9525" marR="9525" marT="9525" marB="0" anchor="b">
                    <a:lnL>
                      <a:noFill/>
                    </a:lnL>
                    <a:lnR>
                      <a:noFill/>
                    </a:lnR>
                    <a:lnT>
                      <a:noFill/>
                    </a:lnT>
                    <a:lnB>
                      <a:noFill/>
                    </a:lnB>
                    <a:noFill/>
                  </a:tcPr>
                </a:tc>
                <a:tc>
                  <a:txBody>
                    <a:bodyPr/>
                    <a:lstStyle/>
                    <a:p>
                      <a:pPr algn="ctr" fontAlgn="b"/>
                      <a:r>
                        <a:rPr lang="en-US" sz="1400" b="0" i="0" u="none" strike="noStrike" dirty="0">
                          <a:solidFill>
                            <a:srgbClr val="000000"/>
                          </a:solidFill>
                          <a:effectLst/>
                          <a:latin typeface="Aptos Narrow" panose="020B0004020202020204" pitchFamily="34" charset="0"/>
                        </a:rPr>
                        <a:t>10</a:t>
                      </a:r>
                    </a:p>
                  </a:txBody>
                  <a:tcPr marL="9525" marR="9525" marT="9525" marB="0" anchor="b">
                    <a:lnL>
                      <a:noFill/>
                    </a:lnL>
                    <a:lnR>
                      <a:noFill/>
                    </a:lnR>
                    <a:lnT>
                      <a:noFill/>
                    </a:lnT>
                    <a:lnB>
                      <a:noFill/>
                    </a:lnB>
                    <a:noFill/>
                  </a:tcPr>
                </a:tc>
                <a:tc>
                  <a:txBody>
                    <a:bodyPr/>
                    <a:lstStyle/>
                    <a:p>
                      <a:pPr algn="ctr" fontAlgn="b"/>
                      <a:r>
                        <a:rPr lang="en-US" sz="1400" b="0" i="0" u="none" strike="noStrike" dirty="0">
                          <a:solidFill>
                            <a:srgbClr val="000000"/>
                          </a:solidFill>
                          <a:effectLst/>
                          <a:latin typeface="Aptos Narrow" panose="020B0004020202020204" pitchFamily="34" charset="0"/>
                        </a:rPr>
                        <a:t>24.3</a:t>
                      </a:r>
                    </a:p>
                  </a:txBody>
                  <a:tcPr marL="9525" marR="9525" marT="9525" marB="0" anchor="b">
                    <a:lnL>
                      <a:noFill/>
                    </a:lnL>
                    <a:lnR>
                      <a:noFill/>
                    </a:lnR>
                    <a:lnT>
                      <a:noFill/>
                    </a:lnT>
                    <a:lnB>
                      <a:noFill/>
                    </a:lnB>
                    <a:noFill/>
                  </a:tcPr>
                </a:tc>
                <a:tc>
                  <a:txBody>
                    <a:bodyPr/>
                    <a:lstStyle/>
                    <a:p>
                      <a:pPr algn="ctr" fontAlgn="b"/>
                      <a:r>
                        <a:rPr lang="en-US" sz="1400" b="0" i="0" u="none" strike="noStrike" dirty="0">
                          <a:solidFill>
                            <a:srgbClr val="000000"/>
                          </a:solidFill>
                          <a:effectLst/>
                          <a:latin typeface="Aptos Narrow" panose="020B0004020202020204" pitchFamily="34" charset="0"/>
                        </a:rPr>
                        <a:t>13.4</a:t>
                      </a:r>
                    </a:p>
                  </a:txBody>
                  <a:tcPr marL="9525" marR="9525" marT="9525" marB="0" anchor="b">
                    <a:lnL>
                      <a:noFill/>
                    </a:lnL>
                    <a:lnR>
                      <a:noFill/>
                    </a:lnR>
                    <a:lnT>
                      <a:noFill/>
                    </a:lnT>
                    <a:lnB>
                      <a:noFill/>
                    </a:lnB>
                    <a:noFill/>
                  </a:tcPr>
                </a:tc>
                <a:tc>
                  <a:txBody>
                    <a:bodyPr/>
                    <a:lstStyle/>
                    <a:p>
                      <a:pPr algn="ctr" fontAlgn="b"/>
                      <a:r>
                        <a:rPr lang="en-US" sz="1400" b="0" i="0" u="none" strike="noStrike" dirty="0">
                          <a:solidFill>
                            <a:srgbClr val="000000"/>
                          </a:solidFill>
                          <a:effectLst/>
                          <a:latin typeface="Aptos Narrow" panose="020B0004020202020204" pitchFamily="34" charset="0"/>
                        </a:rPr>
                        <a:t>62.3</a:t>
                      </a:r>
                    </a:p>
                  </a:txBody>
                  <a:tcPr marL="9525" marR="9525" marT="9525" marB="0" anchor="b">
                    <a:lnL>
                      <a:noFill/>
                    </a:lnL>
                    <a:lnR>
                      <a:noFill/>
                    </a:lnR>
                    <a:lnT>
                      <a:noFill/>
                    </a:lnT>
                    <a:lnB>
                      <a:noFill/>
                    </a:lnB>
                    <a:noFill/>
                  </a:tcPr>
                </a:tc>
                <a:extLst>
                  <a:ext uri="{0D108BD9-81ED-4DB2-BD59-A6C34878D82A}">
                    <a16:rowId xmlns:a16="http://schemas.microsoft.com/office/drawing/2014/main" val="1108483298"/>
                  </a:ext>
                </a:extLst>
              </a:tr>
              <a:tr h="224478">
                <a:tc>
                  <a:txBody>
                    <a:bodyPr/>
                    <a:lstStyle/>
                    <a:p>
                      <a:pPr algn="ctr" fontAlgn="b"/>
                      <a:r>
                        <a:rPr lang="en-US" sz="1400" b="0" i="0" u="none" strike="noStrike">
                          <a:solidFill>
                            <a:srgbClr val="000000"/>
                          </a:solidFill>
                          <a:effectLst/>
                          <a:latin typeface="Aptos Narrow" panose="020B0004020202020204" pitchFamily="34" charset="0"/>
                        </a:rPr>
                        <a:t>0.7</a:t>
                      </a:r>
                    </a:p>
                  </a:txBody>
                  <a:tcPr marL="9525" marR="9525" marT="9525" marB="0" anchor="b">
                    <a:lnL>
                      <a:noFill/>
                    </a:lnL>
                    <a:lnR>
                      <a:noFill/>
                    </a:lnR>
                    <a:lnT>
                      <a:noFill/>
                    </a:lnT>
                    <a:lnB>
                      <a:noFill/>
                    </a:lnB>
                    <a:solidFill>
                      <a:schemeClr val="accent5">
                        <a:lumMod val="90000"/>
                      </a:schemeClr>
                    </a:solidFill>
                  </a:tcPr>
                </a:tc>
                <a:tc>
                  <a:txBody>
                    <a:bodyPr/>
                    <a:lstStyle/>
                    <a:p>
                      <a:pPr algn="ctr" fontAlgn="b"/>
                      <a:r>
                        <a:rPr lang="en-US" sz="1400" b="0" i="0" u="none" strike="noStrike">
                          <a:solidFill>
                            <a:srgbClr val="000000"/>
                          </a:solidFill>
                          <a:effectLst/>
                          <a:latin typeface="Aptos Narrow" panose="020B0004020202020204" pitchFamily="34" charset="0"/>
                        </a:rPr>
                        <a:t>12</a:t>
                      </a:r>
                    </a:p>
                  </a:txBody>
                  <a:tcPr marL="9525" marR="9525" marT="9525" marB="0" anchor="b">
                    <a:lnL>
                      <a:noFill/>
                    </a:lnL>
                    <a:lnR>
                      <a:noFill/>
                    </a:lnR>
                    <a:lnT>
                      <a:noFill/>
                    </a:lnT>
                    <a:lnB>
                      <a:noFill/>
                    </a:lnB>
                    <a:solidFill>
                      <a:schemeClr val="accent5">
                        <a:lumMod val="90000"/>
                      </a:schemeClr>
                    </a:solidFill>
                  </a:tcPr>
                </a:tc>
                <a:tc>
                  <a:txBody>
                    <a:bodyPr/>
                    <a:lstStyle/>
                    <a:p>
                      <a:pPr algn="ctr" fontAlgn="b"/>
                      <a:r>
                        <a:rPr lang="en-US" sz="1400" b="0" i="0" u="none" strike="noStrike" dirty="0">
                          <a:solidFill>
                            <a:srgbClr val="000000"/>
                          </a:solidFill>
                          <a:effectLst/>
                          <a:latin typeface="Aptos Narrow" panose="020B0004020202020204" pitchFamily="34" charset="0"/>
                        </a:rPr>
                        <a:t>10</a:t>
                      </a:r>
                    </a:p>
                  </a:txBody>
                  <a:tcPr marL="9525" marR="9525" marT="9525" marB="0" anchor="b">
                    <a:lnL>
                      <a:noFill/>
                    </a:lnL>
                    <a:lnR>
                      <a:noFill/>
                    </a:lnR>
                    <a:lnT>
                      <a:noFill/>
                    </a:lnT>
                    <a:lnB>
                      <a:noFill/>
                    </a:lnB>
                    <a:solidFill>
                      <a:schemeClr val="accent5">
                        <a:lumMod val="90000"/>
                      </a:schemeClr>
                    </a:solidFill>
                  </a:tcPr>
                </a:tc>
                <a:tc>
                  <a:txBody>
                    <a:bodyPr/>
                    <a:lstStyle/>
                    <a:p>
                      <a:pPr algn="ctr" fontAlgn="b"/>
                      <a:r>
                        <a:rPr lang="en-US" sz="1400" b="0" i="0" u="none" strike="noStrike" dirty="0">
                          <a:solidFill>
                            <a:srgbClr val="000000"/>
                          </a:solidFill>
                          <a:effectLst/>
                          <a:latin typeface="Aptos Narrow" panose="020B0004020202020204" pitchFamily="34" charset="0"/>
                        </a:rPr>
                        <a:t>23.1</a:t>
                      </a:r>
                    </a:p>
                  </a:txBody>
                  <a:tcPr marL="9525" marR="9525" marT="9525" marB="0" anchor="b">
                    <a:lnL>
                      <a:noFill/>
                    </a:lnL>
                    <a:lnR>
                      <a:noFill/>
                    </a:lnR>
                    <a:lnT>
                      <a:noFill/>
                    </a:lnT>
                    <a:lnB>
                      <a:noFill/>
                    </a:lnB>
                    <a:solidFill>
                      <a:schemeClr val="accent5">
                        <a:lumMod val="90000"/>
                      </a:schemeClr>
                    </a:solidFill>
                  </a:tcPr>
                </a:tc>
                <a:tc>
                  <a:txBody>
                    <a:bodyPr/>
                    <a:lstStyle/>
                    <a:p>
                      <a:pPr algn="ctr" fontAlgn="b"/>
                      <a:r>
                        <a:rPr lang="en-US" sz="1400" b="0" i="0" u="none" strike="noStrike" dirty="0">
                          <a:solidFill>
                            <a:srgbClr val="000000"/>
                          </a:solidFill>
                          <a:effectLst/>
                          <a:latin typeface="Aptos Narrow" panose="020B0004020202020204" pitchFamily="34" charset="0"/>
                        </a:rPr>
                        <a:t>14.2</a:t>
                      </a:r>
                    </a:p>
                  </a:txBody>
                  <a:tcPr marL="9525" marR="9525" marT="9525" marB="0" anchor="b">
                    <a:lnL>
                      <a:noFill/>
                    </a:lnL>
                    <a:lnR>
                      <a:noFill/>
                    </a:lnR>
                    <a:lnT>
                      <a:noFill/>
                    </a:lnT>
                    <a:lnB>
                      <a:noFill/>
                    </a:lnB>
                    <a:solidFill>
                      <a:schemeClr val="accent5">
                        <a:lumMod val="90000"/>
                      </a:schemeClr>
                    </a:solidFill>
                  </a:tcPr>
                </a:tc>
                <a:tc>
                  <a:txBody>
                    <a:bodyPr/>
                    <a:lstStyle/>
                    <a:p>
                      <a:pPr algn="ctr" fontAlgn="b"/>
                      <a:r>
                        <a:rPr lang="en-US" sz="1400" b="0" i="0" u="none" strike="noStrike" dirty="0">
                          <a:solidFill>
                            <a:srgbClr val="000000"/>
                          </a:solidFill>
                          <a:effectLst/>
                          <a:latin typeface="Aptos Narrow" panose="020B0004020202020204" pitchFamily="34" charset="0"/>
                        </a:rPr>
                        <a:t>62.7</a:t>
                      </a:r>
                    </a:p>
                  </a:txBody>
                  <a:tcPr marL="9525" marR="9525" marT="9525" marB="0" anchor="b">
                    <a:lnL>
                      <a:noFill/>
                    </a:lnL>
                    <a:lnR>
                      <a:noFill/>
                    </a:lnR>
                    <a:lnT>
                      <a:noFill/>
                    </a:lnT>
                    <a:lnB>
                      <a:noFill/>
                    </a:lnB>
                    <a:solidFill>
                      <a:schemeClr val="accent5">
                        <a:lumMod val="90000"/>
                      </a:schemeClr>
                    </a:solidFill>
                  </a:tcPr>
                </a:tc>
                <a:extLst>
                  <a:ext uri="{0D108BD9-81ED-4DB2-BD59-A6C34878D82A}">
                    <a16:rowId xmlns:a16="http://schemas.microsoft.com/office/drawing/2014/main" val="2568041078"/>
                  </a:ext>
                </a:extLst>
              </a:tr>
              <a:tr h="224478">
                <a:tc>
                  <a:txBody>
                    <a:bodyPr/>
                    <a:lstStyle/>
                    <a:p>
                      <a:pPr algn="ctr" fontAlgn="b"/>
                      <a:r>
                        <a:rPr lang="en-US" sz="1400" b="0" i="0" u="none" strike="noStrike">
                          <a:solidFill>
                            <a:srgbClr val="000000"/>
                          </a:solidFill>
                          <a:effectLst/>
                          <a:latin typeface="Aptos Narrow" panose="020B0004020202020204" pitchFamily="34" charset="0"/>
                        </a:rPr>
                        <a:t>0.7</a:t>
                      </a:r>
                    </a:p>
                  </a:txBody>
                  <a:tcPr marL="9525" marR="9525" marT="9525" marB="0" anchor="b">
                    <a:lnL>
                      <a:noFill/>
                    </a:lnL>
                    <a:lnR>
                      <a:noFill/>
                    </a:lnR>
                    <a:lnT>
                      <a:noFill/>
                    </a:lnT>
                    <a:lnB>
                      <a:noFill/>
                    </a:lnB>
                    <a:solidFill>
                      <a:schemeClr val="accent5">
                        <a:lumMod val="90000"/>
                      </a:schemeClr>
                    </a:solidFill>
                  </a:tcPr>
                </a:tc>
                <a:tc>
                  <a:txBody>
                    <a:bodyPr/>
                    <a:lstStyle/>
                    <a:p>
                      <a:pPr algn="ctr" fontAlgn="b"/>
                      <a:r>
                        <a:rPr lang="en-US" sz="1400" b="0" i="0" u="none" strike="noStrike">
                          <a:solidFill>
                            <a:srgbClr val="000000"/>
                          </a:solidFill>
                          <a:effectLst/>
                          <a:latin typeface="Aptos Narrow" panose="020B0004020202020204" pitchFamily="34" charset="0"/>
                        </a:rPr>
                        <a:t>6</a:t>
                      </a:r>
                    </a:p>
                  </a:txBody>
                  <a:tcPr marL="9525" marR="9525" marT="9525" marB="0" anchor="b">
                    <a:lnL>
                      <a:noFill/>
                    </a:lnL>
                    <a:lnR>
                      <a:noFill/>
                    </a:lnR>
                    <a:lnT>
                      <a:noFill/>
                    </a:lnT>
                    <a:lnB>
                      <a:noFill/>
                    </a:lnB>
                    <a:solidFill>
                      <a:schemeClr val="accent5">
                        <a:lumMod val="90000"/>
                      </a:schemeClr>
                    </a:solidFill>
                  </a:tcPr>
                </a:tc>
                <a:tc>
                  <a:txBody>
                    <a:bodyPr/>
                    <a:lstStyle/>
                    <a:p>
                      <a:pPr algn="ctr" fontAlgn="b"/>
                      <a:r>
                        <a:rPr lang="en-US" sz="1400" b="0" i="0" u="none" strike="noStrike" dirty="0">
                          <a:solidFill>
                            <a:srgbClr val="000000"/>
                          </a:solidFill>
                          <a:effectLst/>
                          <a:latin typeface="Aptos Narrow" panose="020B0004020202020204" pitchFamily="34" charset="0"/>
                        </a:rPr>
                        <a:t>20</a:t>
                      </a:r>
                    </a:p>
                  </a:txBody>
                  <a:tcPr marL="9525" marR="9525" marT="9525" marB="0" anchor="b">
                    <a:lnL>
                      <a:noFill/>
                    </a:lnL>
                    <a:lnR>
                      <a:noFill/>
                    </a:lnR>
                    <a:lnT>
                      <a:noFill/>
                    </a:lnT>
                    <a:lnB>
                      <a:noFill/>
                    </a:lnB>
                    <a:solidFill>
                      <a:schemeClr val="accent5">
                        <a:lumMod val="90000"/>
                      </a:schemeClr>
                    </a:solidFill>
                  </a:tcPr>
                </a:tc>
                <a:tc>
                  <a:txBody>
                    <a:bodyPr/>
                    <a:lstStyle/>
                    <a:p>
                      <a:pPr algn="ctr" fontAlgn="b"/>
                      <a:r>
                        <a:rPr lang="en-US" sz="1400" b="0" i="0" u="none" strike="noStrike" dirty="0">
                          <a:solidFill>
                            <a:srgbClr val="000000"/>
                          </a:solidFill>
                          <a:effectLst/>
                          <a:latin typeface="Aptos Narrow" panose="020B0004020202020204" pitchFamily="34" charset="0"/>
                        </a:rPr>
                        <a:t>36.5</a:t>
                      </a:r>
                    </a:p>
                  </a:txBody>
                  <a:tcPr marL="9525" marR="9525" marT="9525" marB="0" anchor="b">
                    <a:lnL>
                      <a:noFill/>
                    </a:lnL>
                    <a:lnR>
                      <a:noFill/>
                    </a:lnR>
                    <a:lnT>
                      <a:noFill/>
                    </a:lnT>
                    <a:lnB>
                      <a:noFill/>
                    </a:lnB>
                    <a:solidFill>
                      <a:schemeClr val="accent5">
                        <a:lumMod val="90000"/>
                      </a:schemeClr>
                    </a:solidFill>
                  </a:tcPr>
                </a:tc>
                <a:tc>
                  <a:txBody>
                    <a:bodyPr/>
                    <a:lstStyle/>
                    <a:p>
                      <a:pPr algn="ctr" fontAlgn="b"/>
                      <a:r>
                        <a:rPr lang="en-US" sz="1400" b="0" i="0" u="none" strike="noStrike" dirty="0">
                          <a:solidFill>
                            <a:srgbClr val="000000"/>
                          </a:solidFill>
                          <a:effectLst/>
                          <a:latin typeface="Aptos Narrow" panose="020B0004020202020204" pitchFamily="34" charset="0"/>
                        </a:rPr>
                        <a:t>7.2</a:t>
                      </a:r>
                    </a:p>
                  </a:txBody>
                  <a:tcPr marL="9525" marR="9525" marT="9525" marB="0" anchor="b">
                    <a:lnL>
                      <a:noFill/>
                    </a:lnL>
                    <a:lnR>
                      <a:noFill/>
                    </a:lnR>
                    <a:lnT>
                      <a:noFill/>
                    </a:lnT>
                    <a:lnB>
                      <a:noFill/>
                    </a:lnB>
                    <a:solidFill>
                      <a:schemeClr val="accent5">
                        <a:lumMod val="90000"/>
                      </a:schemeClr>
                    </a:solidFill>
                  </a:tcPr>
                </a:tc>
                <a:tc>
                  <a:txBody>
                    <a:bodyPr/>
                    <a:lstStyle/>
                    <a:p>
                      <a:pPr algn="ctr" fontAlgn="b"/>
                      <a:r>
                        <a:rPr lang="en-US" sz="1400" b="0" i="0" u="none" strike="noStrike" dirty="0">
                          <a:solidFill>
                            <a:srgbClr val="000000"/>
                          </a:solidFill>
                          <a:effectLst/>
                          <a:latin typeface="Aptos Narrow" panose="020B0004020202020204" pitchFamily="34" charset="0"/>
                        </a:rPr>
                        <a:t>56.3</a:t>
                      </a:r>
                    </a:p>
                  </a:txBody>
                  <a:tcPr marL="9525" marR="9525" marT="9525" marB="0" anchor="b">
                    <a:lnL>
                      <a:noFill/>
                    </a:lnL>
                    <a:lnR>
                      <a:noFill/>
                    </a:lnR>
                    <a:lnT>
                      <a:noFill/>
                    </a:lnT>
                    <a:lnB>
                      <a:noFill/>
                    </a:lnB>
                    <a:solidFill>
                      <a:schemeClr val="accent5">
                        <a:lumMod val="90000"/>
                      </a:schemeClr>
                    </a:solidFill>
                  </a:tcPr>
                </a:tc>
                <a:extLst>
                  <a:ext uri="{0D108BD9-81ED-4DB2-BD59-A6C34878D82A}">
                    <a16:rowId xmlns:a16="http://schemas.microsoft.com/office/drawing/2014/main" val="1713910371"/>
                  </a:ext>
                </a:extLst>
              </a:tr>
              <a:tr h="224478">
                <a:tc>
                  <a:txBody>
                    <a:bodyPr/>
                    <a:lstStyle/>
                    <a:p>
                      <a:pPr algn="ctr" fontAlgn="b"/>
                      <a:r>
                        <a:rPr lang="en-US" sz="1400" b="0" i="0" u="none" strike="noStrike">
                          <a:solidFill>
                            <a:srgbClr val="000000"/>
                          </a:solidFill>
                          <a:effectLst/>
                          <a:latin typeface="Aptos Narrow" panose="020B0004020202020204" pitchFamily="34" charset="0"/>
                        </a:rPr>
                        <a:t>0.7</a:t>
                      </a:r>
                    </a:p>
                  </a:txBody>
                  <a:tcPr marL="9525" marR="9525" marT="9525" marB="0" anchor="b">
                    <a:lnL>
                      <a:noFill/>
                    </a:lnL>
                    <a:lnR>
                      <a:noFill/>
                    </a:lnR>
                    <a:lnT>
                      <a:noFill/>
                    </a:lnT>
                    <a:lnB w="0">
                      <a:noFill/>
                    </a:lnB>
                    <a:noFill/>
                  </a:tcPr>
                </a:tc>
                <a:tc>
                  <a:txBody>
                    <a:bodyPr/>
                    <a:lstStyle/>
                    <a:p>
                      <a:pPr algn="ctr" fontAlgn="b"/>
                      <a:r>
                        <a:rPr lang="en-US" sz="1400" b="0" i="0" u="none" strike="noStrike">
                          <a:solidFill>
                            <a:srgbClr val="000000"/>
                          </a:solidFill>
                          <a:effectLst/>
                          <a:latin typeface="Aptos Narrow" panose="020B0004020202020204" pitchFamily="34" charset="0"/>
                        </a:rPr>
                        <a:t>12</a:t>
                      </a:r>
                    </a:p>
                  </a:txBody>
                  <a:tcPr marL="9525" marR="9525" marT="9525" marB="0" anchor="b">
                    <a:lnL>
                      <a:noFill/>
                    </a:lnL>
                    <a:lnR>
                      <a:noFill/>
                    </a:lnR>
                    <a:lnT>
                      <a:noFill/>
                    </a:lnT>
                    <a:lnB w="0">
                      <a:noFill/>
                    </a:lnB>
                    <a:noFill/>
                  </a:tcPr>
                </a:tc>
                <a:tc>
                  <a:txBody>
                    <a:bodyPr/>
                    <a:lstStyle/>
                    <a:p>
                      <a:pPr algn="ctr" fontAlgn="b"/>
                      <a:r>
                        <a:rPr lang="en-US" sz="1400" b="0" i="0" u="none" strike="noStrike" dirty="0">
                          <a:solidFill>
                            <a:srgbClr val="000000"/>
                          </a:solidFill>
                          <a:effectLst/>
                          <a:latin typeface="Aptos Narrow" panose="020B0004020202020204" pitchFamily="34" charset="0"/>
                        </a:rPr>
                        <a:t>20</a:t>
                      </a:r>
                    </a:p>
                  </a:txBody>
                  <a:tcPr marL="9525" marR="9525" marT="9525" marB="0" anchor="b">
                    <a:lnL>
                      <a:noFill/>
                    </a:lnL>
                    <a:lnR>
                      <a:noFill/>
                    </a:lnR>
                    <a:lnT>
                      <a:noFill/>
                    </a:lnT>
                    <a:lnB w="0">
                      <a:noFill/>
                    </a:lnB>
                    <a:noFill/>
                  </a:tcPr>
                </a:tc>
                <a:tc>
                  <a:txBody>
                    <a:bodyPr/>
                    <a:lstStyle/>
                    <a:p>
                      <a:pPr algn="ctr" fontAlgn="b"/>
                      <a:r>
                        <a:rPr lang="en-US" sz="1400" b="0" i="0" u="none" strike="noStrike" dirty="0">
                          <a:solidFill>
                            <a:srgbClr val="000000"/>
                          </a:solidFill>
                          <a:effectLst/>
                          <a:latin typeface="Aptos Narrow" panose="020B0004020202020204" pitchFamily="34" charset="0"/>
                        </a:rPr>
                        <a:t>38.1</a:t>
                      </a:r>
                    </a:p>
                  </a:txBody>
                  <a:tcPr marL="9525" marR="9525" marT="9525" marB="0" anchor="b">
                    <a:lnL>
                      <a:noFill/>
                    </a:lnL>
                    <a:lnR>
                      <a:noFill/>
                    </a:lnR>
                    <a:lnT>
                      <a:noFill/>
                    </a:lnT>
                    <a:lnB w="0">
                      <a:noFill/>
                    </a:lnB>
                    <a:noFill/>
                  </a:tcPr>
                </a:tc>
                <a:tc>
                  <a:txBody>
                    <a:bodyPr/>
                    <a:lstStyle/>
                    <a:p>
                      <a:pPr algn="ctr" fontAlgn="b"/>
                      <a:r>
                        <a:rPr lang="en-US" sz="1400" b="0" i="0" u="none" strike="noStrike" dirty="0">
                          <a:solidFill>
                            <a:srgbClr val="000000"/>
                          </a:solidFill>
                          <a:effectLst/>
                          <a:latin typeface="Aptos Narrow" panose="020B0004020202020204" pitchFamily="34" charset="0"/>
                        </a:rPr>
                        <a:t>6.7</a:t>
                      </a:r>
                    </a:p>
                  </a:txBody>
                  <a:tcPr marL="9525" marR="9525" marT="9525" marB="0" anchor="b">
                    <a:lnL>
                      <a:noFill/>
                    </a:lnL>
                    <a:lnR>
                      <a:noFill/>
                    </a:lnR>
                    <a:lnT>
                      <a:noFill/>
                    </a:lnT>
                    <a:lnB w="0">
                      <a:noFill/>
                    </a:lnB>
                    <a:noFill/>
                  </a:tcPr>
                </a:tc>
                <a:tc>
                  <a:txBody>
                    <a:bodyPr/>
                    <a:lstStyle/>
                    <a:p>
                      <a:pPr algn="ctr" fontAlgn="b"/>
                      <a:r>
                        <a:rPr lang="en-US" sz="1400" b="0" i="0" u="none" strike="noStrike" dirty="0">
                          <a:solidFill>
                            <a:srgbClr val="000000"/>
                          </a:solidFill>
                          <a:effectLst/>
                          <a:latin typeface="Aptos Narrow" panose="020B0004020202020204" pitchFamily="34" charset="0"/>
                        </a:rPr>
                        <a:t>55.3</a:t>
                      </a:r>
                    </a:p>
                  </a:txBody>
                  <a:tcPr marL="9525" marR="9525" marT="9525" marB="0" anchor="b">
                    <a:lnL>
                      <a:noFill/>
                    </a:lnL>
                    <a:lnR>
                      <a:noFill/>
                    </a:lnR>
                    <a:lnT>
                      <a:noFill/>
                    </a:lnT>
                    <a:lnB w="0">
                      <a:noFill/>
                    </a:lnB>
                    <a:noFill/>
                  </a:tcPr>
                </a:tc>
                <a:extLst>
                  <a:ext uri="{0D108BD9-81ED-4DB2-BD59-A6C34878D82A}">
                    <a16:rowId xmlns:a16="http://schemas.microsoft.com/office/drawing/2014/main" val="3757090209"/>
                  </a:ext>
                </a:extLst>
              </a:tr>
              <a:tr h="224478">
                <a:tc>
                  <a:txBody>
                    <a:bodyPr/>
                    <a:lstStyle/>
                    <a:p>
                      <a:pPr algn="ctr" fontAlgn="b"/>
                      <a:r>
                        <a:rPr lang="en-US" sz="1400" b="0" i="0" u="none" strike="noStrike">
                          <a:solidFill>
                            <a:srgbClr val="000000"/>
                          </a:solidFill>
                          <a:effectLst/>
                          <a:latin typeface="Aptos Narrow" panose="020B0004020202020204" pitchFamily="34" charset="0"/>
                        </a:rPr>
                        <a:t>0.7</a:t>
                      </a:r>
                    </a:p>
                  </a:txBody>
                  <a:tcPr marL="9525" marR="9525" marT="9525" marB="0" anchor="b">
                    <a:lnL>
                      <a:noFill/>
                    </a:lnL>
                    <a:lnR>
                      <a:noFill/>
                    </a:lnR>
                    <a:lnT>
                      <a:noFill/>
                    </a:lnT>
                    <a:lnB w="12700">
                      <a:solidFill>
                        <a:schemeClr val="tx1"/>
                      </a:solidFill>
                    </a:lnB>
                    <a:noFill/>
                  </a:tcPr>
                </a:tc>
                <a:tc>
                  <a:txBody>
                    <a:bodyPr/>
                    <a:lstStyle/>
                    <a:p>
                      <a:pPr algn="ctr" fontAlgn="b"/>
                      <a:r>
                        <a:rPr lang="en-US" sz="1400" b="0" i="0" u="none" strike="noStrike">
                          <a:solidFill>
                            <a:srgbClr val="000000"/>
                          </a:solidFill>
                          <a:effectLst/>
                          <a:latin typeface="Aptos Narrow" panose="020B0004020202020204" pitchFamily="34" charset="0"/>
                        </a:rPr>
                        <a:t>6</a:t>
                      </a:r>
                    </a:p>
                  </a:txBody>
                  <a:tcPr marL="9525" marR="9525" marT="9525" marB="0" anchor="b">
                    <a:lnL>
                      <a:noFill/>
                    </a:lnL>
                    <a:lnR>
                      <a:noFill/>
                    </a:lnR>
                    <a:lnT>
                      <a:noFill/>
                    </a:lnT>
                    <a:lnB w="12700">
                      <a:solidFill>
                        <a:schemeClr val="tx1"/>
                      </a:solidFill>
                    </a:lnB>
                    <a:noFill/>
                  </a:tcPr>
                </a:tc>
                <a:tc>
                  <a:txBody>
                    <a:bodyPr/>
                    <a:lstStyle/>
                    <a:p>
                      <a:pPr algn="ctr" fontAlgn="b"/>
                      <a:r>
                        <a:rPr lang="en-US" sz="1400" b="0" i="0" u="none" strike="noStrike" dirty="0">
                          <a:solidFill>
                            <a:srgbClr val="000000"/>
                          </a:solidFill>
                          <a:effectLst/>
                          <a:latin typeface="Aptos Narrow" panose="020B0004020202020204" pitchFamily="34" charset="0"/>
                        </a:rPr>
                        <a:t>30</a:t>
                      </a:r>
                    </a:p>
                  </a:txBody>
                  <a:tcPr marL="9525" marR="9525" marT="9525" marB="0" anchor="b">
                    <a:lnL>
                      <a:noFill/>
                    </a:lnL>
                    <a:lnR>
                      <a:noFill/>
                    </a:lnR>
                    <a:lnT>
                      <a:noFill/>
                    </a:lnT>
                    <a:lnB w="12700">
                      <a:solidFill>
                        <a:schemeClr val="tx1"/>
                      </a:solidFill>
                    </a:lnB>
                    <a:noFill/>
                  </a:tcPr>
                </a:tc>
                <a:tc>
                  <a:txBody>
                    <a:bodyPr/>
                    <a:lstStyle/>
                    <a:p>
                      <a:pPr algn="ctr" fontAlgn="b"/>
                      <a:r>
                        <a:rPr lang="en-US" sz="1400" b="0" i="0" u="none" strike="noStrike" dirty="0">
                          <a:solidFill>
                            <a:srgbClr val="000000"/>
                          </a:solidFill>
                          <a:effectLst/>
                          <a:latin typeface="Aptos Narrow" panose="020B0004020202020204" pitchFamily="34" charset="0"/>
                        </a:rPr>
                        <a:t>51.9</a:t>
                      </a:r>
                    </a:p>
                  </a:txBody>
                  <a:tcPr marL="9525" marR="9525" marT="9525" marB="0" anchor="b">
                    <a:lnL>
                      <a:noFill/>
                    </a:lnL>
                    <a:lnR>
                      <a:noFill/>
                    </a:lnR>
                    <a:lnT>
                      <a:noFill/>
                    </a:lnT>
                    <a:lnB w="12700">
                      <a:solidFill>
                        <a:schemeClr val="tx1"/>
                      </a:solidFill>
                    </a:lnB>
                    <a:noFill/>
                  </a:tcPr>
                </a:tc>
                <a:tc>
                  <a:txBody>
                    <a:bodyPr/>
                    <a:lstStyle/>
                    <a:p>
                      <a:pPr algn="ctr" fontAlgn="b"/>
                      <a:r>
                        <a:rPr lang="en-US" sz="1400" b="0" i="0" u="none" strike="noStrike" dirty="0">
                          <a:solidFill>
                            <a:srgbClr val="000000"/>
                          </a:solidFill>
                          <a:effectLst/>
                          <a:latin typeface="Aptos Narrow" panose="020B0004020202020204" pitchFamily="34" charset="0"/>
                        </a:rPr>
                        <a:t>3.2</a:t>
                      </a:r>
                    </a:p>
                  </a:txBody>
                  <a:tcPr marL="9525" marR="9525" marT="9525" marB="0" anchor="b">
                    <a:lnL>
                      <a:noFill/>
                    </a:lnL>
                    <a:lnR>
                      <a:noFill/>
                    </a:lnR>
                    <a:lnT>
                      <a:noFill/>
                    </a:lnT>
                    <a:lnB w="12700">
                      <a:solidFill>
                        <a:schemeClr val="tx1"/>
                      </a:solidFill>
                    </a:lnB>
                    <a:noFill/>
                  </a:tcPr>
                </a:tc>
                <a:tc>
                  <a:txBody>
                    <a:bodyPr/>
                    <a:lstStyle/>
                    <a:p>
                      <a:pPr algn="ctr" fontAlgn="b"/>
                      <a:r>
                        <a:rPr lang="en-US" sz="1400" b="0" i="0" u="none" strike="noStrike" dirty="0">
                          <a:solidFill>
                            <a:srgbClr val="000000"/>
                          </a:solidFill>
                          <a:effectLst/>
                          <a:latin typeface="Aptos Narrow" panose="020B0004020202020204" pitchFamily="34" charset="0"/>
                        </a:rPr>
                        <a:t>44.9</a:t>
                      </a:r>
                    </a:p>
                  </a:txBody>
                  <a:tcPr marL="9525" marR="9525" marT="9525" marB="0" anchor="b">
                    <a:lnL>
                      <a:noFill/>
                    </a:lnL>
                    <a:lnR>
                      <a:noFill/>
                    </a:lnR>
                    <a:lnT>
                      <a:noFill/>
                    </a:lnT>
                    <a:lnB w="12700">
                      <a:solidFill>
                        <a:schemeClr val="tx1"/>
                      </a:solidFill>
                    </a:lnB>
                    <a:noFill/>
                  </a:tcPr>
                </a:tc>
                <a:extLst>
                  <a:ext uri="{0D108BD9-81ED-4DB2-BD59-A6C34878D82A}">
                    <a16:rowId xmlns:a16="http://schemas.microsoft.com/office/drawing/2014/main" val="3020757410"/>
                  </a:ext>
                </a:extLst>
              </a:tr>
            </a:tbl>
          </a:graphicData>
        </a:graphic>
      </p:graphicFrame>
      <p:sp>
        <p:nvSpPr>
          <p:cNvPr id="9" name="TextBox 8">
            <a:extLst>
              <a:ext uri="{FF2B5EF4-FFF2-40B4-BE49-F238E27FC236}">
                <a16:creationId xmlns:a16="http://schemas.microsoft.com/office/drawing/2014/main" id="{1FFFECBB-6D4F-7E79-88C9-83E2330401D3}"/>
              </a:ext>
            </a:extLst>
          </p:cNvPr>
          <p:cNvSpPr txBox="1"/>
          <p:nvPr/>
        </p:nvSpPr>
        <p:spPr>
          <a:xfrm>
            <a:off x="6693031" y="1785297"/>
            <a:ext cx="4992459" cy="3970318"/>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b="1" dirty="0">
                <a:ea typeface="Calibri"/>
                <a:cs typeface="Calibri"/>
              </a:rPr>
              <a:t>Interpretation:</a:t>
            </a:r>
          </a:p>
          <a:p>
            <a:pPr marL="285750" indent="-285750">
              <a:buAutoNum type="arabicPeriod"/>
            </a:pPr>
            <a:r>
              <a:rPr lang="en-US" dirty="0">
                <a:ea typeface="Calibri"/>
                <a:cs typeface="Calibri"/>
              </a:rPr>
              <a:t>If the true reduction due to the drug is 30% If we observed SD of0 0.11 and sample size </a:t>
            </a:r>
            <a:r>
              <a:rPr lang="en-US" dirty="0" err="1">
                <a:ea typeface="Calibri"/>
                <a:cs typeface="Calibri"/>
              </a:rPr>
              <a:t>N</a:t>
            </a:r>
            <a:r>
              <a:rPr lang="en-US" baseline="-25000" dirty="0" err="1">
                <a:ea typeface="Calibri"/>
                <a:cs typeface="Calibri"/>
              </a:rPr>
              <a:t>t</a:t>
            </a:r>
            <a:r>
              <a:rPr lang="en-US" dirty="0">
                <a:ea typeface="Calibri"/>
                <a:cs typeface="Calibri"/>
              </a:rPr>
              <a:t> = N</a:t>
            </a:r>
            <a:r>
              <a:rPr lang="en-US" baseline="-25000" dirty="0">
                <a:ea typeface="Calibri"/>
                <a:cs typeface="Calibri"/>
              </a:rPr>
              <a:t>P</a:t>
            </a:r>
            <a:r>
              <a:rPr lang="en-US" dirty="0">
                <a:ea typeface="Calibri"/>
                <a:cs typeface="Calibri"/>
              </a:rPr>
              <a:t> = 12, The QDM would recommend a ‘go’ decision 100%</a:t>
            </a:r>
          </a:p>
          <a:p>
            <a:pPr marL="342900" indent="-342900">
              <a:buAutoNum type="arabicPeriod"/>
            </a:pPr>
            <a:r>
              <a:rPr lang="en-US" dirty="0">
                <a:ea typeface="Calibri"/>
                <a:cs typeface="Calibri"/>
              </a:rPr>
              <a:t>If the study observes the same reduction with the sample size with SD = 0.7 (higher SD), the QDM would recommend 'go' with probability of 56% and 'Consider' with probability 42%</a:t>
            </a:r>
          </a:p>
          <a:p>
            <a:pPr marL="342900" indent="-342900">
              <a:buAutoNum type="arabicPeriod"/>
            </a:pPr>
            <a:endParaRPr lang="en-US" dirty="0">
              <a:ea typeface="Calibri"/>
              <a:cs typeface="Calibri"/>
            </a:endParaRPr>
          </a:p>
          <a:p>
            <a:pPr marL="342900" indent="-342900">
              <a:buAutoNum type="arabicPeriod"/>
            </a:pPr>
            <a:endParaRPr lang="en-US" dirty="0">
              <a:ea typeface="Calibri"/>
              <a:cs typeface="Calibri"/>
            </a:endParaRPr>
          </a:p>
          <a:p>
            <a:r>
              <a:rPr lang="en-US" b="1" dirty="0">
                <a:ea typeface="Calibri"/>
                <a:cs typeface="Calibri"/>
              </a:rPr>
              <a:t>Decisions are sensitive to the observed standard deviations and sample sizes. </a:t>
            </a:r>
          </a:p>
          <a:p>
            <a:pPr marL="342900" indent="-342900">
              <a:buAutoNum type="arabicPeriod"/>
            </a:pPr>
            <a:endParaRPr lang="en-US" dirty="0">
              <a:ea typeface="Calibri"/>
              <a:cs typeface="Calibri"/>
            </a:endParaRPr>
          </a:p>
        </p:txBody>
      </p:sp>
    </p:spTree>
    <p:extLst>
      <p:ext uri="{BB962C8B-B14F-4D97-AF65-F5344CB8AC3E}">
        <p14:creationId xmlns:p14="http://schemas.microsoft.com/office/powerpoint/2010/main" val="1229009472"/>
      </p:ext>
    </p:extLst>
  </p:cSld>
  <p:clrMapOvr>
    <a:masterClrMapping/>
  </p:clrMapOvr>
  <p:transition spd="slow">
    <p:push dir="u"/>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E2516D0-94DB-6E7D-B040-04CCA6EEB65F}"/>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5D6ACE9E-948F-D8C2-B37B-4DE074F7545B}"/>
              </a:ext>
            </a:extLst>
          </p:cNvPr>
          <p:cNvSpPr>
            <a:spLocks noGrp="1"/>
          </p:cNvSpPr>
          <p:nvPr>
            <p:ph type="body" sz="quarter" idx="15"/>
          </p:nvPr>
        </p:nvSpPr>
        <p:spPr/>
        <p:txBody>
          <a:bodyPr/>
          <a:lstStyle/>
          <a:p>
            <a:endParaRPr lang="en-US" dirty="0">
              <a:solidFill>
                <a:srgbClr val="000000"/>
              </a:solidFill>
            </a:endParaRPr>
          </a:p>
          <a:p>
            <a:endParaRPr lang="en-US" dirty="0">
              <a:solidFill>
                <a:srgbClr val="000000"/>
              </a:solidFill>
            </a:endParaRPr>
          </a:p>
          <a:p>
            <a:endParaRPr lang="en-US" dirty="0">
              <a:solidFill>
                <a:srgbClr val="000000"/>
              </a:solidFill>
            </a:endParaRPr>
          </a:p>
          <a:p>
            <a:endParaRPr lang="en-US" dirty="0"/>
          </a:p>
        </p:txBody>
      </p:sp>
      <p:sp>
        <p:nvSpPr>
          <p:cNvPr id="3" name="Footer Placeholder 2">
            <a:extLst>
              <a:ext uri="{FF2B5EF4-FFF2-40B4-BE49-F238E27FC236}">
                <a16:creationId xmlns:a16="http://schemas.microsoft.com/office/drawing/2014/main" id="{03130129-1F8E-40BE-9E5B-A5D8445C93E3}"/>
              </a:ext>
            </a:extLst>
          </p:cNvPr>
          <p:cNvSpPr>
            <a:spLocks noGrp="1"/>
          </p:cNvSpPr>
          <p:nvPr>
            <p:ph type="ftr" sz="quarter" idx="3"/>
          </p:nvPr>
        </p:nvSpPr>
        <p:spPr/>
        <p:txBody>
          <a:bodyPr/>
          <a:lstStyle/>
          <a:p>
            <a:r>
              <a:rPr lang="en-JP" dirty="0"/>
              <a:t> </a:t>
            </a:r>
          </a:p>
        </p:txBody>
      </p:sp>
      <p:sp>
        <p:nvSpPr>
          <p:cNvPr id="4" name="Title 3">
            <a:extLst>
              <a:ext uri="{FF2B5EF4-FFF2-40B4-BE49-F238E27FC236}">
                <a16:creationId xmlns:a16="http://schemas.microsoft.com/office/drawing/2014/main" id="{C146BE42-5A0B-2842-6D94-98B94343B963}"/>
              </a:ext>
            </a:extLst>
          </p:cNvPr>
          <p:cNvSpPr>
            <a:spLocks noGrp="1"/>
          </p:cNvSpPr>
          <p:nvPr>
            <p:ph type="title"/>
          </p:nvPr>
        </p:nvSpPr>
        <p:spPr/>
        <p:txBody>
          <a:bodyPr/>
          <a:lstStyle/>
          <a:p>
            <a:r>
              <a:rPr lang="en-US">
                <a:latin typeface="Calibri"/>
                <a:ea typeface="メイリオ"/>
                <a:cs typeface="Calibri"/>
              </a:rPr>
              <a:t>GNG Operating Characteristics</a:t>
            </a:r>
            <a:endParaRPr lang="en-US" dirty="0"/>
          </a:p>
        </p:txBody>
      </p:sp>
      <p:sp>
        <p:nvSpPr>
          <p:cNvPr id="5" name="Slide Number Placeholder 4">
            <a:extLst>
              <a:ext uri="{FF2B5EF4-FFF2-40B4-BE49-F238E27FC236}">
                <a16:creationId xmlns:a16="http://schemas.microsoft.com/office/drawing/2014/main" id="{15612A28-C9F7-F1BA-DE70-AEAF9BAA2CC6}"/>
              </a:ext>
            </a:extLst>
          </p:cNvPr>
          <p:cNvSpPr>
            <a:spLocks noGrp="1"/>
          </p:cNvSpPr>
          <p:nvPr>
            <p:ph type="sldNum" sz="quarter" idx="4"/>
          </p:nvPr>
        </p:nvSpPr>
        <p:spPr/>
        <p:txBody>
          <a:bodyPr/>
          <a:lstStyle/>
          <a:p>
            <a:pPr defTabSz="1218810"/>
            <a:fld id="{E9B57936-92EF-4126-AE48-1D9D36D15E98}" type="slidenum">
              <a:rPr lang="ja-JP" altLang="en-US" smtClean="0"/>
              <a:pPr defTabSz="1218810"/>
              <a:t>8</a:t>
            </a:fld>
            <a:endParaRPr lang="ja-JP" altLang="en-US"/>
          </a:p>
        </p:txBody>
      </p:sp>
      <p:sp>
        <p:nvSpPr>
          <p:cNvPr id="6" name="Text Placeholder 5">
            <a:extLst>
              <a:ext uri="{FF2B5EF4-FFF2-40B4-BE49-F238E27FC236}">
                <a16:creationId xmlns:a16="http://schemas.microsoft.com/office/drawing/2014/main" id="{7B3197B5-8384-67EA-1869-BEF644C8528C}"/>
              </a:ext>
            </a:extLst>
          </p:cNvPr>
          <p:cNvSpPr>
            <a:spLocks noGrp="1"/>
          </p:cNvSpPr>
          <p:nvPr>
            <p:ph type="body" sz="quarter" idx="16"/>
          </p:nvPr>
        </p:nvSpPr>
        <p:spPr/>
        <p:txBody>
          <a:bodyPr/>
          <a:lstStyle/>
          <a:p>
            <a:endParaRPr lang="en-US"/>
          </a:p>
        </p:txBody>
      </p:sp>
      <p:sp>
        <p:nvSpPr>
          <p:cNvPr id="7" name="TextBox 6">
            <a:extLst>
              <a:ext uri="{FF2B5EF4-FFF2-40B4-BE49-F238E27FC236}">
                <a16:creationId xmlns:a16="http://schemas.microsoft.com/office/drawing/2014/main" id="{751F1BBE-9447-68A7-DF9B-5C27438B2439}"/>
              </a:ext>
            </a:extLst>
          </p:cNvPr>
          <p:cNvSpPr txBox="1"/>
          <p:nvPr/>
        </p:nvSpPr>
        <p:spPr>
          <a:xfrm>
            <a:off x="601720" y="846921"/>
            <a:ext cx="11125524" cy="1200329"/>
          </a:xfrm>
          <a:prstGeom prst="rect">
            <a:avLst/>
          </a:prstGeom>
          <a:noFill/>
        </p:spPr>
        <p:txBody>
          <a:bodyPr wrap="square" lIns="91440" tIns="45720" rIns="91440" bIns="45720" rtlCol="0" anchor="t">
            <a:spAutoFit/>
          </a:bodyPr>
          <a:lstStyle/>
          <a:p>
            <a:r>
              <a:rPr lang="en-US" b="1" dirty="0"/>
              <a:t>Quantitative Decision Metric Threshold</a:t>
            </a:r>
          </a:p>
          <a:p>
            <a:r>
              <a:rPr lang="en-US" dirty="0">
                <a:solidFill>
                  <a:srgbClr val="242424"/>
                </a:solidFill>
                <a:latin typeface="Segoe UI"/>
                <a:cs typeface="Segoe UI"/>
              </a:rPr>
              <a:t>Operating characteristics of the proposed QDM for two different standard deviation 0.11 and 0.7. The sample size and the other considerations was the same. X axis indicates the difference in change from baseline between treatment and placebo arms in log scale. </a:t>
            </a:r>
            <a:endParaRPr lang="en-US" dirty="0">
              <a:ea typeface="Calibri" panose="020F0502020204030204"/>
              <a:cs typeface="Calibri" panose="020F0502020204030204"/>
            </a:endParaRPr>
          </a:p>
        </p:txBody>
      </p:sp>
      <p:sp>
        <p:nvSpPr>
          <p:cNvPr id="16" name="TextBox 15">
            <a:extLst>
              <a:ext uri="{FF2B5EF4-FFF2-40B4-BE49-F238E27FC236}">
                <a16:creationId xmlns:a16="http://schemas.microsoft.com/office/drawing/2014/main" id="{9FD112B4-3902-F03F-C42D-76C755750A80}"/>
              </a:ext>
            </a:extLst>
          </p:cNvPr>
          <p:cNvSpPr txBox="1"/>
          <p:nvPr/>
        </p:nvSpPr>
        <p:spPr>
          <a:xfrm>
            <a:off x="707011" y="5687913"/>
            <a:ext cx="11125524" cy="64633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b="1" dirty="0">
                <a:ea typeface="Calibri"/>
                <a:cs typeface="Calibri"/>
              </a:rPr>
              <a:t>A higher SD widens the gray zone, necessitating a larger observed difference (more than 28%) for a go decision with the QDM.</a:t>
            </a:r>
            <a:endParaRPr lang="en-US" b="1" dirty="0"/>
          </a:p>
        </p:txBody>
      </p:sp>
      <p:pic>
        <p:nvPicPr>
          <p:cNvPr id="10" name="Picture 9">
            <a:extLst>
              <a:ext uri="{FF2B5EF4-FFF2-40B4-BE49-F238E27FC236}">
                <a16:creationId xmlns:a16="http://schemas.microsoft.com/office/drawing/2014/main" id="{10517888-6F4A-6E68-9E10-834F01341A45}"/>
              </a:ext>
            </a:extLst>
          </p:cNvPr>
          <p:cNvPicPr>
            <a:picLocks noChangeAspect="1"/>
          </p:cNvPicPr>
          <p:nvPr/>
        </p:nvPicPr>
        <p:blipFill>
          <a:blip r:embed="rId2"/>
          <a:stretch>
            <a:fillRect/>
          </a:stretch>
        </p:blipFill>
        <p:spPr>
          <a:xfrm>
            <a:off x="6050406" y="2061778"/>
            <a:ext cx="4584589" cy="3670110"/>
          </a:xfrm>
          <a:prstGeom prst="rect">
            <a:avLst/>
          </a:prstGeom>
        </p:spPr>
      </p:pic>
      <p:pic>
        <p:nvPicPr>
          <p:cNvPr id="12" name="Picture 11">
            <a:extLst>
              <a:ext uri="{FF2B5EF4-FFF2-40B4-BE49-F238E27FC236}">
                <a16:creationId xmlns:a16="http://schemas.microsoft.com/office/drawing/2014/main" id="{56CF4E58-CCB1-B89C-A923-AFE84E1FB8C4}"/>
              </a:ext>
            </a:extLst>
          </p:cNvPr>
          <p:cNvPicPr>
            <a:picLocks noChangeAspect="1"/>
          </p:cNvPicPr>
          <p:nvPr/>
        </p:nvPicPr>
        <p:blipFill>
          <a:blip r:embed="rId3"/>
          <a:stretch>
            <a:fillRect/>
          </a:stretch>
        </p:blipFill>
        <p:spPr>
          <a:xfrm>
            <a:off x="991615" y="2061778"/>
            <a:ext cx="4584589" cy="3670110"/>
          </a:xfrm>
          <a:prstGeom prst="rect">
            <a:avLst/>
          </a:prstGeom>
        </p:spPr>
      </p:pic>
    </p:spTree>
    <p:extLst>
      <p:ext uri="{BB962C8B-B14F-4D97-AF65-F5344CB8AC3E}">
        <p14:creationId xmlns:p14="http://schemas.microsoft.com/office/powerpoint/2010/main" val="2279204376"/>
      </p:ext>
    </p:extLst>
  </p:cSld>
  <p:clrMapOvr>
    <a:masterClrMapping/>
  </p:clrMapOvr>
  <p:transition spd="slow">
    <p:push dir="u"/>
  </p:transition>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7037&quot;&gt;&lt;version val=&quot;30772&quot;/&gt;&lt;CPresentation id=&quot;1&quot;&gt;&lt;m_precDefaultNumber&gt;&lt;m_yearfmt&gt;&lt;begin val=&quot;0&quot;/&gt;&lt;end val=&quot;4&quot;/&gt;&lt;/m_yearfmt&gt;&lt;/m_precDefaultNumber&gt;&lt;m_precDefaultPercent&gt;&lt;m_yearfmt&gt;&lt;begin val=&quot;0&quot;/&gt;&lt;end val=&quot;4&quot;/&gt;&lt;/m_yearfmt&gt;&lt;/m_precDefaultPercent&gt;&lt;m_precDefaultDate&gt;&lt;m_yearfmt&gt;&lt;begin val=&quot;0&quot;/&gt;&lt;end val=&quot;4&quot;/&gt;&lt;/m_yearfmt&gt;&lt;/m_precDefaultDate&gt;&lt;m_precDefaultYear&gt;&lt;m_bNumberIsYear val=&quot;0&quot;/&gt;&lt;m_strFormatTime&gt;%Y&lt;/m_strFormatTime&gt;&lt;m_yearfmt&gt;&lt;begin val=&quot;0&quot;/&gt;&lt;end val=&quot;0&quot;/&gt;&lt;/m_yearfmt&gt;&lt;/m_precDefaultYear&gt;&lt;m_precDefaultQuarter&gt;&lt;m_bNumberIsYear val=&quot;0&quot;/&gt;&lt;m_strFormatTime&gt;Q%5&lt;/m_strFormatTime&gt;&lt;m_yearfmt&gt;&lt;begin val=&quot;0&quot;/&gt;&lt;end val=&quot;4&quot;/&gt;&lt;/m_yearfmt&gt;&lt;/m_precDefaultQuarter&gt;&lt;m_precDefaultMonth&gt;&lt;m_bNumberIsYear val=&quot;0&quot;/&gt;&lt;m_strFormatTime&gt;%1&lt;/m_strFormatTime&gt;&lt;m_yearfmt&gt;&lt;begin val=&quot;0&quot;/&gt;&lt;end val=&quot;4&quot;/&gt;&lt;/m_yearfmt&gt;&lt;/m_precDefaultMonth&gt;&lt;m_precDefaultWeek&gt;&lt;m_bNumberIsYear val=&quot;0&quot;/&gt;&lt;m_strFormatTime&gt;%4&lt;/m_strFormatTime&gt;&lt;m_yearfmt&gt;&lt;begin val=&quot;0&quot;/&gt;&lt;end val=&quot;4&quot;/&gt;&lt;/m_yearfmt&gt;&lt;/m_precDefaultWeek&gt;&lt;m_precDefaultDay&gt;&lt;m_bNumberIsYear val=&quot;0&quot;/&gt;&lt;m_strFormatTime&gt;%#d&lt;/m_strFormatTime&gt;&lt;m_yearfmt&gt;&lt;begin val=&quot;0&quot;/&gt;&lt;end val=&quot;4&quot;/&gt;&lt;/m_yearfmt&gt;&lt;/m_precDefaultDay&gt;&lt;m_mruColor&gt;&lt;m_vecMRU length=&quot;0&quot;/&gt;&lt;/m_mruColor&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91s2wmrLno._6pCV7LnEi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91s2wmrLno._6pCV7LnEi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91s2wmrLno._6pCV7LnEi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91s2wmrLno._6pCV7LnEig"/>
</p:tagLst>
</file>

<file path=ppt/theme/theme1.xml><?xml version="1.0" encoding="utf-8"?>
<a:theme xmlns:a="http://schemas.openxmlformats.org/drawingml/2006/main" name="10_Takeda Slide Master">
  <a:themeElements>
    <a:clrScheme name="Takeda 2021">
      <a:dk1>
        <a:srgbClr val="34373F"/>
      </a:dk1>
      <a:lt1>
        <a:srgbClr val="FFFFFF"/>
      </a:lt1>
      <a:dk2>
        <a:srgbClr val="34373F"/>
      </a:dk2>
      <a:lt2>
        <a:srgbClr val="FFFFFF"/>
      </a:lt2>
      <a:accent1>
        <a:srgbClr val="E1242A"/>
      </a:accent1>
      <a:accent2>
        <a:srgbClr val="891515"/>
      </a:accent2>
      <a:accent3>
        <a:srgbClr val="34373F"/>
      </a:accent3>
      <a:accent4>
        <a:srgbClr val="A1A4AC"/>
      </a:accent4>
      <a:accent5>
        <a:srgbClr val="EDF2F4"/>
      </a:accent5>
      <a:accent6>
        <a:srgbClr val="FFFFFF"/>
      </a:accent6>
      <a:hlink>
        <a:srgbClr val="34373F"/>
      </a:hlink>
      <a:folHlink>
        <a:srgbClr val="34373F"/>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28575">
          <a:noFill/>
        </a:ln>
      </a:spPr>
      <a:bodyPr wrap="none" rtlCol="0" anchor="ctr"/>
      <a:lstStyle>
        <a:defPPr algn="ctr">
          <a:defRPr kumimoji="1" dirty="0"/>
        </a:defPPr>
      </a:lstStyle>
      <a:style>
        <a:lnRef idx="1">
          <a:schemeClr val="accent1"/>
        </a:lnRef>
        <a:fillRef idx="0">
          <a:schemeClr val="accent1"/>
        </a:fillRef>
        <a:effectRef idx="0">
          <a:schemeClr val="accent1"/>
        </a:effectRef>
        <a:fontRef idx="minor">
          <a:schemeClr val="tx1"/>
        </a:fontRef>
      </a:style>
    </a:spDef>
  </a:objectDefaults>
  <a:extraClrSchemeLst/>
  <a:extLst>
    <a:ext uri="{05A4C25C-085E-4340-85A3-A5531E510DB2}">
      <thm15:themeFamily xmlns:thm15="http://schemas.microsoft.com/office/thememl/2012/main" name="Presentation1" id="{CC671639-4675-498F-8406-CC38EFAC0128}" vid="{D2ECA16B-CEDF-4EB1-A5E5-09346E461B18}"/>
    </a:ext>
  </a:extLst>
</a:theme>
</file>

<file path=ppt/theme/theme2.xml><?xml version="1.0" encoding="utf-8"?>
<a:theme xmlns:a="http://schemas.openxmlformats.org/drawingml/2006/main" name="1_Takeda Slide Master">
  <a:themeElements>
    <a:clrScheme name="Takeda 2021">
      <a:dk1>
        <a:srgbClr val="34373F"/>
      </a:dk1>
      <a:lt1>
        <a:srgbClr val="FFFFFF"/>
      </a:lt1>
      <a:dk2>
        <a:srgbClr val="34373F"/>
      </a:dk2>
      <a:lt2>
        <a:srgbClr val="FFFFFF"/>
      </a:lt2>
      <a:accent1>
        <a:srgbClr val="E1242A"/>
      </a:accent1>
      <a:accent2>
        <a:srgbClr val="891515"/>
      </a:accent2>
      <a:accent3>
        <a:srgbClr val="34373F"/>
      </a:accent3>
      <a:accent4>
        <a:srgbClr val="A1A4AC"/>
      </a:accent4>
      <a:accent5>
        <a:srgbClr val="EDF2F4"/>
      </a:accent5>
      <a:accent6>
        <a:srgbClr val="FFFFFF"/>
      </a:accent6>
      <a:hlink>
        <a:srgbClr val="34373F"/>
      </a:hlink>
      <a:folHlink>
        <a:srgbClr val="34373F"/>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28575">
          <a:noFill/>
        </a:ln>
      </a:spPr>
      <a:bodyPr wrap="none" rtlCol="0" anchor="ctr"/>
      <a:lstStyle>
        <a:defPPr algn="ctr">
          <a:defRPr kumimoji="1" dirty="0"/>
        </a:defPPr>
      </a:lstStyle>
      <a:style>
        <a:lnRef idx="1">
          <a:schemeClr val="accent1"/>
        </a:lnRef>
        <a:fillRef idx="0">
          <a:schemeClr val="accent1"/>
        </a:fillRef>
        <a:effectRef idx="0">
          <a:schemeClr val="accent1"/>
        </a:effectRef>
        <a:fontRef idx="minor">
          <a:schemeClr val="tx1"/>
        </a:fontRef>
      </a:style>
    </a:spDef>
  </a:objectDefaults>
  <a:extraClrSchemeLst/>
  <a:extLst>
    <a:ext uri="{05A4C25C-085E-4340-85A3-A5531E510DB2}">
      <thm15:themeFamily xmlns:thm15="http://schemas.microsoft.com/office/thememl/2012/main" name="Presentation1" id="{CC671639-4675-498F-8406-CC38EFAC0128}" vid="{D2ECA16B-CEDF-4EB1-A5E5-09346E461B18}"/>
    </a:ext>
  </a:extLst>
</a:theme>
</file>

<file path=ppt/theme/theme3.xml><?xml version="1.0" encoding="utf-8"?>
<a:theme xmlns:a="http://schemas.openxmlformats.org/drawingml/2006/main" name="Takeda Slide Master">
  <a:themeElements>
    <a:clrScheme name="Takeda 2021">
      <a:dk1>
        <a:srgbClr val="34373F"/>
      </a:dk1>
      <a:lt1>
        <a:srgbClr val="FFFFFF"/>
      </a:lt1>
      <a:dk2>
        <a:srgbClr val="34373F"/>
      </a:dk2>
      <a:lt2>
        <a:srgbClr val="FFFFFF"/>
      </a:lt2>
      <a:accent1>
        <a:srgbClr val="E1242A"/>
      </a:accent1>
      <a:accent2>
        <a:srgbClr val="891515"/>
      </a:accent2>
      <a:accent3>
        <a:srgbClr val="34373F"/>
      </a:accent3>
      <a:accent4>
        <a:srgbClr val="A1A4AC"/>
      </a:accent4>
      <a:accent5>
        <a:srgbClr val="EDF2F4"/>
      </a:accent5>
      <a:accent6>
        <a:srgbClr val="FFFFFF"/>
      </a:accent6>
      <a:hlink>
        <a:srgbClr val="34373F"/>
      </a:hlink>
      <a:folHlink>
        <a:srgbClr val="34373F"/>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28575">
          <a:noFill/>
        </a:ln>
      </a:spPr>
      <a:bodyPr wrap="none" rtlCol="0" anchor="ctr"/>
      <a:lstStyle>
        <a:defPPr algn="ctr">
          <a:defRPr kumimoji="1" dirty="0"/>
        </a:defPPr>
      </a:lstStyle>
      <a:style>
        <a:lnRef idx="1">
          <a:schemeClr val="accent1"/>
        </a:lnRef>
        <a:fillRef idx="0">
          <a:schemeClr val="accent1"/>
        </a:fillRef>
        <a:effectRef idx="0">
          <a:schemeClr val="accent1"/>
        </a:effectRef>
        <a:fontRef idx="minor">
          <a:schemeClr val="tx1"/>
        </a:fontRef>
      </a:style>
    </a:spDef>
  </a:objectDefaults>
  <a:extraClrSchemeLst/>
  <a:extLst>
    <a:ext uri="{05A4C25C-085E-4340-85A3-A5531E510DB2}">
      <thm15:themeFamily xmlns:thm15="http://schemas.microsoft.com/office/thememl/2012/main" name="Presentation1" id="{CC671639-4675-498F-8406-CC38EFAC0128}" vid="{D2ECA16B-CEDF-4EB1-A5E5-09346E461B18}"/>
    </a:ext>
  </a:extLst>
</a:theme>
</file>

<file path=ppt/theme/theme4.xml><?xml version="1.0" encoding="utf-8"?>
<a:theme xmlns:a="http://schemas.openxmlformats.org/drawingml/2006/main" name="Takeda Slide Master">
  <a:themeElements>
    <a:clrScheme name="Takeda 2021">
      <a:dk1>
        <a:srgbClr val="34373F"/>
      </a:dk1>
      <a:lt1>
        <a:srgbClr val="FFFFFF"/>
      </a:lt1>
      <a:dk2>
        <a:srgbClr val="34373F"/>
      </a:dk2>
      <a:lt2>
        <a:srgbClr val="FFFFFF"/>
      </a:lt2>
      <a:accent1>
        <a:srgbClr val="E1242A"/>
      </a:accent1>
      <a:accent2>
        <a:srgbClr val="891515"/>
      </a:accent2>
      <a:accent3>
        <a:srgbClr val="34373F"/>
      </a:accent3>
      <a:accent4>
        <a:srgbClr val="A1A4AC"/>
      </a:accent4>
      <a:accent5>
        <a:srgbClr val="EDF2F4"/>
      </a:accent5>
      <a:accent6>
        <a:srgbClr val="FFFFFF"/>
      </a:accent6>
      <a:hlink>
        <a:srgbClr val="34373F"/>
      </a:hlink>
      <a:folHlink>
        <a:srgbClr val="34373F"/>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28575">
          <a:noFill/>
        </a:ln>
      </a:spPr>
      <a:bodyPr wrap="none" rtlCol="0" anchor="ctr"/>
      <a:lstStyle>
        <a:defPPr algn="ctr">
          <a:defRPr kumimoji="1" dirty="0"/>
        </a:defPPr>
      </a:lstStyle>
      <a:style>
        <a:lnRef idx="1">
          <a:schemeClr val="accent1"/>
        </a:lnRef>
        <a:fillRef idx="0">
          <a:schemeClr val="accent1"/>
        </a:fillRef>
        <a:effectRef idx="0">
          <a:schemeClr val="accent1"/>
        </a:effectRef>
        <a:fontRef idx="minor">
          <a:schemeClr val="tx1"/>
        </a:fontRef>
      </a:style>
    </a:spDef>
  </a:objectDefaults>
  <a:extraClrSchemeLst/>
  <a:extLst>
    <a:ext uri="{05A4C25C-085E-4340-85A3-A5531E510DB2}">
      <thm15:themeFamily xmlns:thm15="http://schemas.microsoft.com/office/thememl/2012/main" name="Presentation1" id="{CC671639-4675-498F-8406-CC38EFAC0128}" vid="{D2ECA16B-CEDF-4EB1-A5E5-09346E461B18}"/>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412FB8D3827705428C6F8DCBBBF92368" ma:contentTypeVersion="" ma:contentTypeDescription="Create a new document." ma:contentTypeScope="" ma:versionID="4979a33f0f7ee64b7e7501221db8f341">
  <xsd:schema xmlns:xsd="http://www.w3.org/2001/XMLSchema" xmlns:xs="http://www.w3.org/2001/XMLSchema" xmlns:p="http://schemas.microsoft.com/office/2006/metadata/properties" xmlns:ns2="4e3e2c99-6194-4f1a-99bc-ed392d274ced" xmlns:ns3="cfe98a3f-1b0a-4268-b074-fd19edd2614c" targetNamespace="http://schemas.microsoft.com/office/2006/metadata/properties" ma:root="true" ma:fieldsID="57ea24bf96a85ff8be8bf656885146a5" ns2:_="" ns3:_="">
    <xsd:import namespace="4e3e2c99-6194-4f1a-99bc-ed392d274ced"/>
    <xsd:import namespace="cfe98a3f-1b0a-4268-b074-fd19edd2614c"/>
    <xsd:element name="properties">
      <xsd:complexType>
        <xsd:sequence>
          <xsd:element name="documentManagement">
            <xsd:complexType>
              <xsd:all>
                <xsd:element ref="ns2:MediaServiceMetadata" minOccurs="0"/>
                <xsd:element ref="ns2:MediaServiceFastMetadata" minOccurs="0"/>
                <xsd:element ref="ns2:MediaServiceObjectDetectorVersions" minOccurs="0"/>
                <xsd:element ref="ns3:SharedWithUsers" minOccurs="0"/>
                <xsd:element ref="ns3:SharedWithDetail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e3e2c99-6194-4f1a-99bc-ed392d274ced"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bjectDetectorVersions" ma:index="10" nillable="true" ma:displayName="MediaServiceObjectDetectorVersions" ma:hidden="true" ma:indexed="true" ma:internalName="MediaServiceObjectDetectorVersions" ma:readOnly="true">
      <xsd:simpleType>
        <xsd:restriction base="dms:Text"/>
      </xsd:simpleType>
    </xsd:element>
    <xsd:element name="MediaServiceSearchProperties" ma:index="1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cfe98a3f-1b0a-4268-b074-fd19edd2614c" elementFormDefault="qualified">
    <xsd:import namespace="http://schemas.microsoft.com/office/2006/documentManagement/types"/>
    <xsd:import namespace="http://schemas.microsoft.com/office/infopath/2007/PartnerControls"/>
    <xsd:element name="SharedWithUsers" ma:index="11" nillable="true" ma:displayName="Shared With" ma:SearchPeopleOnly="false" ma:SharePointGroup="0" ma:internalName="SharedWithUsers" ma:readOnly="true" ma:showField="ImnNam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2"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7"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26D4A258-4332-4BE2-BF6D-F09E99CA5B95}">
  <ds:schemaRefs>
    <ds:schemaRef ds:uri="http://schemas.microsoft.com/sharepoint/v3/contenttype/forms"/>
  </ds:schemaRefs>
</ds:datastoreItem>
</file>

<file path=customXml/itemProps2.xml><?xml version="1.0" encoding="utf-8"?>
<ds:datastoreItem xmlns:ds="http://schemas.openxmlformats.org/officeDocument/2006/customXml" ds:itemID="{C05BA47B-A934-4D0A-A891-9E298491A45A}">
  <ds:schemaRefs>
    <ds:schemaRef ds:uri="4e3e2c99-6194-4f1a-99bc-ed392d274ced"/>
    <ds:schemaRef ds:uri="cfe98a3f-1b0a-4268-b074-fd19edd2614c"/>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5F4361B0-458A-4089-A14B-40AEDCDCA370}">
  <ds:schemaRefs>
    <ds:schemaRef ds:uri="4e3e2c99-6194-4f1a-99bc-ed392d274ced"/>
    <ds:schemaRef ds:uri="cfe98a3f-1b0a-4268-b074-fd19edd2614c"/>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otalTime>989</TotalTime>
  <Words>3835</Words>
  <Application>Microsoft Office PowerPoint</Application>
  <PresentationFormat>Widescreen</PresentationFormat>
  <Paragraphs>664</Paragraphs>
  <Slides>24</Slides>
  <Notes>2</Notes>
  <HiddenSlides>0</HiddenSlides>
  <MMClips>0</MMClips>
  <ScaleCrop>false</ScaleCrop>
  <HeadingPairs>
    <vt:vector size="8" baseType="variant">
      <vt:variant>
        <vt:lpstr>Fonts Used</vt:lpstr>
      </vt:variant>
      <vt:variant>
        <vt:i4>10</vt:i4>
      </vt:variant>
      <vt:variant>
        <vt:lpstr>Theme</vt:lpstr>
      </vt:variant>
      <vt:variant>
        <vt:i4>4</vt:i4>
      </vt:variant>
      <vt:variant>
        <vt:lpstr>Embedded OLE Servers</vt:lpstr>
      </vt:variant>
      <vt:variant>
        <vt:i4>1</vt:i4>
      </vt:variant>
      <vt:variant>
        <vt:lpstr>Slide Titles</vt:lpstr>
      </vt:variant>
      <vt:variant>
        <vt:i4>24</vt:i4>
      </vt:variant>
    </vt:vector>
  </HeadingPairs>
  <TitlesOfParts>
    <vt:vector size="39" baseType="lpstr">
      <vt:lpstr>Aptos Narrow</vt:lpstr>
      <vt:lpstr>Arial</vt:lpstr>
      <vt:lpstr>Calibri</vt:lpstr>
      <vt:lpstr>Cambria Math</vt:lpstr>
      <vt:lpstr>Courier New</vt:lpstr>
      <vt:lpstr>Helvetica</vt:lpstr>
      <vt:lpstr>OTNEJMQuadraat</vt:lpstr>
      <vt:lpstr>Segoe UI</vt:lpstr>
      <vt:lpstr>Symbol</vt:lpstr>
      <vt:lpstr>Times New Roman</vt:lpstr>
      <vt:lpstr>10_Takeda Slide Master</vt:lpstr>
      <vt:lpstr>1_Takeda Slide Master</vt:lpstr>
      <vt:lpstr>Takeda Slide Master</vt:lpstr>
      <vt:lpstr>Takeda Slide Master</vt:lpstr>
      <vt:lpstr>think-cell Slide</vt:lpstr>
      <vt:lpstr>UNC13A-SSO (Splicing Switch Oligonucleotide) - Statistical consideration-</vt:lpstr>
      <vt:lpstr>UNC 13A Study Design</vt:lpstr>
      <vt:lpstr>Endpoints UNC13A Phase 1/2</vt:lpstr>
      <vt:lpstr>Change NfL observed in Tofersen Studies</vt:lpstr>
      <vt:lpstr>Sample size and Justification UNC13A Phase 1/2</vt:lpstr>
      <vt:lpstr>Sample size and Justification UNC13A Phase 1/2</vt:lpstr>
      <vt:lpstr>Go/No-Go Decision Metric</vt:lpstr>
      <vt:lpstr>GNG Operating Characteristics</vt:lpstr>
      <vt:lpstr>GNG Operating Characteristics</vt:lpstr>
      <vt:lpstr>GNG Operating Characteristics</vt:lpstr>
      <vt:lpstr>Statistical Analysis Plan</vt:lpstr>
      <vt:lpstr>GNG Operating Characteristics</vt:lpstr>
      <vt:lpstr>Tofersen ALSFRS-R score in Phase 1/2</vt:lpstr>
      <vt:lpstr>Go/No-Go Quantitative decision criteria</vt:lpstr>
      <vt:lpstr>Log Scale Vs Original Scale NfL from Tofersen study</vt:lpstr>
      <vt:lpstr>Tofersen Phase 2/3 SAP</vt:lpstr>
      <vt:lpstr>Tofersen Phase 2/3 Sample size calculation</vt:lpstr>
      <vt:lpstr>Tofersen Phase 2/3 NfL Results at baseline</vt:lpstr>
      <vt:lpstr>Tofersen Phase 2/3 NfL Results</vt:lpstr>
      <vt:lpstr>Ph1/2 Study Schematic (DRAFT)</vt:lpstr>
      <vt:lpstr>FTE for Biostatistician</vt:lpstr>
      <vt:lpstr>Biostatistics Support</vt:lpstr>
      <vt:lpstr>Study Overview, Tofersen Phase 1/2 </vt:lpstr>
      <vt:lpstr>NfL Endpoint in Tofersen Phase 1/2 Result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UNC13A-SSO (Splicing Switch Oligonucleotide) - Proposal for portfolio entry -</dc:title>
  <dc:creator>Zach, Neta</dc:creator>
  <cp:lastModifiedBy>Sharker, Yushuf</cp:lastModifiedBy>
  <cp:revision>63</cp:revision>
  <cp:lastPrinted>2024-03-05T08:07:00Z</cp:lastPrinted>
  <dcterms:created xsi:type="dcterms:W3CDTF">2019-08-08T18:33:18Z</dcterms:created>
  <dcterms:modified xsi:type="dcterms:W3CDTF">2025-02-08T00:18:1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12FB8D3827705428C6F8DCBBBF92368</vt:lpwstr>
  </property>
</Properties>
</file>